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6.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56.xml" ContentType="application/vnd.openxmlformats-officedocument.presentationml.tags+xml"/>
  <Override PartName="/ppt/notesSlides/notesSlide1.xml" ContentType="application/vnd.openxmlformats-officedocument.presentationml.notesSlide+xml"/>
  <Override PartName="/ppt/tags/tag57.xml" ContentType="application/vnd.openxmlformats-officedocument.presentationml.tags+xml"/>
  <Override PartName="/ppt/notesSlides/notesSlide2.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xml" ContentType="application/vnd.openxmlformats-officedocument.presentationml.notesSlide+xml"/>
  <Override PartName="/ppt/tags/tag60.xml" ContentType="application/vnd.openxmlformats-officedocument.presentationml.tags+xml"/>
  <Override PartName="/ppt/notesSlides/notesSlide4.xml" ContentType="application/vnd.openxmlformats-officedocument.presentationml.notesSlide+xml"/>
  <Override PartName="/ppt/tags/tag61.xml" ContentType="application/vnd.openxmlformats-officedocument.presentationml.tags+xml"/>
  <Override PartName="/ppt/notesSlides/notesSlide5.xml" ContentType="application/vnd.openxmlformats-officedocument.presentationml.notesSlide+xml"/>
  <Override PartName="/ppt/comments/modernComment_7FFFD763_645E2F2D.xml" ContentType="application/vnd.ms-powerpoint.comments+xml"/>
  <Override PartName="/ppt/tags/tag62.xml" ContentType="application/vnd.openxmlformats-officedocument.presentationml.tags+xml"/>
  <Override PartName="/ppt/notesSlides/notesSlide6.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notesSlides/notesSlide8.xml" ContentType="application/vnd.openxmlformats-officedocument.presentationml.notesSlide+xml"/>
  <Override PartName="/ppt/tags/tag69.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0.xml" ContentType="application/vnd.openxmlformats-officedocument.presentationml.tags+xml"/>
  <Override PartName="/ppt/notesSlides/notesSlide10.xml" ContentType="application/vnd.openxmlformats-officedocument.presentationml.notesSlide+xml"/>
  <Override PartName="/ppt/tags/tag71.xml" ContentType="application/vnd.openxmlformats-officedocument.presentationml.tags+xml"/>
  <Override PartName="/ppt/notesSlides/notesSlide11.xml" ContentType="application/vnd.openxmlformats-officedocument.presentationml.notesSlide+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notesSlides/notesSlide13.xml" ContentType="application/vnd.openxmlformats-officedocument.presentationml.notesSlide+xml"/>
  <Override PartName="/ppt/tags/tag74.xml" ContentType="application/vnd.openxmlformats-officedocument.presentationml.tags+xml"/>
  <Override PartName="/ppt/notesSlides/notesSlide14.xml" ContentType="application/vnd.openxmlformats-officedocument.presentationml.notesSlide+xml"/>
  <Override PartName="/ppt/tags/tag75.xml" ContentType="application/vnd.openxmlformats-officedocument.presentationml.tags+xml"/>
  <Override PartName="/ppt/notesSlides/notesSlide15.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6.xml" ContentType="application/vnd.openxmlformats-officedocument.presentationml.notesSlide+xml"/>
  <Override PartName="/ppt/tags/tag79.xml" ContentType="application/vnd.openxmlformats-officedocument.presentationml.tags+xml"/>
  <Override PartName="/ppt/notesSlides/notesSlide17.xml" ContentType="application/vnd.openxmlformats-officedocument.presentationml.notesSlide+xml"/>
  <Override PartName="/ppt/tags/tag80.xml" ContentType="application/vnd.openxmlformats-officedocument.presentationml.tags+xml"/>
  <Override PartName="/ppt/notesSlides/notesSlide18.xml" ContentType="application/vnd.openxmlformats-officedocument.presentationml.notesSlide+xml"/>
  <Override PartName="/ppt/tags/tag81.xml" ContentType="application/vnd.openxmlformats-officedocument.presentationml.tags+xml"/>
  <Override PartName="/ppt/notesSlides/notesSlide19.xml" ContentType="application/vnd.openxmlformats-officedocument.presentationml.notesSlide+xml"/>
  <Override PartName="/ppt/tags/tag82.xml" ContentType="application/vnd.openxmlformats-officedocument.presentationml.tags+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omments/modernComment_7FFFD767_51EB4D2E.xml" ContentType="application/vnd.ms-powerpoint.comments+xml"/>
  <Override PartName="/ppt/tags/tag83.xml" ContentType="application/vnd.openxmlformats-officedocument.presentationml.tags+xml"/>
  <Override PartName="/ppt/comments/modernComment_7FFFD75A_3CC06447.xml" ContentType="application/vnd.ms-powerpoint.comment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omments/modernComment_7FFFD755_7A2A085D.xml" ContentType="application/vnd.ms-powerpoint.comments+xml"/>
  <Override PartName="/ppt/tags/tag84.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 id="2147483997" r:id="rId5"/>
    <p:sldMasterId id="2147484003" r:id="rId6"/>
    <p:sldMasterId id="2147484009" r:id="rId7"/>
    <p:sldMasterId id="2147484016" r:id="rId8"/>
    <p:sldMasterId id="2147484023" r:id="rId9"/>
    <p:sldMasterId id="2147484031" r:id="rId10"/>
    <p:sldMasterId id="2147484071" r:id="rId11"/>
  </p:sldMasterIdLst>
  <p:notesMasterIdLst>
    <p:notesMasterId r:id="rId49"/>
  </p:notesMasterIdLst>
  <p:handoutMasterIdLst>
    <p:handoutMasterId r:id="rId50"/>
  </p:handoutMasterIdLst>
  <p:sldIdLst>
    <p:sldId id="2147472762" r:id="rId12"/>
    <p:sldId id="2147473248" r:id="rId13"/>
    <p:sldId id="2147473249" r:id="rId14"/>
    <p:sldId id="2147473250" r:id="rId15"/>
    <p:sldId id="2147473244" r:id="rId16"/>
    <p:sldId id="2147473246" r:id="rId17"/>
    <p:sldId id="2147473251" r:id="rId18"/>
    <p:sldId id="2147473252" r:id="rId19"/>
    <p:sldId id="2147473228" r:id="rId20"/>
    <p:sldId id="2147473239" r:id="rId21"/>
    <p:sldId id="2147473247" r:id="rId22"/>
    <p:sldId id="2147473223" r:id="rId23"/>
    <p:sldId id="2147472684" r:id="rId24"/>
    <p:sldId id="2147473232" r:id="rId25"/>
    <p:sldId id="2147473224" r:id="rId26"/>
    <p:sldId id="2147472924" r:id="rId27"/>
    <p:sldId id="2147473214" r:id="rId28"/>
    <p:sldId id="2147473225" r:id="rId29"/>
    <p:sldId id="2147473229" r:id="rId30"/>
    <p:sldId id="2147473233" r:id="rId31"/>
    <p:sldId id="2147473220" r:id="rId32"/>
    <p:sldId id="2147473219" r:id="rId33"/>
    <p:sldId id="2147473218" r:id="rId34"/>
    <p:sldId id="2147472936" r:id="rId35"/>
    <p:sldId id="2147473217" r:id="rId36"/>
    <p:sldId id="2147473216" r:id="rId37"/>
    <p:sldId id="2147473243" r:id="rId38"/>
    <p:sldId id="2147473245" r:id="rId39"/>
    <p:sldId id="2147473227" r:id="rId40"/>
    <p:sldId id="2147473226" r:id="rId41"/>
    <p:sldId id="2147473234" r:id="rId42"/>
    <p:sldId id="2147473235" r:id="rId43"/>
    <p:sldId id="2147473255" r:id="rId44"/>
    <p:sldId id="2147473242" r:id="rId45"/>
    <p:sldId id="2147473253" r:id="rId46"/>
    <p:sldId id="2147473237" r:id="rId47"/>
    <p:sldId id="2147473241" r:id="rId48"/>
  </p:sldIdLst>
  <p:sldSz cx="12192000" cy="6858000"/>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712EAE6B-178D-4E26-AB51-3033A68FD184}">
          <p14:sldIdLst>
            <p14:sldId id="2147472762"/>
            <p14:sldId id="2147473248"/>
            <p14:sldId id="2147473249"/>
            <p14:sldId id="2147473250"/>
            <p14:sldId id="2147473244"/>
            <p14:sldId id="2147473246"/>
            <p14:sldId id="2147473251"/>
            <p14:sldId id="2147473252"/>
            <p14:sldId id="2147473228"/>
            <p14:sldId id="2147473239"/>
            <p14:sldId id="2147473247"/>
            <p14:sldId id="2147473223"/>
            <p14:sldId id="2147472684"/>
            <p14:sldId id="2147473232"/>
            <p14:sldId id="2147473224"/>
            <p14:sldId id="2147472924"/>
            <p14:sldId id="2147473214"/>
            <p14:sldId id="2147473225"/>
            <p14:sldId id="2147473229"/>
            <p14:sldId id="2147473233"/>
            <p14:sldId id="2147473220"/>
            <p14:sldId id="2147473219"/>
            <p14:sldId id="2147473218"/>
            <p14:sldId id="2147472936"/>
            <p14:sldId id="2147473217"/>
            <p14:sldId id="2147473216"/>
            <p14:sldId id="2147473243"/>
            <p14:sldId id="2147473245"/>
            <p14:sldId id="2147473227"/>
            <p14:sldId id="2147473226"/>
            <p14:sldId id="2147473234"/>
            <p14:sldId id="2147473235"/>
            <p14:sldId id="2147473255"/>
            <p14:sldId id="2147473242"/>
            <p14:sldId id="2147473253"/>
            <p14:sldId id="2147473237"/>
            <p14:sldId id="2147473241"/>
          </p14:sldIdLst>
        </p14:section>
      </p14:sectionLst>
    </p:ext>
    <p:ext uri="{EFAFB233-063F-42B5-8137-9DF3F51BA10A}">
      <p15:sldGuideLst xmlns:p15="http://schemas.microsoft.com/office/powerpoint/2012/main">
        <p15:guide id="4" orient="horz" pos="2160"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85E124F-774A-4A3C-C790-AB0F34BDC6DF}" name="Nathan Farquharson" initials="NF" userId="S::n2farquh@uwaterloo.ca::d312bfc7-4201-48a3-a9df-83186336f2dd" providerId="AD"/>
  <p188:author id="{A0DF08E9-3F02-A089-D532-25A45EBF6C50}" name="Joel Palmer" initials="JP" userId="S::j27palme@uwaterloo.ca::eb83a932-ed40-427e-9624-9030307beb05" providerId="AD"/>
  <p188:author id="{056228F9-823F-3CED-B86A-620A384CF41B}" name="Tim Sankey" initials="TS" userId="S::tsankey@uwaterloo.ca::b928130f-c400-476a-9847-7f451832e37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7170"/>
    <a:srgbClr val="1D9A78"/>
    <a:srgbClr val="5AE0BB"/>
    <a:srgbClr val="92D050"/>
    <a:srgbClr val="ADB9CA"/>
    <a:srgbClr val="D9D9D9"/>
    <a:srgbClr val="F2F2F2"/>
    <a:srgbClr val="5C5C5C"/>
    <a:srgbClr val="F9F9F9"/>
    <a:srgbClr val="F9D8A3"/>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FA9C7A-69A0-418B-88CC-7E3EC035BA60}" v="1" dt="2024-07-25T17:53:47.533"/>
    <p1510:client id="{377E9E7B-4F6F-498B-9A03-A50CD8E91FE8}" v="10580" dt="2024-07-25T14:17:52.215"/>
    <p1510:client id="{88C89422-1838-494F-AEE6-472139F7E5D1}" v="6555" dt="2024-07-25T19:52:16.996"/>
    <p1510:client id="{BB3D6405-5679-3D4A-8A0B-854D5FAA4889}" v="5352" dt="2024-07-25T18:25:27.444"/>
    <p1510:client id="{C6A297C3-78CA-45F2-86E4-09494C5C5B4E}" v="5669" dt="2024-07-25T14:00:24.4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0" d="100"/>
          <a:sy n="90" d="100"/>
        </p:scale>
        <p:origin x="568" y="64"/>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microsoft.com/office/2018/10/relationships/authors" Target="author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notesMaster" Target="notesMasters/notesMaster1.xml"/><Relationship Id="rId57"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than Farquharson" userId="d312bfc7-4201-48a3-a9df-83186336f2dd" providerId="ADAL" clId="{9CC2F9D8-6693-4B47-A0D9-69063A556880}"/>
    <pc:docChg chg="undo redo custSel addSld delSld modSld modSection">
      <pc:chgData name="Nathan Farquharson" userId="d312bfc7-4201-48a3-a9df-83186336f2dd" providerId="ADAL" clId="{9CC2F9D8-6693-4B47-A0D9-69063A556880}" dt="2024-07-23T19:03:04.956" v="2294" actId="478"/>
      <pc:docMkLst>
        <pc:docMk/>
      </pc:docMkLst>
      <pc:sldChg chg="modSp mod">
        <pc:chgData name="Nathan Farquharson" userId="d312bfc7-4201-48a3-a9df-83186336f2dd" providerId="ADAL" clId="{9CC2F9D8-6693-4B47-A0D9-69063A556880}" dt="2024-07-23T18:47:18.492" v="2202"/>
        <pc:sldMkLst>
          <pc:docMk/>
          <pc:sldMk cId="2204798024" sldId="433"/>
        </pc:sldMkLst>
        <pc:spChg chg="mod">
          <ac:chgData name="Nathan Farquharson" userId="d312bfc7-4201-48a3-a9df-83186336f2dd" providerId="ADAL" clId="{9CC2F9D8-6693-4B47-A0D9-69063A556880}" dt="2024-07-23T18:46:26.820" v="2190"/>
          <ac:spMkLst>
            <pc:docMk/>
            <pc:sldMk cId="2204798024" sldId="433"/>
            <ac:spMk id="66" creationId="{2DAE4432-678E-8484-326C-B7DF8A4E2E81}"/>
          </ac:spMkLst>
        </pc:spChg>
        <pc:spChg chg="mod">
          <ac:chgData name="Nathan Farquharson" userId="d312bfc7-4201-48a3-a9df-83186336f2dd" providerId="ADAL" clId="{9CC2F9D8-6693-4B47-A0D9-69063A556880}" dt="2024-07-23T18:46:37.192" v="2193"/>
          <ac:spMkLst>
            <pc:docMk/>
            <pc:sldMk cId="2204798024" sldId="433"/>
            <ac:spMk id="67" creationId="{12823E32-CBEB-1C1C-89CA-0F3D604B35AD}"/>
          </ac:spMkLst>
        </pc:spChg>
        <pc:spChg chg="mod">
          <ac:chgData name="Nathan Farquharson" userId="d312bfc7-4201-48a3-a9df-83186336f2dd" providerId="ADAL" clId="{9CC2F9D8-6693-4B47-A0D9-69063A556880}" dt="2024-07-23T18:46:51.725" v="2196"/>
          <ac:spMkLst>
            <pc:docMk/>
            <pc:sldMk cId="2204798024" sldId="433"/>
            <ac:spMk id="68" creationId="{F617DB71-7C52-88BD-DFFA-D6BC5B3A06D1}"/>
          </ac:spMkLst>
        </pc:spChg>
        <pc:spChg chg="mod">
          <ac:chgData name="Nathan Farquharson" userId="d312bfc7-4201-48a3-a9df-83186336f2dd" providerId="ADAL" clId="{9CC2F9D8-6693-4B47-A0D9-69063A556880}" dt="2024-07-23T18:47:01.392" v="2199"/>
          <ac:spMkLst>
            <pc:docMk/>
            <pc:sldMk cId="2204798024" sldId="433"/>
            <ac:spMk id="69" creationId="{FDF02FC3-427A-798E-CDCD-1980D9E1E0CD}"/>
          </ac:spMkLst>
        </pc:spChg>
        <pc:spChg chg="mod">
          <ac:chgData name="Nathan Farquharson" userId="d312bfc7-4201-48a3-a9df-83186336f2dd" providerId="ADAL" clId="{9CC2F9D8-6693-4B47-A0D9-69063A556880}" dt="2024-07-23T18:47:18.492" v="2202"/>
          <ac:spMkLst>
            <pc:docMk/>
            <pc:sldMk cId="2204798024" sldId="433"/>
            <ac:spMk id="71" creationId="{864D93BA-916F-7CFC-0808-7D466BD60414}"/>
          </ac:spMkLst>
        </pc:spChg>
      </pc:sldChg>
      <pc:sldChg chg="del">
        <pc:chgData name="Nathan Farquharson" userId="d312bfc7-4201-48a3-a9df-83186336f2dd" providerId="ADAL" clId="{9CC2F9D8-6693-4B47-A0D9-69063A556880}" dt="2024-07-23T18:48:07.421" v="2203" actId="2696"/>
        <pc:sldMkLst>
          <pc:docMk/>
          <pc:sldMk cId="2616933628" sldId="2147472677"/>
        </pc:sldMkLst>
      </pc:sldChg>
      <pc:sldChg chg="add">
        <pc:chgData name="Nathan Farquharson" userId="d312bfc7-4201-48a3-a9df-83186336f2dd" providerId="ADAL" clId="{9CC2F9D8-6693-4B47-A0D9-69063A556880}" dt="2024-07-23T18:48:20.320" v="2204"/>
        <pc:sldMkLst>
          <pc:docMk/>
          <pc:sldMk cId="3025520493" sldId="2147472677"/>
        </pc:sldMkLst>
      </pc:sldChg>
      <pc:sldChg chg="addSp delSp modSp add mod addCm">
        <pc:chgData name="Nathan Farquharson" userId="d312bfc7-4201-48a3-a9df-83186336f2dd" providerId="ADAL" clId="{9CC2F9D8-6693-4B47-A0D9-69063A556880}" dt="2024-07-23T19:01:01.906" v="2293" actId="6549"/>
        <pc:sldMkLst>
          <pc:docMk/>
          <pc:sldMk cId="3690196985" sldId="2147473216"/>
        </pc:sldMkLst>
        <pc:spChg chg="del mod">
          <ac:chgData name="Nathan Farquharson" userId="d312bfc7-4201-48a3-a9df-83186336f2dd" providerId="ADAL" clId="{9CC2F9D8-6693-4B47-A0D9-69063A556880}" dt="2024-07-23T18:25:11.967" v="2056" actId="21"/>
          <ac:spMkLst>
            <pc:docMk/>
            <pc:sldMk cId="3690196985" sldId="2147473216"/>
            <ac:spMk id="2" creationId="{61638D2C-178C-25A5-0B78-0C7B6874D3F0}"/>
          </ac:spMkLst>
        </pc:spChg>
        <pc:spChg chg="mod">
          <ac:chgData name="Nathan Farquharson" userId="d312bfc7-4201-48a3-a9df-83186336f2dd" providerId="ADAL" clId="{9CC2F9D8-6693-4B47-A0D9-69063A556880}" dt="2024-07-23T17:09:39.207" v="90" actId="20577"/>
          <ac:spMkLst>
            <pc:docMk/>
            <pc:sldMk cId="3690196985" sldId="2147473216"/>
            <ac:spMk id="3" creationId="{E10F5961-2D54-5F70-4458-A61EE31AAC0B}"/>
          </ac:spMkLst>
        </pc:spChg>
        <pc:spChg chg="del">
          <ac:chgData name="Nathan Farquharson" userId="d312bfc7-4201-48a3-a9df-83186336f2dd" providerId="ADAL" clId="{9CC2F9D8-6693-4B47-A0D9-69063A556880}" dt="2024-07-23T18:24:33.347" v="2046" actId="478"/>
          <ac:spMkLst>
            <pc:docMk/>
            <pc:sldMk cId="3690196985" sldId="2147473216"/>
            <ac:spMk id="4" creationId="{D183A94E-E968-A793-608C-8913F4F44F5E}"/>
          </ac:spMkLst>
        </pc:spChg>
        <pc:spChg chg="mod">
          <ac:chgData name="Nathan Farquharson" userId="d312bfc7-4201-48a3-a9df-83186336f2dd" providerId="ADAL" clId="{9CC2F9D8-6693-4B47-A0D9-69063A556880}" dt="2024-07-23T18:14:44.988" v="1816" actId="1076"/>
          <ac:spMkLst>
            <pc:docMk/>
            <pc:sldMk cId="3690196985" sldId="2147473216"/>
            <ac:spMk id="15" creationId="{660F8E14-BEF9-B1DC-993D-D6FCD4BCC62A}"/>
          </ac:spMkLst>
        </pc:spChg>
        <pc:spChg chg="mod">
          <ac:chgData name="Nathan Farquharson" userId="d312bfc7-4201-48a3-a9df-83186336f2dd" providerId="ADAL" clId="{9CC2F9D8-6693-4B47-A0D9-69063A556880}" dt="2024-07-23T18:14:44.988" v="1816" actId="1076"/>
          <ac:spMkLst>
            <pc:docMk/>
            <pc:sldMk cId="3690196985" sldId="2147473216"/>
            <ac:spMk id="16" creationId="{AC177CBC-2A53-9DD9-1A34-B5568AF0D8F3}"/>
          </ac:spMkLst>
        </pc:spChg>
        <pc:spChg chg="add del">
          <ac:chgData name="Nathan Farquharson" userId="d312bfc7-4201-48a3-a9df-83186336f2dd" providerId="ADAL" clId="{9CC2F9D8-6693-4B47-A0D9-69063A556880}" dt="2024-07-23T18:24:14.170" v="2041" actId="478"/>
          <ac:spMkLst>
            <pc:docMk/>
            <pc:sldMk cId="3690196985" sldId="2147473216"/>
            <ac:spMk id="43" creationId="{4BD5ACA8-EB26-DD94-2DC1-EB0CB012B3DB}"/>
          </ac:spMkLst>
        </pc:spChg>
        <pc:spChg chg="add del mod">
          <ac:chgData name="Nathan Farquharson" userId="d312bfc7-4201-48a3-a9df-83186336f2dd" providerId="ADAL" clId="{9CC2F9D8-6693-4B47-A0D9-69063A556880}" dt="2024-07-23T18:28:39.864" v="2079" actId="478"/>
          <ac:spMkLst>
            <pc:docMk/>
            <pc:sldMk cId="3690196985" sldId="2147473216"/>
            <ac:spMk id="45" creationId="{9E819C85-B357-89E0-3093-D5AEAD1E5AB2}"/>
          </ac:spMkLst>
        </pc:spChg>
        <pc:spChg chg="add mod">
          <ac:chgData name="Nathan Farquharson" userId="d312bfc7-4201-48a3-a9df-83186336f2dd" providerId="ADAL" clId="{9CC2F9D8-6693-4B47-A0D9-69063A556880}" dt="2024-07-23T19:00:27.987" v="2266" actId="27636"/>
          <ac:spMkLst>
            <pc:docMk/>
            <pc:sldMk cId="3690196985" sldId="2147473216"/>
            <ac:spMk id="46" creationId="{61638D2C-178C-25A5-0B78-0C7B6874D3F0}"/>
          </ac:spMkLst>
        </pc:spChg>
        <pc:spChg chg="mod">
          <ac:chgData name="Nathan Farquharson" userId="d312bfc7-4201-48a3-a9df-83186336f2dd" providerId="ADAL" clId="{9CC2F9D8-6693-4B47-A0D9-69063A556880}" dt="2024-07-23T17:54:31.015" v="1633" actId="1076"/>
          <ac:spMkLst>
            <pc:docMk/>
            <pc:sldMk cId="3690196985" sldId="2147473216"/>
            <ac:spMk id="30725" creationId="{A3D38D16-9A1E-F95B-BCE2-A62B42E36251}"/>
          </ac:spMkLst>
        </pc:spChg>
        <pc:spChg chg="mod">
          <ac:chgData name="Nathan Farquharson" userId="d312bfc7-4201-48a3-a9df-83186336f2dd" providerId="ADAL" clId="{9CC2F9D8-6693-4B47-A0D9-69063A556880}" dt="2024-07-23T17:54:31.015" v="1633" actId="1076"/>
          <ac:spMkLst>
            <pc:docMk/>
            <pc:sldMk cId="3690196985" sldId="2147473216"/>
            <ac:spMk id="30726" creationId="{41659C16-463C-3A74-A48D-0ED3B0CAEB55}"/>
          </ac:spMkLst>
        </pc:spChg>
        <pc:grpChg chg="del mod">
          <ac:chgData name="Nathan Farquharson" userId="d312bfc7-4201-48a3-a9df-83186336f2dd" providerId="ADAL" clId="{9CC2F9D8-6693-4B47-A0D9-69063A556880}" dt="2024-07-23T18:24:30.932" v="2043" actId="478"/>
          <ac:grpSpMkLst>
            <pc:docMk/>
            <pc:sldMk cId="3690196985" sldId="2147473216"/>
            <ac:grpSpMk id="14" creationId="{86E474D2-7976-8F61-3069-A868DFF4E8C1}"/>
          </ac:grpSpMkLst>
        </pc:grpChg>
        <pc:grpChg chg="del">
          <ac:chgData name="Nathan Farquharson" userId="d312bfc7-4201-48a3-a9df-83186336f2dd" providerId="ADAL" clId="{9CC2F9D8-6693-4B47-A0D9-69063A556880}" dt="2024-07-23T17:59:22.858" v="1655" actId="478"/>
          <ac:grpSpMkLst>
            <pc:docMk/>
            <pc:sldMk cId="3690196985" sldId="2147473216"/>
            <ac:grpSpMk id="17" creationId="{E591CFA2-718B-53D9-E252-DC42E9C30D8C}"/>
          </ac:grpSpMkLst>
        </pc:grpChg>
        <pc:grpChg chg="del">
          <ac:chgData name="Nathan Farquharson" userId="d312bfc7-4201-48a3-a9df-83186336f2dd" providerId="ADAL" clId="{9CC2F9D8-6693-4B47-A0D9-69063A556880}" dt="2024-07-23T17:59:19.236" v="1653" actId="478"/>
          <ac:grpSpMkLst>
            <pc:docMk/>
            <pc:sldMk cId="3690196985" sldId="2147473216"/>
            <ac:grpSpMk id="20" creationId="{C6B2708B-79E3-6029-B665-2B6ECE67B408}"/>
          </ac:grpSpMkLst>
        </pc:grpChg>
        <pc:grpChg chg="del">
          <ac:chgData name="Nathan Farquharson" userId="d312bfc7-4201-48a3-a9df-83186336f2dd" providerId="ADAL" clId="{9CC2F9D8-6693-4B47-A0D9-69063A556880}" dt="2024-07-23T17:59:15.004" v="1651" actId="478"/>
          <ac:grpSpMkLst>
            <pc:docMk/>
            <pc:sldMk cId="3690196985" sldId="2147473216"/>
            <ac:grpSpMk id="23" creationId="{8A67BEB7-BE7A-50BF-8445-37E0782B6B95}"/>
          </ac:grpSpMkLst>
        </pc:grpChg>
        <pc:grpChg chg="del">
          <ac:chgData name="Nathan Farquharson" userId="d312bfc7-4201-48a3-a9df-83186336f2dd" providerId="ADAL" clId="{9CC2F9D8-6693-4B47-A0D9-69063A556880}" dt="2024-07-23T17:59:16.838" v="1652" actId="478"/>
          <ac:grpSpMkLst>
            <pc:docMk/>
            <pc:sldMk cId="3690196985" sldId="2147473216"/>
            <ac:grpSpMk id="26" creationId="{424B83C4-2FA7-BC14-F3BB-398110CD4F4B}"/>
          </ac:grpSpMkLst>
        </pc:grpChg>
        <pc:grpChg chg="del">
          <ac:chgData name="Nathan Farquharson" userId="d312bfc7-4201-48a3-a9df-83186336f2dd" providerId="ADAL" clId="{9CC2F9D8-6693-4B47-A0D9-69063A556880}" dt="2024-07-23T17:59:13.059" v="1650" actId="478"/>
          <ac:grpSpMkLst>
            <pc:docMk/>
            <pc:sldMk cId="3690196985" sldId="2147473216"/>
            <ac:grpSpMk id="29" creationId="{F62F6A2D-8A07-8DBC-F2AF-EDF67691C540}"/>
          </ac:grpSpMkLst>
        </pc:grpChg>
        <pc:grpChg chg="del">
          <ac:chgData name="Nathan Farquharson" userId="d312bfc7-4201-48a3-a9df-83186336f2dd" providerId="ADAL" clId="{9CC2F9D8-6693-4B47-A0D9-69063A556880}" dt="2024-07-23T17:59:21.410" v="1654" actId="478"/>
          <ac:grpSpMkLst>
            <pc:docMk/>
            <pc:sldMk cId="3690196985" sldId="2147473216"/>
            <ac:grpSpMk id="30720" creationId="{8151C523-90F6-9461-0643-BFE3C801648E}"/>
          </ac:grpSpMkLst>
        </pc:grpChg>
        <pc:grpChg chg="del mod">
          <ac:chgData name="Nathan Farquharson" userId="d312bfc7-4201-48a3-a9df-83186336f2dd" providerId="ADAL" clId="{9CC2F9D8-6693-4B47-A0D9-69063A556880}" dt="2024-07-23T17:59:03.007" v="1648" actId="478"/>
          <ac:grpSpMkLst>
            <pc:docMk/>
            <pc:sldMk cId="3690196985" sldId="2147473216"/>
            <ac:grpSpMk id="30724" creationId="{83A36A6C-1B94-6C0F-C3A3-4DDBD63A41D6}"/>
          </ac:grpSpMkLst>
        </pc:grpChg>
        <pc:graphicFrameChg chg="mod modGraphic">
          <ac:chgData name="Nathan Farquharson" userId="d312bfc7-4201-48a3-a9df-83186336f2dd" providerId="ADAL" clId="{9CC2F9D8-6693-4B47-A0D9-69063A556880}" dt="2024-07-23T19:01:01.906" v="2293" actId="6549"/>
          <ac:graphicFrameMkLst>
            <pc:docMk/>
            <pc:sldMk cId="3690196985" sldId="2147473216"/>
            <ac:graphicFrameMk id="5" creationId="{88A6E1A8-0F88-A24F-67A1-49CB7F0C297A}"/>
          </ac:graphicFrameMkLst>
        </pc:graphicFrameChg>
        <pc:picChg chg="add mod">
          <ac:chgData name="Nathan Farquharson" userId="d312bfc7-4201-48a3-a9df-83186336f2dd" providerId="ADAL" clId="{9CC2F9D8-6693-4B47-A0D9-69063A556880}" dt="2024-07-23T19:00:52.857" v="2292" actId="1076"/>
          <ac:picMkLst>
            <pc:docMk/>
            <pc:sldMk cId="3690196985" sldId="2147473216"/>
            <ac:picMk id="7" creationId="{8DD4F593-6362-9BCA-F28F-38C1CAF3DE52}"/>
          </ac:picMkLst>
        </pc:picChg>
        <pc:picChg chg="add mod">
          <ac:chgData name="Nathan Farquharson" userId="d312bfc7-4201-48a3-a9df-83186336f2dd" providerId="ADAL" clId="{9CC2F9D8-6693-4B47-A0D9-69063A556880}" dt="2024-07-23T19:00:52.857" v="2292" actId="1076"/>
          <ac:picMkLst>
            <pc:docMk/>
            <pc:sldMk cId="3690196985" sldId="2147473216"/>
            <ac:picMk id="8" creationId="{AEC7827E-FF2C-96E9-C9EA-314F15CF71DD}"/>
          </ac:picMkLst>
        </pc:picChg>
        <pc:picChg chg="add mod">
          <ac:chgData name="Nathan Farquharson" userId="d312bfc7-4201-48a3-a9df-83186336f2dd" providerId="ADAL" clId="{9CC2F9D8-6693-4B47-A0D9-69063A556880}" dt="2024-07-23T19:00:52.857" v="2292" actId="1076"/>
          <ac:picMkLst>
            <pc:docMk/>
            <pc:sldMk cId="3690196985" sldId="2147473216"/>
            <ac:picMk id="9" creationId="{C8FF211E-E6EB-AD6E-A760-1288D8A3E72A}"/>
          </ac:picMkLst>
        </pc:picChg>
        <pc:picChg chg="add mod">
          <ac:chgData name="Nathan Farquharson" userId="d312bfc7-4201-48a3-a9df-83186336f2dd" providerId="ADAL" clId="{9CC2F9D8-6693-4B47-A0D9-69063A556880}" dt="2024-07-23T19:00:52.857" v="2292" actId="1076"/>
          <ac:picMkLst>
            <pc:docMk/>
            <pc:sldMk cId="3690196985" sldId="2147473216"/>
            <ac:picMk id="10" creationId="{C0880910-FD47-5D4F-B728-760C9DC6096D}"/>
          </ac:picMkLst>
        </pc:picChg>
        <pc:picChg chg="add mod">
          <ac:chgData name="Nathan Farquharson" userId="d312bfc7-4201-48a3-a9df-83186336f2dd" providerId="ADAL" clId="{9CC2F9D8-6693-4B47-A0D9-69063A556880}" dt="2024-07-23T19:00:52.857" v="2292" actId="1076"/>
          <ac:picMkLst>
            <pc:docMk/>
            <pc:sldMk cId="3690196985" sldId="2147473216"/>
            <ac:picMk id="11" creationId="{ED519AB6-B8AA-7076-79D0-6A386412DEC2}"/>
          </ac:picMkLst>
        </pc:picChg>
        <pc:picChg chg="add mod">
          <ac:chgData name="Nathan Farquharson" userId="d312bfc7-4201-48a3-a9df-83186336f2dd" providerId="ADAL" clId="{9CC2F9D8-6693-4B47-A0D9-69063A556880}" dt="2024-07-23T19:00:52.857" v="2292" actId="1076"/>
          <ac:picMkLst>
            <pc:docMk/>
            <pc:sldMk cId="3690196985" sldId="2147473216"/>
            <ac:picMk id="12" creationId="{2EEF703E-A479-7593-4803-F75277E04558}"/>
          </ac:picMkLst>
        </pc:picChg>
        <pc:picChg chg="add del mod">
          <ac:chgData name="Nathan Farquharson" userId="d312bfc7-4201-48a3-a9df-83186336f2dd" providerId="ADAL" clId="{9CC2F9D8-6693-4B47-A0D9-69063A556880}" dt="2024-07-23T18:24:32.154" v="2045" actId="478"/>
          <ac:picMkLst>
            <pc:docMk/>
            <pc:sldMk cId="3690196985" sldId="2147473216"/>
            <ac:picMk id="32" creationId="{FA402724-3480-C316-8B7F-2AB788AD2305}"/>
          </ac:picMkLst>
        </pc:picChg>
        <pc:picChg chg="add del mod">
          <ac:chgData name="Nathan Farquharson" userId="d312bfc7-4201-48a3-a9df-83186336f2dd" providerId="ADAL" clId="{9CC2F9D8-6693-4B47-A0D9-69063A556880}" dt="2024-07-23T17:55:30.191" v="1640" actId="478"/>
          <ac:picMkLst>
            <pc:docMk/>
            <pc:sldMk cId="3690196985" sldId="2147473216"/>
            <ac:picMk id="34" creationId="{185F8CBE-F758-6CA4-2073-BA8AA6D1307C}"/>
          </ac:picMkLst>
        </pc:picChg>
        <pc:picChg chg="add del mod">
          <ac:chgData name="Nathan Farquharson" userId="d312bfc7-4201-48a3-a9df-83186336f2dd" providerId="ADAL" clId="{9CC2F9D8-6693-4B47-A0D9-69063A556880}" dt="2024-07-23T18:59:03.626" v="2209" actId="478"/>
          <ac:picMkLst>
            <pc:docMk/>
            <pc:sldMk cId="3690196985" sldId="2147473216"/>
            <ac:picMk id="36" creationId="{B60A51D7-A01A-2080-1E47-2611339E55BC}"/>
          </ac:picMkLst>
        </pc:picChg>
        <pc:picChg chg="add del mod">
          <ac:chgData name="Nathan Farquharson" userId="d312bfc7-4201-48a3-a9df-83186336f2dd" providerId="ADAL" clId="{9CC2F9D8-6693-4B47-A0D9-69063A556880}" dt="2024-07-23T18:59:09.335" v="2211" actId="478"/>
          <ac:picMkLst>
            <pc:docMk/>
            <pc:sldMk cId="3690196985" sldId="2147473216"/>
            <ac:picMk id="37" creationId="{66BCC776-F853-9F97-633D-8B69A7BB15B5}"/>
          </ac:picMkLst>
        </pc:picChg>
        <pc:picChg chg="add del mod">
          <ac:chgData name="Nathan Farquharson" userId="d312bfc7-4201-48a3-a9df-83186336f2dd" providerId="ADAL" clId="{9CC2F9D8-6693-4B47-A0D9-69063A556880}" dt="2024-07-23T18:59:00.522" v="2208" actId="478"/>
          <ac:picMkLst>
            <pc:docMk/>
            <pc:sldMk cId="3690196985" sldId="2147473216"/>
            <ac:picMk id="38" creationId="{D4F7BE21-390B-9FD8-7C5A-D78F64FC59D6}"/>
          </ac:picMkLst>
        </pc:picChg>
        <pc:picChg chg="add del mod">
          <ac:chgData name="Nathan Farquharson" userId="d312bfc7-4201-48a3-a9df-83186336f2dd" providerId="ADAL" clId="{9CC2F9D8-6693-4B47-A0D9-69063A556880}" dt="2024-07-23T18:58:52.870" v="2206" actId="478"/>
          <ac:picMkLst>
            <pc:docMk/>
            <pc:sldMk cId="3690196985" sldId="2147473216"/>
            <ac:picMk id="39" creationId="{40A2BD5F-509F-B007-7E76-901CC56E21C3}"/>
          </ac:picMkLst>
        </pc:picChg>
        <pc:picChg chg="add del mod">
          <ac:chgData name="Nathan Farquharson" userId="d312bfc7-4201-48a3-a9df-83186336f2dd" providerId="ADAL" clId="{9CC2F9D8-6693-4B47-A0D9-69063A556880}" dt="2024-07-23T18:58:55.316" v="2207" actId="478"/>
          <ac:picMkLst>
            <pc:docMk/>
            <pc:sldMk cId="3690196985" sldId="2147473216"/>
            <ac:picMk id="40" creationId="{37544249-189D-D0A0-36A5-C21E3504A262}"/>
          </ac:picMkLst>
        </pc:picChg>
        <pc:picChg chg="add del mod">
          <ac:chgData name="Nathan Farquharson" userId="d312bfc7-4201-48a3-a9df-83186336f2dd" providerId="ADAL" clId="{9CC2F9D8-6693-4B47-A0D9-69063A556880}" dt="2024-07-23T18:24:31.480" v="2044" actId="478"/>
          <ac:picMkLst>
            <pc:docMk/>
            <pc:sldMk cId="3690196985" sldId="2147473216"/>
            <ac:picMk id="41" creationId="{F77BE124-2064-33BA-D45D-5E73EF538ACB}"/>
          </ac:picMkLst>
        </pc:picChg>
        <pc:picChg chg="add del mod">
          <ac:chgData name="Nathan Farquharson" userId="d312bfc7-4201-48a3-a9df-83186336f2dd" providerId="ADAL" clId="{9CC2F9D8-6693-4B47-A0D9-69063A556880}" dt="2024-07-23T18:59:07.219" v="2210" actId="478"/>
          <ac:picMkLst>
            <pc:docMk/>
            <pc:sldMk cId="3690196985" sldId="2147473216"/>
            <ac:picMk id="42" creationId="{A81203C8-036E-31CE-3A26-15241E51696C}"/>
          </ac:picMkLst>
        </pc:picChg>
        <pc:extLst>
          <p:ext xmlns:p="http://schemas.openxmlformats.org/presentationml/2006/main" uri="{D6D511B9-2390-475A-947B-AFAB55BFBCF1}">
            <pc226:cmChg xmlns:pc226="http://schemas.microsoft.com/office/powerpoint/2022/06/main/command" chg="add">
              <pc226:chgData name="Nathan Farquharson" userId="d312bfc7-4201-48a3-a9df-83186336f2dd" providerId="ADAL" clId="{9CC2F9D8-6693-4B47-A0D9-69063A556880}" dt="2024-07-23T17:26:22.162" v="295"/>
              <pc2:cmMkLst xmlns:pc2="http://schemas.microsoft.com/office/powerpoint/2019/9/main/command">
                <pc:docMk/>
                <pc:sldMk cId="3690196985" sldId="2147473216"/>
                <pc2:cmMk id="{4C5ECFD0-782E-4F93-B482-842B60020214}"/>
              </pc2:cmMkLst>
            </pc226:cmChg>
          </p:ext>
        </pc:extLst>
      </pc:sldChg>
      <pc:sldChg chg="addSp delSp modSp add mod">
        <pc:chgData name="Nathan Farquharson" userId="d312bfc7-4201-48a3-a9df-83186336f2dd" providerId="ADAL" clId="{9CC2F9D8-6693-4B47-A0D9-69063A556880}" dt="2024-07-23T19:03:04.956" v="2294" actId="478"/>
        <pc:sldMkLst>
          <pc:docMk/>
          <pc:sldMk cId="478299678" sldId="2147473217"/>
        </pc:sldMkLst>
        <pc:spChg chg="del">
          <ac:chgData name="Nathan Farquharson" userId="d312bfc7-4201-48a3-a9df-83186336f2dd" providerId="ADAL" clId="{9CC2F9D8-6693-4B47-A0D9-69063A556880}" dt="2024-07-23T18:39:07.877" v="2187" actId="478"/>
          <ac:spMkLst>
            <pc:docMk/>
            <pc:sldMk cId="478299678" sldId="2147473217"/>
            <ac:spMk id="2" creationId="{048ED0DB-149B-6B5A-3167-EDEE9C7F57F7}"/>
          </ac:spMkLst>
        </pc:spChg>
        <pc:spChg chg="mod">
          <ac:chgData name="Nathan Farquharson" userId="d312bfc7-4201-48a3-a9df-83186336f2dd" providerId="ADAL" clId="{9CC2F9D8-6693-4B47-A0D9-69063A556880}" dt="2024-07-23T17:36:01.620" v="435" actId="20577"/>
          <ac:spMkLst>
            <pc:docMk/>
            <pc:sldMk cId="478299678" sldId="2147473217"/>
            <ac:spMk id="3" creationId="{CF5A6160-BB28-4B8E-C4A6-E0EDB41C8FF2}"/>
          </ac:spMkLst>
        </pc:spChg>
        <pc:spChg chg="add del mod">
          <ac:chgData name="Nathan Farquharson" userId="d312bfc7-4201-48a3-a9df-83186336f2dd" providerId="ADAL" clId="{9CC2F9D8-6693-4B47-A0D9-69063A556880}" dt="2024-07-23T18:25:08.283" v="2053" actId="22"/>
          <ac:spMkLst>
            <pc:docMk/>
            <pc:sldMk cId="478299678" sldId="2147473217"/>
            <ac:spMk id="5" creationId="{74E63F48-DDD6-45AC-EE3B-3BD4029C4C7A}"/>
          </ac:spMkLst>
        </pc:spChg>
        <pc:spChg chg="add del mod">
          <ac:chgData name="Nathan Farquharson" userId="d312bfc7-4201-48a3-a9df-83186336f2dd" providerId="ADAL" clId="{9CC2F9D8-6693-4B47-A0D9-69063A556880}" dt="2024-07-23T19:00:17.123" v="2258" actId="21"/>
          <ac:spMkLst>
            <pc:docMk/>
            <pc:sldMk cId="478299678" sldId="2147473217"/>
            <ac:spMk id="6" creationId="{61638D2C-178C-25A5-0B78-0C7B6874D3F0}"/>
          </ac:spMkLst>
        </pc:spChg>
        <pc:spChg chg="mod">
          <ac:chgData name="Nathan Farquharson" userId="d312bfc7-4201-48a3-a9df-83186336f2dd" providerId="ADAL" clId="{9CC2F9D8-6693-4B47-A0D9-69063A556880}" dt="2024-07-23T18:25:30.094" v="2063" actId="1036"/>
          <ac:spMkLst>
            <pc:docMk/>
            <pc:sldMk cId="478299678" sldId="2147473217"/>
            <ac:spMk id="7" creationId="{21BDC1AA-0619-B47A-1972-181CA395DB47}"/>
          </ac:spMkLst>
        </pc:spChg>
        <pc:spChg chg="mod">
          <ac:chgData name="Nathan Farquharson" userId="d312bfc7-4201-48a3-a9df-83186336f2dd" providerId="ADAL" clId="{9CC2F9D8-6693-4B47-A0D9-69063A556880}" dt="2024-07-23T18:25:30.094" v="2063" actId="1036"/>
          <ac:spMkLst>
            <pc:docMk/>
            <pc:sldMk cId="478299678" sldId="2147473217"/>
            <ac:spMk id="8" creationId="{3CB5F467-5B16-AAD5-6434-8F9820801389}"/>
          </ac:spMkLst>
        </pc:spChg>
        <pc:spChg chg="mod">
          <ac:chgData name="Nathan Farquharson" userId="d312bfc7-4201-48a3-a9df-83186336f2dd" providerId="ADAL" clId="{9CC2F9D8-6693-4B47-A0D9-69063A556880}" dt="2024-07-23T18:25:30.094" v="2063" actId="1036"/>
          <ac:spMkLst>
            <pc:docMk/>
            <pc:sldMk cId="478299678" sldId="2147473217"/>
            <ac:spMk id="9" creationId="{D7638434-4A69-999F-C848-E4710B961CEC}"/>
          </ac:spMkLst>
        </pc:spChg>
        <pc:spChg chg="mod">
          <ac:chgData name="Nathan Farquharson" userId="d312bfc7-4201-48a3-a9df-83186336f2dd" providerId="ADAL" clId="{9CC2F9D8-6693-4B47-A0D9-69063A556880}" dt="2024-07-23T18:25:30.094" v="2063" actId="1036"/>
          <ac:spMkLst>
            <pc:docMk/>
            <pc:sldMk cId="478299678" sldId="2147473217"/>
            <ac:spMk id="10" creationId="{108F2A53-F8E6-8B16-E6B9-67D813356E45}"/>
          </ac:spMkLst>
        </pc:spChg>
        <pc:spChg chg="mod">
          <ac:chgData name="Nathan Farquharson" userId="d312bfc7-4201-48a3-a9df-83186336f2dd" providerId="ADAL" clId="{9CC2F9D8-6693-4B47-A0D9-69063A556880}" dt="2024-07-23T18:25:30.094" v="2063" actId="1036"/>
          <ac:spMkLst>
            <pc:docMk/>
            <pc:sldMk cId="478299678" sldId="2147473217"/>
            <ac:spMk id="11" creationId="{A016E1B1-1734-FE99-3086-5798C8B85DDB}"/>
          </ac:spMkLst>
        </pc:spChg>
        <pc:spChg chg="mod">
          <ac:chgData name="Nathan Farquharson" userId="d312bfc7-4201-48a3-a9df-83186336f2dd" providerId="ADAL" clId="{9CC2F9D8-6693-4B47-A0D9-69063A556880}" dt="2024-07-23T18:38:45.910" v="2182" actId="207"/>
          <ac:spMkLst>
            <pc:docMk/>
            <pc:sldMk cId="478299678" sldId="2147473217"/>
            <ac:spMk id="12" creationId="{4F3AD6B1-DF7C-D9AD-F2FF-670E5585E057}"/>
          </ac:spMkLst>
        </pc:spChg>
        <pc:spChg chg="add del mod">
          <ac:chgData name="Nathan Farquharson" userId="d312bfc7-4201-48a3-a9df-83186336f2dd" providerId="ADAL" clId="{9CC2F9D8-6693-4B47-A0D9-69063A556880}" dt="2024-07-23T18:25:19.684" v="2058" actId="478"/>
          <ac:spMkLst>
            <pc:docMk/>
            <pc:sldMk cId="478299678" sldId="2147473217"/>
            <ac:spMk id="13" creationId="{CB338199-736D-D218-BCE8-549B9DCE8DF8}"/>
          </ac:spMkLst>
        </pc:spChg>
        <pc:spChg chg="mod">
          <ac:chgData name="Nathan Farquharson" userId="d312bfc7-4201-48a3-a9df-83186336f2dd" providerId="ADAL" clId="{9CC2F9D8-6693-4B47-A0D9-69063A556880}" dt="2024-07-23T18:38:49.452" v="2183" actId="207"/>
          <ac:spMkLst>
            <pc:docMk/>
            <pc:sldMk cId="478299678" sldId="2147473217"/>
            <ac:spMk id="14" creationId="{D0329306-C05B-B7D3-B7B0-83BD2C1C5D67}"/>
          </ac:spMkLst>
        </pc:spChg>
        <pc:spChg chg="mod">
          <ac:chgData name="Nathan Farquharson" userId="d312bfc7-4201-48a3-a9df-83186336f2dd" providerId="ADAL" clId="{9CC2F9D8-6693-4B47-A0D9-69063A556880}" dt="2024-07-23T18:38:53.359" v="2184" actId="207"/>
          <ac:spMkLst>
            <pc:docMk/>
            <pc:sldMk cId="478299678" sldId="2147473217"/>
            <ac:spMk id="15" creationId="{B4D79D13-B265-03BA-5C93-26362E62705A}"/>
          </ac:spMkLst>
        </pc:spChg>
        <pc:spChg chg="mod">
          <ac:chgData name="Nathan Farquharson" userId="d312bfc7-4201-48a3-a9df-83186336f2dd" providerId="ADAL" clId="{9CC2F9D8-6693-4B47-A0D9-69063A556880}" dt="2024-07-23T18:39:00.608" v="2185" actId="207"/>
          <ac:spMkLst>
            <pc:docMk/>
            <pc:sldMk cId="478299678" sldId="2147473217"/>
            <ac:spMk id="16" creationId="{BF4A6EA1-0FAE-D8FD-ED6E-93DB65BC9CF7}"/>
          </ac:spMkLst>
        </pc:spChg>
        <pc:spChg chg="mod">
          <ac:chgData name="Nathan Farquharson" userId="d312bfc7-4201-48a3-a9df-83186336f2dd" providerId="ADAL" clId="{9CC2F9D8-6693-4B47-A0D9-69063A556880}" dt="2024-07-23T18:39:04.069" v="2186" actId="207"/>
          <ac:spMkLst>
            <pc:docMk/>
            <pc:sldMk cId="478299678" sldId="2147473217"/>
            <ac:spMk id="17" creationId="{238F00B1-A825-ACCA-FD5B-DE08A37E5836}"/>
          </ac:spMkLst>
        </pc:spChg>
        <pc:spChg chg="del">
          <ac:chgData name="Nathan Farquharson" userId="d312bfc7-4201-48a3-a9df-83186336f2dd" providerId="ADAL" clId="{9CC2F9D8-6693-4B47-A0D9-69063A556880}" dt="2024-07-23T17:34:54.759" v="328" actId="478"/>
          <ac:spMkLst>
            <pc:docMk/>
            <pc:sldMk cId="478299678" sldId="2147473217"/>
            <ac:spMk id="18" creationId="{51453C37-260E-400D-2D5D-7C3382621D32}"/>
          </ac:spMkLst>
        </pc:spChg>
        <pc:spChg chg="del">
          <ac:chgData name="Nathan Farquharson" userId="d312bfc7-4201-48a3-a9df-83186336f2dd" providerId="ADAL" clId="{9CC2F9D8-6693-4B47-A0D9-69063A556880}" dt="2024-07-23T17:34:54.759" v="328" actId="478"/>
          <ac:spMkLst>
            <pc:docMk/>
            <pc:sldMk cId="478299678" sldId="2147473217"/>
            <ac:spMk id="19" creationId="{7E444423-1D33-35BE-7325-F0A52542838D}"/>
          </ac:spMkLst>
        </pc:spChg>
        <pc:spChg chg="del">
          <ac:chgData name="Nathan Farquharson" userId="d312bfc7-4201-48a3-a9df-83186336f2dd" providerId="ADAL" clId="{9CC2F9D8-6693-4B47-A0D9-69063A556880}" dt="2024-07-23T17:34:54.759" v="328" actId="478"/>
          <ac:spMkLst>
            <pc:docMk/>
            <pc:sldMk cId="478299678" sldId="2147473217"/>
            <ac:spMk id="20" creationId="{0D975337-6E0F-91CE-192D-D7EA4EE150BF}"/>
          </ac:spMkLst>
        </pc:spChg>
        <pc:spChg chg="del">
          <ac:chgData name="Nathan Farquharson" userId="d312bfc7-4201-48a3-a9df-83186336f2dd" providerId="ADAL" clId="{9CC2F9D8-6693-4B47-A0D9-69063A556880}" dt="2024-07-23T17:34:54.759" v="328" actId="478"/>
          <ac:spMkLst>
            <pc:docMk/>
            <pc:sldMk cId="478299678" sldId="2147473217"/>
            <ac:spMk id="21" creationId="{BB3B50CA-03E7-083A-7EE0-322C70AA7661}"/>
          </ac:spMkLst>
        </pc:spChg>
        <pc:spChg chg="del">
          <ac:chgData name="Nathan Farquharson" userId="d312bfc7-4201-48a3-a9df-83186336f2dd" providerId="ADAL" clId="{9CC2F9D8-6693-4B47-A0D9-69063A556880}" dt="2024-07-23T17:34:54.759" v="328" actId="478"/>
          <ac:spMkLst>
            <pc:docMk/>
            <pc:sldMk cId="478299678" sldId="2147473217"/>
            <ac:spMk id="22" creationId="{0C5059F4-D1FB-FD91-E74A-CD698D746593}"/>
          </ac:spMkLst>
        </pc:spChg>
        <pc:spChg chg="del">
          <ac:chgData name="Nathan Farquharson" userId="d312bfc7-4201-48a3-a9df-83186336f2dd" providerId="ADAL" clId="{9CC2F9D8-6693-4B47-A0D9-69063A556880}" dt="2024-07-23T17:34:54.759" v="328" actId="478"/>
          <ac:spMkLst>
            <pc:docMk/>
            <pc:sldMk cId="478299678" sldId="2147473217"/>
            <ac:spMk id="23" creationId="{6139D555-0628-9E1F-7A61-081F0871258F}"/>
          </ac:spMkLst>
        </pc:spChg>
        <pc:spChg chg="add del mod">
          <ac:chgData name="Nathan Farquharson" userId="d312bfc7-4201-48a3-a9df-83186336f2dd" providerId="ADAL" clId="{9CC2F9D8-6693-4B47-A0D9-69063A556880}" dt="2024-07-23T19:03:04.956" v="2294" actId="478"/>
          <ac:spMkLst>
            <pc:docMk/>
            <pc:sldMk cId="478299678" sldId="2147473217"/>
            <ac:spMk id="25" creationId="{DB6035AC-F705-2339-DA92-F1A72AF7A2C6}"/>
          </ac:spMkLst>
        </pc:spChg>
      </pc:sldChg>
    </pc:docChg>
  </pc:docChgLst>
  <pc:docChgLst>
    <pc:chgData name="Jake Vanderweyst" userId="b6db62d5-80dc-40a5-8de7-7487a2620be2" providerId="ADAL" clId="{07FA9C7A-69A0-418B-88CC-7E3EC035BA60}"/>
    <pc:docChg chg="undo custSel addSld delSld modSld sldOrd modSection">
      <pc:chgData name="Jake Vanderweyst" userId="b6db62d5-80dc-40a5-8de7-7487a2620be2" providerId="ADAL" clId="{07FA9C7A-69A0-418B-88CC-7E3EC035BA60}" dt="2024-07-25T17:53:47.539" v="2657"/>
      <pc:docMkLst>
        <pc:docMk/>
      </pc:docMkLst>
      <pc:sldChg chg="addSp modSp mod">
        <pc:chgData name="Jake Vanderweyst" userId="b6db62d5-80dc-40a5-8de7-7487a2620be2" providerId="ADAL" clId="{07FA9C7A-69A0-418B-88CC-7E3EC035BA60}" dt="2024-07-23T18:53:37.890" v="77" actId="20577"/>
        <pc:sldMkLst>
          <pc:docMk/>
          <pc:sldMk cId="3357051749" sldId="2147472762"/>
        </pc:sldMkLst>
        <pc:spChg chg="mod">
          <ac:chgData name="Jake Vanderweyst" userId="b6db62d5-80dc-40a5-8de7-7487a2620be2" providerId="ADAL" clId="{07FA9C7A-69A0-418B-88CC-7E3EC035BA60}" dt="2024-07-23T18:52:22.243" v="42" actId="27636"/>
          <ac:spMkLst>
            <pc:docMk/>
            <pc:sldMk cId="3357051749" sldId="2147472762"/>
            <ac:spMk id="5" creationId="{7A3128B5-8739-DBD2-0883-A4758098E679}"/>
          </ac:spMkLst>
        </pc:spChg>
        <pc:spChg chg="mod">
          <ac:chgData name="Jake Vanderweyst" userId="b6db62d5-80dc-40a5-8de7-7487a2620be2" providerId="ADAL" clId="{07FA9C7A-69A0-418B-88CC-7E3EC035BA60}" dt="2024-07-23T18:53:37.890" v="77" actId="20577"/>
          <ac:spMkLst>
            <pc:docMk/>
            <pc:sldMk cId="3357051749" sldId="2147472762"/>
            <ac:spMk id="6" creationId="{F5B3CCD8-2147-B08A-1A51-C2936A6C900E}"/>
          </ac:spMkLst>
        </pc:spChg>
        <pc:spChg chg="add mod">
          <ac:chgData name="Jake Vanderweyst" userId="b6db62d5-80dc-40a5-8de7-7487a2620be2" providerId="ADAL" clId="{07FA9C7A-69A0-418B-88CC-7E3EC035BA60}" dt="2024-07-23T18:53:10.279" v="53" actId="14100"/>
          <ac:spMkLst>
            <pc:docMk/>
            <pc:sldMk cId="3357051749" sldId="2147472762"/>
            <ac:spMk id="12" creationId="{EDDD26D3-FE3B-3ECB-974F-6C3A5EBA8DD3}"/>
          </ac:spMkLst>
        </pc:spChg>
      </pc:sldChg>
      <pc:sldChg chg="ord">
        <pc:chgData name="Jake Vanderweyst" userId="b6db62d5-80dc-40a5-8de7-7487a2620be2" providerId="ADAL" clId="{07FA9C7A-69A0-418B-88CC-7E3EC035BA60}" dt="2024-07-25T17:53:47.539" v="2657"/>
        <pc:sldMkLst>
          <pc:docMk/>
          <pc:sldMk cId="102905530" sldId="2147472924"/>
        </pc:sldMkLst>
      </pc:sldChg>
      <pc:sldChg chg="addSp delSp modSp mod">
        <pc:chgData name="Jake Vanderweyst" userId="b6db62d5-80dc-40a5-8de7-7487a2620be2" providerId="ADAL" clId="{07FA9C7A-69A0-418B-88CC-7E3EC035BA60}" dt="2024-07-23T20:38:23.821" v="2355"/>
        <pc:sldMkLst>
          <pc:docMk/>
          <pc:sldMk cId="537899077" sldId="2147473224"/>
        </pc:sldMkLst>
        <pc:spChg chg="add del mod">
          <ac:chgData name="Jake Vanderweyst" userId="b6db62d5-80dc-40a5-8de7-7487a2620be2" providerId="ADAL" clId="{07FA9C7A-69A0-418B-88CC-7E3EC035BA60}" dt="2024-07-23T19:19:31.882" v="206" actId="12084"/>
          <ac:spMkLst>
            <pc:docMk/>
            <pc:sldMk cId="537899077" sldId="2147473224"/>
            <ac:spMk id="2" creationId="{1F2AE544-F3CA-D662-8EC6-7507656A6BC3}"/>
          </ac:spMkLst>
        </pc:spChg>
        <pc:spChg chg="add mod">
          <ac:chgData name="Jake Vanderweyst" userId="b6db62d5-80dc-40a5-8de7-7487a2620be2" providerId="ADAL" clId="{07FA9C7A-69A0-418B-88CC-7E3EC035BA60}" dt="2024-07-23T19:31:05.965" v="425" actId="13926"/>
          <ac:spMkLst>
            <pc:docMk/>
            <pc:sldMk cId="537899077" sldId="2147473224"/>
            <ac:spMk id="2" creationId="{E07192C4-01AB-8B00-3EC8-512E3CA7BB4B}"/>
          </ac:spMkLst>
        </pc:spChg>
        <pc:spChg chg="del mod">
          <ac:chgData name="Jake Vanderweyst" userId="b6db62d5-80dc-40a5-8de7-7487a2620be2" providerId="ADAL" clId="{07FA9C7A-69A0-418B-88CC-7E3EC035BA60}" dt="2024-07-23T19:14:41.635" v="142" actId="478"/>
          <ac:spMkLst>
            <pc:docMk/>
            <pc:sldMk cId="537899077" sldId="2147473224"/>
            <ac:spMk id="4" creationId="{FF88DB2F-1B74-A372-CCAE-6F06D9413DE0}"/>
          </ac:spMkLst>
        </pc:spChg>
        <pc:spChg chg="add del mod">
          <ac:chgData name="Jake Vanderweyst" userId="b6db62d5-80dc-40a5-8de7-7487a2620be2" providerId="ADAL" clId="{07FA9C7A-69A0-418B-88CC-7E3EC035BA60}" dt="2024-07-23T19:21:12.972" v="257" actId="478"/>
          <ac:spMkLst>
            <pc:docMk/>
            <pc:sldMk cId="537899077" sldId="2147473224"/>
            <ac:spMk id="7" creationId="{868CB8E4-FB7E-9CE9-6F1A-03082334D2A9}"/>
          </ac:spMkLst>
        </pc:spChg>
        <pc:spChg chg="add del mod">
          <ac:chgData name="Jake Vanderweyst" userId="b6db62d5-80dc-40a5-8de7-7487a2620be2" providerId="ADAL" clId="{07FA9C7A-69A0-418B-88CC-7E3EC035BA60}" dt="2024-07-23T19:20:32.809" v="232" actId="12084"/>
          <ac:spMkLst>
            <pc:docMk/>
            <pc:sldMk cId="537899077" sldId="2147473224"/>
            <ac:spMk id="8" creationId="{DD79CB0D-EF95-1123-4987-C36755447C18}"/>
          </ac:spMkLst>
        </pc:spChg>
        <pc:spChg chg="mod">
          <ac:chgData name="Jake Vanderweyst" userId="b6db62d5-80dc-40a5-8de7-7487a2620be2" providerId="ADAL" clId="{07FA9C7A-69A0-418B-88CC-7E3EC035BA60}" dt="2024-07-23T20:38:23.821" v="2355"/>
          <ac:spMkLst>
            <pc:docMk/>
            <pc:sldMk cId="537899077" sldId="2147473224"/>
            <ac:spMk id="11" creationId="{3E75D156-641F-A9C9-8843-92D424F32966}"/>
          </ac:spMkLst>
        </pc:spChg>
        <pc:spChg chg="mod">
          <ac:chgData name="Jake Vanderweyst" userId="b6db62d5-80dc-40a5-8de7-7487a2620be2" providerId="ADAL" clId="{07FA9C7A-69A0-418B-88CC-7E3EC035BA60}" dt="2024-07-23T19:21:44.233" v="264" actId="18245"/>
          <ac:spMkLst>
            <pc:docMk/>
            <pc:sldMk cId="537899077" sldId="2147473224"/>
            <ac:spMk id="16" creationId="{FF5DC143-9EAF-D369-468B-629FF4E97198}"/>
          </ac:spMkLst>
        </pc:spChg>
        <pc:spChg chg="mod">
          <ac:chgData name="Jake Vanderweyst" userId="b6db62d5-80dc-40a5-8de7-7487a2620be2" providerId="ADAL" clId="{07FA9C7A-69A0-418B-88CC-7E3EC035BA60}" dt="2024-07-23T19:21:44.233" v="264" actId="18245"/>
          <ac:spMkLst>
            <pc:docMk/>
            <pc:sldMk cId="537899077" sldId="2147473224"/>
            <ac:spMk id="17" creationId="{B1D6430F-B633-70CB-7D89-FC35333AA29F}"/>
          </ac:spMkLst>
        </pc:spChg>
        <pc:spChg chg="mod">
          <ac:chgData name="Jake Vanderweyst" userId="b6db62d5-80dc-40a5-8de7-7487a2620be2" providerId="ADAL" clId="{07FA9C7A-69A0-418B-88CC-7E3EC035BA60}" dt="2024-07-23T19:21:44.233" v="264" actId="18245"/>
          <ac:spMkLst>
            <pc:docMk/>
            <pc:sldMk cId="537899077" sldId="2147473224"/>
            <ac:spMk id="18" creationId="{C812E8D1-D9AF-DD67-FF99-96A9664496B7}"/>
          </ac:spMkLst>
        </pc:spChg>
        <pc:spChg chg="mod">
          <ac:chgData name="Jake Vanderweyst" userId="b6db62d5-80dc-40a5-8de7-7487a2620be2" providerId="ADAL" clId="{07FA9C7A-69A0-418B-88CC-7E3EC035BA60}" dt="2024-07-23T19:21:44.233" v="264" actId="18245"/>
          <ac:spMkLst>
            <pc:docMk/>
            <pc:sldMk cId="537899077" sldId="2147473224"/>
            <ac:spMk id="19" creationId="{23F6170D-A6DC-2DFF-A1B4-1320E4E286B0}"/>
          </ac:spMkLst>
        </pc:spChg>
        <pc:spChg chg="mod">
          <ac:chgData name="Jake Vanderweyst" userId="b6db62d5-80dc-40a5-8de7-7487a2620be2" providerId="ADAL" clId="{07FA9C7A-69A0-418B-88CC-7E3EC035BA60}" dt="2024-07-23T19:21:44.233" v="264" actId="18245"/>
          <ac:spMkLst>
            <pc:docMk/>
            <pc:sldMk cId="537899077" sldId="2147473224"/>
            <ac:spMk id="20" creationId="{4FB66CE6-6994-D306-01DC-2CDF0AADD644}"/>
          </ac:spMkLst>
        </pc:spChg>
        <pc:spChg chg="mod">
          <ac:chgData name="Jake Vanderweyst" userId="b6db62d5-80dc-40a5-8de7-7487a2620be2" providerId="ADAL" clId="{07FA9C7A-69A0-418B-88CC-7E3EC035BA60}" dt="2024-07-23T19:21:44.233" v="264" actId="18245"/>
          <ac:spMkLst>
            <pc:docMk/>
            <pc:sldMk cId="537899077" sldId="2147473224"/>
            <ac:spMk id="21" creationId="{37EAA7AB-3327-32F9-E57A-1E48234F4FD5}"/>
          </ac:spMkLst>
        </pc:spChg>
        <pc:grpChg chg="del mod">
          <ac:chgData name="Jake Vanderweyst" userId="b6db62d5-80dc-40a5-8de7-7487a2620be2" providerId="ADAL" clId="{07FA9C7A-69A0-418B-88CC-7E3EC035BA60}" dt="2024-07-23T19:22:36.695" v="289" actId="478"/>
          <ac:grpSpMkLst>
            <pc:docMk/>
            <pc:sldMk cId="537899077" sldId="2147473224"/>
            <ac:grpSpMk id="15" creationId="{571E9543-FC47-C4D6-1420-DA9CD5B66D00}"/>
          </ac:grpSpMkLst>
        </pc:grpChg>
        <pc:graphicFrameChg chg="add del mod modGraphic">
          <ac:chgData name="Jake Vanderweyst" userId="b6db62d5-80dc-40a5-8de7-7487a2620be2" providerId="ADAL" clId="{07FA9C7A-69A0-418B-88CC-7E3EC035BA60}" dt="2024-07-23T19:18:59.822" v="203" actId="1032"/>
          <ac:graphicFrameMkLst>
            <pc:docMk/>
            <pc:sldMk cId="537899077" sldId="2147473224"/>
            <ac:graphicFrameMk id="9" creationId="{4705C7CF-E5A6-DCB9-AB27-0665673543E7}"/>
          </ac:graphicFrameMkLst>
        </pc:graphicFrameChg>
        <pc:graphicFrameChg chg="add del mod">
          <ac:chgData name="Jake Vanderweyst" userId="b6db62d5-80dc-40a5-8de7-7487a2620be2" providerId="ADAL" clId="{07FA9C7A-69A0-418B-88CC-7E3EC035BA60}" dt="2024-07-23T19:20:51.043" v="256" actId="478"/>
          <ac:graphicFrameMkLst>
            <pc:docMk/>
            <pc:sldMk cId="537899077" sldId="2147473224"/>
            <ac:graphicFrameMk id="12" creationId="{A326CDDA-0A7F-86FD-F25B-9983A4AB86F2}"/>
          </ac:graphicFrameMkLst>
        </pc:graphicFrameChg>
        <pc:graphicFrameChg chg="add del mod">
          <ac:chgData name="Jake Vanderweyst" userId="b6db62d5-80dc-40a5-8de7-7487a2620be2" providerId="ADAL" clId="{07FA9C7A-69A0-418B-88CC-7E3EC035BA60}" dt="2024-07-23T19:21:44.233" v="264" actId="18245"/>
          <ac:graphicFrameMkLst>
            <pc:docMk/>
            <pc:sldMk cId="537899077" sldId="2147473224"/>
            <ac:graphicFrameMk id="14" creationId="{F880D67B-C99C-9935-28CE-1177ECB227F0}"/>
          </ac:graphicFrameMkLst>
        </pc:graphicFrameChg>
        <pc:graphicFrameChg chg="add mod modGraphic">
          <ac:chgData name="Jake Vanderweyst" userId="b6db62d5-80dc-40a5-8de7-7487a2620be2" providerId="ADAL" clId="{07FA9C7A-69A0-418B-88CC-7E3EC035BA60}" dt="2024-07-23T19:36:17.141" v="481" actId="20577"/>
          <ac:graphicFrameMkLst>
            <pc:docMk/>
            <pc:sldMk cId="537899077" sldId="2147473224"/>
            <ac:graphicFrameMk id="22" creationId="{C6FA7420-15AE-B10B-12A8-181FDBA39972}"/>
          </ac:graphicFrameMkLst>
        </pc:graphicFrameChg>
        <pc:picChg chg="add del mod">
          <ac:chgData name="Jake Vanderweyst" userId="b6db62d5-80dc-40a5-8de7-7487a2620be2" providerId="ADAL" clId="{07FA9C7A-69A0-418B-88CC-7E3EC035BA60}" dt="2024-07-23T20:11:17.080" v="1411" actId="478"/>
          <ac:picMkLst>
            <pc:docMk/>
            <pc:sldMk cId="537899077" sldId="2147473224"/>
            <ac:picMk id="4" creationId="{329FE2C6-04BD-B3FA-C892-8BE2CBA86EB3}"/>
          </ac:picMkLst>
        </pc:picChg>
        <pc:picChg chg="del mod">
          <ac:chgData name="Jake Vanderweyst" userId="b6db62d5-80dc-40a5-8de7-7487a2620be2" providerId="ADAL" clId="{07FA9C7A-69A0-418B-88CC-7E3EC035BA60}" dt="2024-07-23T20:13:45.350" v="1419" actId="478"/>
          <ac:picMkLst>
            <pc:docMk/>
            <pc:sldMk cId="537899077" sldId="2147473224"/>
            <ac:picMk id="5" creationId="{02430A23-0F41-9B29-4839-2B05719EAFDC}"/>
          </ac:picMkLst>
        </pc:picChg>
        <pc:picChg chg="add del mod">
          <ac:chgData name="Jake Vanderweyst" userId="b6db62d5-80dc-40a5-8de7-7487a2620be2" providerId="ADAL" clId="{07FA9C7A-69A0-418B-88CC-7E3EC035BA60}" dt="2024-07-23T20:13:35.586" v="1417" actId="21"/>
          <ac:picMkLst>
            <pc:docMk/>
            <pc:sldMk cId="537899077" sldId="2147473224"/>
            <ac:picMk id="8" creationId="{697A93DC-90D5-83ED-FC7A-81ECFDF028CD}"/>
          </ac:picMkLst>
        </pc:picChg>
        <pc:picChg chg="add mod">
          <ac:chgData name="Jake Vanderweyst" userId="b6db62d5-80dc-40a5-8de7-7487a2620be2" providerId="ADAL" clId="{07FA9C7A-69A0-418B-88CC-7E3EC035BA60}" dt="2024-07-23T20:14:51.737" v="1426" actId="1076"/>
          <ac:picMkLst>
            <pc:docMk/>
            <pc:sldMk cId="537899077" sldId="2147473224"/>
            <ac:picMk id="9" creationId="{697A93DC-90D5-83ED-FC7A-81ECFDF028CD}"/>
          </ac:picMkLst>
        </pc:picChg>
      </pc:sldChg>
      <pc:sldChg chg="add ord">
        <pc:chgData name="Jake Vanderweyst" userId="b6db62d5-80dc-40a5-8de7-7487a2620be2" providerId="ADAL" clId="{07FA9C7A-69A0-418B-88CC-7E3EC035BA60}" dt="2024-07-23T19:38:20.069" v="485"/>
        <pc:sldMkLst>
          <pc:docMk/>
          <pc:sldMk cId="2877215239" sldId="2147473229"/>
        </pc:sldMkLst>
      </pc:sldChg>
      <pc:sldChg chg="del">
        <pc:chgData name="Jake Vanderweyst" userId="b6db62d5-80dc-40a5-8de7-7487a2620be2" providerId="ADAL" clId="{07FA9C7A-69A0-418B-88CC-7E3EC035BA60}" dt="2024-07-23T19:36:35.687" v="482" actId="2696"/>
        <pc:sldMkLst>
          <pc:docMk/>
          <pc:sldMk cId="2978227779" sldId="2147473229"/>
        </pc:sldMkLst>
      </pc:sldChg>
      <pc:sldChg chg="addSp delSp modSp mod">
        <pc:chgData name="Jake Vanderweyst" userId="b6db62d5-80dc-40a5-8de7-7487a2620be2" providerId="ADAL" clId="{07FA9C7A-69A0-418B-88CC-7E3EC035BA60}" dt="2024-07-23T20:48:12.346" v="2655" actId="1037"/>
        <pc:sldMkLst>
          <pc:docMk/>
          <pc:sldMk cId="2877215239" sldId="2147473230"/>
        </pc:sldMkLst>
        <pc:spChg chg="mod">
          <ac:chgData name="Jake Vanderweyst" userId="b6db62d5-80dc-40a5-8de7-7487a2620be2" providerId="ADAL" clId="{07FA9C7A-69A0-418B-88CC-7E3EC035BA60}" dt="2024-07-23T19:40:16.675" v="502" actId="20577"/>
          <ac:spMkLst>
            <pc:docMk/>
            <pc:sldMk cId="2877215239" sldId="2147473230"/>
            <ac:spMk id="3" creationId="{DA889A8D-C759-4AFA-51E1-2F2D342A129A}"/>
          </ac:spMkLst>
        </pc:spChg>
        <pc:spChg chg="add del mod">
          <ac:chgData name="Jake Vanderweyst" userId="b6db62d5-80dc-40a5-8de7-7487a2620be2" providerId="ADAL" clId="{07FA9C7A-69A0-418B-88CC-7E3EC035BA60}" dt="2024-07-23T19:57:57.202" v="1131" actId="478"/>
          <ac:spMkLst>
            <pc:docMk/>
            <pc:sldMk cId="2877215239" sldId="2147473230"/>
            <ac:spMk id="4" creationId="{2F7243E6-6E0D-2896-A8BD-3AF1A85B6AE6}"/>
          </ac:spMkLst>
        </pc:spChg>
        <pc:spChg chg="add mod">
          <ac:chgData name="Jake Vanderweyst" userId="b6db62d5-80dc-40a5-8de7-7487a2620be2" providerId="ADAL" clId="{07FA9C7A-69A0-418B-88CC-7E3EC035BA60}" dt="2024-07-23T20:47:39.137" v="2601" actId="1076"/>
          <ac:spMkLst>
            <pc:docMk/>
            <pc:sldMk cId="2877215239" sldId="2147473230"/>
            <ac:spMk id="7" creationId="{3F5C217D-1B1B-6667-5051-701B608D9F7F}"/>
          </ac:spMkLst>
        </pc:spChg>
        <pc:spChg chg="add del mod">
          <ac:chgData name="Jake Vanderweyst" userId="b6db62d5-80dc-40a5-8de7-7487a2620be2" providerId="ADAL" clId="{07FA9C7A-69A0-418B-88CC-7E3EC035BA60}" dt="2024-07-23T19:58:58.811" v="1193" actId="478"/>
          <ac:spMkLst>
            <pc:docMk/>
            <pc:sldMk cId="2877215239" sldId="2147473230"/>
            <ac:spMk id="8" creationId="{EC430D13-2E36-2202-6598-A670C005FAEA}"/>
          </ac:spMkLst>
        </pc:spChg>
        <pc:spChg chg="add mod">
          <ac:chgData name="Jake Vanderweyst" userId="b6db62d5-80dc-40a5-8de7-7487a2620be2" providerId="ADAL" clId="{07FA9C7A-69A0-418B-88CC-7E3EC035BA60}" dt="2024-07-23T20:04:11.294" v="1402" actId="1076"/>
          <ac:spMkLst>
            <pc:docMk/>
            <pc:sldMk cId="2877215239" sldId="2147473230"/>
            <ac:spMk id="9" creationId="{BFDAE63F-E9B5-7F70-86FA-BDA6380FF0C6}"/>
          </ac:spMkLst>
        </pc:spChg>
        <pc:spChg chg="add mod">
          <ac:chgData name="Jake Vanderweyst" userId="b6db62d5-80dc-40a5-8de7-7487a2620be2" providerId="ADAL" clId="{07FA9C7A-69A0-418B-88CC-7E3EC035BA60}" dt="2024-07-23T20:47:26.131" v="2600" actId="1076"/>
          <ac:spMkLst>
            <pc:docMk/>
            <pc:sldMk cId="2877215239" sldId="2147473230"/>
            <ac:spMk id="10" creationId="{F9A3394B-1D00-3E05-44FC-06CFCDEC757C}"/>
          </ac:spMkLst>
        </pc:spChg>
        <pc:spChg chg="mod">
          <ac:chgData name="Jake Vanderweyst" userId="b6db62d5-80dc-40a5-8de7-7487a2620be2" providerId="ADAL" clId="{07FA9C7A-69A0-418B-88CC-7E3EC035BA60}" dt="2024-07-23T19:41:37.420" v="529" actId="20577"/>
          <ac:spMkLst>
            <pc:docMk/>
            <pc:sldMk cId="2877215239" sldId="2147473230"/>
            <ac:spMk id="11" creationId="{3E75D156-641F-A9C9-8843-92D424F32966}"/>
          </ac:spMkLst>
        </pc:spChg>
        <pc:spChg chg="add del mod">
          <ac:chgData name="Jake Vanderweyst" userId="b6db62d5-80dc-40a5-8de7-7487a2620be2" providerId="ADAL" clId="{07FA9C7A-69A0-418B-88CC-7E3EC035BA60}" dt="2024-07-23T19:58:57.782" v="1191" actId="478"/>
          <ac:spMkLst>
            <pc:docMk/>
            <pc:sldMk cId="2877215239" sldId="2147473230"/>
            <ac:spMk id="12" creationId="{51F8D6CB-62BA-A9F2-FDF3-1E857989254D}"/>
          </ac:spMkLst>
        </pc:spChg>
        <pc:spChg chg="add mod">
          <ac:chgData name="Jake Vanderweyst" userId="b6db62d5-80dc-40a5-8de7-7487a2620be2" providerId="ADAL" clId="{07FA9C7A-69A0-418B-88CC-7E3EC035BA60}" dt="2024-07-23T20:00:35.838" v="1332" actId="1076"/>
          <ac:spMkLst>
            <pc:docMk/>
            <pc:sldMk cId="2877215239" sldId="2147473230"/>
            <ac:spMk id="13" creationId="{C67AF193-D4E7-7680-6027-7DE355B89572}"/>
          </ac:spMkLst>
        </pc:spChg>
        <pc:spChg chg="add mod">
          <ac:chgData name="Jake Vanderweyst" userId="b6db62d5-80dc-40a5-8de7-7487a2620be2" providerId="ADAL" clId="{07FA9C7A-69A0-418B-88CC-7E3EC035BA60}" dt="2024-07-23T20:47:52.345" v="2603" actId="1076"/>
          <ac:spMkLst>
            <pc:docMk/>
            <pc:sldMk cId="2877215239" sldId="2147473230"/>
            <ac:spMk id="14" creationId="{B4763DBC-89E9-4FB7-42DA-50C424BC6732}"/>
          </ac:spMkLst>
        </pc:spChg>
        <pc:spChg chg="add del mod">
          <ac:chgData name="Jake Vanderweyst" userId="b6db62d5-80dc-40a5-8de7-7487a2620be2" providerId="ADAL" clId="{07FA9C7A-69A0-418B-88CC-7E3EC035BA60}" dt="2024-07-23T19:58:58.168" v="1192" actId="478"/>
          <ac:spMkLst>
            <pc:docMk/>
            <pc:sldMk cId="2877215239" sldId="2147473230"/>
            <ac:spMk id="15" creationId="{7016FB57-C406-6D50-7FD4-E64E544B3AD6}"/>
          </ac:spMkLst>
        </pc:spChg>
        <pc:spChg chg="add mod">
          <ac:chgData name="Jake Vanderweyst" userId="b6db62d5-80dc-40a5-8de7-7487a2620be2" providerId="ADAL" clId="{07FA9C7A-69A0-418B-88CC-7E3EC035BA60}" dt="2024-07-23T20:00:37.162" v="1333" actId="1076"/>
          <ac:spMkLst>
            <pc:docMk/>
            <pc:sldMk cId="2877215239" sldId="2147473230"/>
            <ac:spMk id="16" creationId="{DCD8552C-4790-035B-14DD-4624D506D344}"/>
          </ac:spMkLst>
        </pc:spChg>
        <pc:spChg chg="add mod">
          <ac:chgData name="Jake Vanderweyst" userId="b6db62d5-80dc-40a5-8de7-7487a2620be2" providerId="ADAL" clId="{07FA9C7A-69A0-418B-88CC-7E3EC035BA60}" dt="2024-07-23T20:48:12.346" v="2655" actId="1037"/>
          <ac:spMkLst>
            <pc:docMk/>
            <pc:sldMk cId="2877215239" sldId="2147473230"/>
            <ac:spMk id="17" creationId="{97375E1C-6055-01BF-60AC-1C956501BFBC}"/>
          </ac:spMkLst>
        </pc:spChg>
        <pc:spChg chg="add del mod">
          <ac:chgData name="Jake Vanderweyst" userId="b6db62d5-80dc-40a5-8de7-7487a2620be2" providerId="ADAL" clId="{07FA9C7A-69A0-418B-88CC-7E3EC035BA60}" dt="2024-07-23T19:54:16.671" v="949" actId="478"/>
          <ac:spMkLst>
            <pc:docMk/>
            <pc:sldMk cId="2877215239" sldId="2147473230"/>
            <ac:spMk id="18" creationId="{E7B888B4-F916-D52A-6F3C-CA4D390B0A2A}"/>
          </ac:spMkLst>
        </pc:spChg>
        <pc:spChg chg="add del mod">
          <ac:chgData name="Jake Vanderweyst" userId="b6db62d5-80dc-40a5-8de7-7487a2620be2" providerId="ADAL" clId="{07FA9C7A-69A0-418B-88CC-7E3EC035BA60}" dt="2024-07-23T19:54:15.089" v="948" actId="478"/>
          <ac:spMkLst>
            <pc:docMk/>
            <pc:sldMk cId="2877215239" sldId="2147473230"/>
            <ac:spMk id="19" creationId="{BA5CB9C8-51FE-8B15-D6E4-D4A3A7D02CAD}"/>
          </ac:spMkLst>
        </pc:spChg>
        <pc:spChg chg="add del mod">
          <ac:chgData name="Jake Vanderweyst" userId="b6db62d5-80dc-40a5-8de7-7487a2620be2" providerId="ADAL" clId="{07FA9C7A-69A0-418B-88CC-7E3EC035BA60}" dt="2024-07-23T19:57:12.640" v="1032" actId="478"/>
          <ac:spMkLst>
            <pc:docMk/>
            <pc:sldMk cId="2877215239" sldId="2147473230"/>
            <ac:spMk id="20" creationId="{C6B85A62-4FA1-A4C4-FF23-5B4013101A0B}"/>
          </ac:spMkLst>
        </pc:spChg>
        <pc:spChg chg="add mod">
          <ac:chgData name="Jake Vanderweyst" userId="b6db62d5-80dc-40a5-8de7-7487a2620be2" providerId="ADAL" clId="{07FA9C7A-69A0-418B-88CC-7E3EC035BA60}" dt="2024-07-23T20:47:19.322" v="2597" actId="14100"/>
          <ac:spMkLst>
            <pc:docMk/>
            <pc:sldMk cId="2877215239" sldId="2147473230"/>
            <ac:spMk id="21" creationId="{76BDB683-0DD1-6701-A37C-02C47DA7F24F}"/>
          </ac:spMkLst>
        </pc:spChg>
        <pc:spChg chg="add mod">
          <ac:chgData name="Jake Vanderweyst" userId="b6db62d5-80dc-40a5-8de7-7487a2620be2" providerId="ADAL" clId="{07FA9C7A-69A0-418B-88CC-7E3EC035BA60}" dt="2024-07-23T20:47:19.322" v="2597" actId="14100"/>
          <ac:spMkLst>
            <pc:docMk/>
            <pc:sldMk cId="2877215239" sldId="2147473230"/>
            <ac:spMk id="23" creationId="{F30C64D8-73CB-9239-A5D4-BEE4D7F65330}"/>
          </ac:spMkLst>
        </pc:spChg>
        <pc:spChg chg="add mod">
          <ac:chgData name="Jake Vanderweyst" userId="b6db62d5-80dc-40a5-8de7-7487a2620be2" providerId="ADAL" clId="{07FA9C7A-69A0-418B-88CC-7E3EC035BA60}" dt="2024-07-23T20:02:22.702" v="1399" actId="1076"/>
          <ac:spMkLst>
            <pc:docMk/>
            <pc:sldMk cId="2877215239" sldId="2147473230"/>
            <ac:spMk id="24" creationId="{63BD1DBF-B85D-BC97-4173-8EDFCB2682AD}"/>
          </ac:spMkLst>
        </pc:spChg>
        <pc:spChg chg="add mod">
          <ac:chgData name="Jake Vanderweyst" userId="b6db62d5-80dc-40a5-8de7-7487a2620be2" providerId="ADAL" clId="{07FA9C7A-69A0-418B-88CC-7E3EC035BA60}" dt="2024-07-23T20:47:48.532" v="2602" actId="1076"/>
          <ac:spMkLst>
            <pc:docMk/>
            <pc:sldMk cId="2877215239" sldId="2147473230"/>
            <ac:spMk id="25" creationId="{426D2030-2EDF-2788-0ED3-2C7AC5F218E8}"/>
          </ac:spMkLst>
        </pc:spChg>
        <pc:spChg chg="add mod">
          <ac:chgData name="Jake Vanderweyst" userId="b6db62d5-80dc-40a5-8de7-7487a2620be2" providerId="ADAL" clId="{07FA9C7A-69A0-418B-88CC-7E3EC035BA60}" dt="2024-07-23T20:05:16.420" v="1404" actId="20577"/>
          <ac:spMkLst>
            <pc:docMk/>
            <pc:sldMk cId="2877215239" sldId="2147473230"/>
            <ac:spMk id="26" creationId="{A133836F-D960-3899-6FC6-D85779E941AC}"/>
          </ac:spMkLst>
        </pc:spChg>
        <pc:spChg chg="add mod">
          <ac:chgData name="Jake Vanderweyst" userId="b6db62d5-80dc-40a5-8de7-7487a2620be2" providerId="ADAL" clId="{07FA9C7A-69A0-418B-88CC-7E3EC035BA60}" dt="2024-07-23T20:48:12.346" v="2655" actId="1037"/>
          <ac:spMkLst>
            <pc:docMk/>
            <pc:sldMk cId="2877215239" sldId="2147473230"/>
            <ac:spMk id="27" creationId="{1BC77138-F7DC-A92A-F47A-EF4132A6EA95}"/>
          </ac:spMkLst>
        </pc:spChg>
        <pc:spChg chg="add mod">
          <ac:chgData name="Jake Vanderweyst" userId="b6db62d5-80dc-40a5-8de7-7487a2620be2" providerId="ADAL" clId="{07FA9C7A-69A0-418B-88CC-7E3EC035BA60}" dt="2024-07-23T20:00:55.311" v="1340" actId="20577"/>
          <ac:spMkLst>
            <pc:docMk/>
            <pc:sldMk cId="2877215239" sldId="2147473230"/>
            <ac:spMk id="28" creationId="{E225BC3C-C788-5E00-A3AF-9B3E7B141C9F}"/>
          </ac:spMkLst>
        </pc:spChg>
        <pc:spChg chg="add mod">
          <ac:chgData name="Jake Vanderweyst" userId="b6db62d5-80dc-40a5-8de7-7487a2620be2" providerId="ADAL" clId="{07FA9C7A-69A0-418B-88CC-7E3EC035BA60}" dt="2024-07-23T20:01:44.904" v="1354" actId="1076"/>
          <ac:spMkLst>
            <pc:docMk/>
            <pc:sldMk cId="2877215239" sldId="2147473230"/>
            <ac:spMk id="29" creationId="{068A4412-F6AE-318D-A720-CEAB0F499C82}"/>
          </ac:spMkLst>
        </pc:spChg>
        <pc:graphicFrameChg chg="del">
          <ac:chgData name="Jake Vanderweyst" userId="b6db62d5-80dc-40a5-8de7-7487a2620be2" providerId="ADAL" clId="{07FA9C7A-69A0-418B-88CC-7E3EC035BA60}" dt="2024-07-23T19:39:50.461" v="489" actId="478"/>
          <ac:graphicFrameMkLst>
            <pc:docMk/>
            <pc:sldMk cId="2877215239" sldId="2147473230"/>
            <ac:graphicFrameMk id="22" creationId="{C6FA7420-15AE-B10B-12A8-181FDBA39972}"/>
          </ac:graphicFrameMkLst>
        </pc:graphicFrameChg>
        <pc:picChg chg="del">
          <ac:chgData name="Jake Vanderweyst" userId="b6db62d5-80dc-40a5-8de7-7487a2620be2" providerId="ADAL" clId="{07FA9C7A-69A0-418B-88CC-7E3EC035BA60}" dt="2024-07-23T20:14:59.176" v="1427" actId="478"/>
          <ac:picMkLst>
            <pc:docMk/>
            <pc:sldMk cId="2877215239" sldId="2147473230"/>
            <ac:picMk id="5" creationId="{02430A23-0F41-9B29-4839-2B05719EAFDC}"/>
          </ac:picMkLst>
        </pc:picChg>
        <pc:picChg chg="add mod">
          <ac:chgData name="Jake Vanderweyst" userId="b6db62d5-80dc-40a5-8de7-7487a2620be2" providerId="ADAL" clId="{07FA9C7A-69A0-418B-88CC-7E3EC035BA60}" dt="2024-07-23T20:17:05.078" v="1441" actId="1035"/>
          <ac:picMkLst>
            <pc:docMk/>
            <pc:sldMk cId="2877215239" sldId="2147473230"/>
            <ac:picMk id="31" creationId="{20B4E660-95E8-C3BA-DA48-C69DFCA61371}"/>
          </ac:picMkLst>
        </pc:picChg>
      </pc:sldChg>
      <pc:sldChg chg="addSp delSp modSp add del mod">
        <pc:chgData name="Jake Vanderweyst" userId="b6db62d5-80dc-40a5-8de7-7487a2620be2" providerId="ADAL" clId="{07FA9C7A-69A0-418B-88CC-7E3EC035BA60}" dt="2024-07-23T20:19:45.513" v="1507" actId="2696"/>
        <pc:sldMkLst>
          <pc:docMk/>
          <pc:sldMk cId="2275132346" sldId="2147473231"/>
        </pc:sldMkLst>
        <pc:spChg chg="mod">
          <ac:chgData name="Jake Vanderweyst" userId="b6db62d5-80dc-40a5-8de7-7487a2620be2" providerId="ADAL" clId="{07FA9C7A-69A0-418B-88CC-7E3EC035BA60}" dt="2024-07-23T20:18:53.712" v="1473" actId="20577"/>
          <ac:spMkLst>
            <pc:docMk/>
            <pc:sldMk cId="2275132346" sldId="2147473231"/>
            <ac:spMk id="3" creationId="{DA889A8D-C759-4AFA-51E1-2F2D342A129A}"/>
          </ac:spMkLst>
        </pc:spChg>
        <pc:spChg chg="add del mod">
          <ac:chgData name="Jake Vanderweyst" userId="b6db62d5-80dc-40a5-8de7-7487a2620be2" providerId="ADAL" clId="{07FA9C7A-69A0-418B-88CC-7E3EC035BA60}" dt="2024-07-23T20:18:39.015" v="1445" actId="478"/>
          <ac:spMkLst>
            <pc:docMk/>
            <pc:sldMk cId="2275132346" sldId="2147473231"/>
            <ac:spMk id="5" creationId="{8A9D5722-21C8-ECF9-A8AB-67B55C280C50}"/>
          </ac:spMkLst>
        </pc:spChg>
        <pc:spChg chg="del">
          <ac:chgData name="Jake Vanderweyst" userId="b6db62d5-80dc-40a5-8de7-7487a2620be2" providerId="ADAL" clId="{07FA9C7A-69A0-418B-88CC-7E3EC035BA60}" dt="2024-07-23T20:18:32.734" v="1443" actId="478"/>
          <ac:spMkLst>
            <pc:docMk/>
            <pc:sldMk cId="2275132346" sldId="2147473231"/>
            <ac:spMk id="7" creationId="{3F5C217D-1B1B-6667-5051-701B608D9F7F}"/>
          </ac:spMkLst>
        </pc:spChg>
        <pc:spChg chg="del">
          <ac:chgData name="Jake Vanderweyst" userId="b6db62d5-80dc-40a5-8de7-7487a2620be2" providerId="ADAL" clId="{07FA9C7A-69A0-418B-88CC-7E3EC035BA60}" dt="2024-07-23T20:18:36.418" v="1444" actId="478"/>
          <ac:spMkLst>
            <pc:docMk/>
            <pc:sldMk cId="2275132346" sldId="2147473231"/>
            <ac:spMk id="9" creationId="{BFDAE63F-E9B5-7F70-86FA-BDA6380FF0C6}"/>
          </ac:spMkLst>
        </pc:spChg>
        <pc:spChg chg="del">
          <ac:chgData name="Jake Vanderweyst" userId="b6db62d5-80dc-40a5-8de7-7487a2620be2" providerId="ADAL" clId="{07FA9C7A-69A0-418B-88CC-7E3EC035BA60}" dt="2024-07-23T20:18:32.734" v="1443" actId="478"/>
          <ac:spMkLst>
            <pc:docMk/>
            <pc:sldMk cId="2275132346" sldId="2147473231"/>
            <ac:spMk id="10" creationId="{F9A3394B-1D00-3E05-44FC-06CFCDEC757C}"/>
          </ac:spMkLst>
        </pc:spChg>
        <pc:spChg chg="del">
          <ac:chgData name="Jake Vanderweyst" userId="b6db62d5-80dc-40a5-8de7-7487a2620be2" providerId="ADAL" clId="{07FA9C7A-69A0-418B-88CC-7E3EC035BA60}" dt="2024-07-23T20:18:32.734" v="1443" actId="478"/>
          <ac:spMkLst>
            <pc:docMk/>
            <pc:sldMk cId="2275132346" sldId="2147473231"/>
            <ac:spMk id="13" creationId="{C67AF193-D4E7-7680-6027-7DE355B89572}"/>
          </ac:spMkLst>
        </pc:spChg>
        <pc:spChg chg="del">
          <ac:chgData name="Jake Vanderweyst" userId="b6db62d5-80dc-40a5-8de7-7487a2620be2" providerId="ADAL" clId="{07FA9C7A-69A0-418B-88CC-7E3EC035BA60}" dt="2024-07-23T20:18:36.418" v="1444" actId="478"/>
          <ac:spMkLst>
            <pc:docMk/>
            <pc:sldMk cId="2275132346" sldId="2147473231"/>
            <ac:spMk id="14" creationId="{B4763DBC-89E9-4FB7-42DA-50C424BC6732}"/>
          </ac:spMkLst>
        </pc:spChg>
        <pc:spChg chg="del">
          <ac:chgData name="Jake Vanderweyst" userId="b6db62d5-80dc-40a5-8de7-7487a2620be2" providerId="ADAL" clId="{07FA9C7A-69A0-418B-88CC-7E3EC035BA60}" dt="2024-07-23T20:18:36.418" v="1444" actId="478"/>
          <ac:spMkLst>
            <pc:docMk/>
            <pc:sldMk cId="2275132346" sldId="2147473231"/>
            <ac:spMk id="16" creationId="{DCD8552C-4790-035B-14DD-4624D506D344}"/>
          </ac:spMkLst>
        </pc:spChg>
        <pc:spChg chg="del">
          <ac:chgData name="Jake Vanderweyst" userId="b6db62d5-80dc-40a5-8de7-7487a2620be2" providerId="ADAL" clId="{07FA9C7A-69A0-418B-88CC-7E3EC035BA60}" dt="2024-07-23T20:18:32.734" v="1443" actId="478"/>
          <ac:spMkLst>
            <pc:docMk/>
            <pc:sldMk cId="2275132346" sldId="2147473231"/>
            <ac:spMk id="17" creationId="{97375E1C-6055-01BF-60AC-1C956501BFBC}"/>
          </ac:spMkLst>
        </pc:spChg>
        <pc:spChg chg="del">
          <ac:chgData name="Jake Vanderweyst" userId="b6db62d5-80dc-40a5-8de7-7487a2620be2" providerId="ADAL" clId="{07FA9C7A-69A0-418B-88CC-7E3EC035BA60}" dt="2024-07-23T20:18:36.418" v="1444" actId="478"/>
          <ac:spMkLst>
            <pc:docMk/>
            <pc:sldMk cId="2275132346" sldId="2147473231"/>
            <ac:spMk id="21" creationId="{76BDB683-0DD1-6701-A37C-02C47DA7F24F}"/>
          </ac:spMkLst>
        </pc:spChg>
        <pc:spChg chg="del">
          <ac:chgData name="Jake Vanderweyst" userId="b6db62d5-80dc-40a5-8de7-7487a2620be2" providerId="ADAL" clId="{07FA9C7A-69A0-418B-88CC-7E3EC035BA60}" dt="2024-07-23T20:18:36.418" v="1444" actId="478"/>
          <ac:spMkLst>
            <pc:docMk/>
            <pc:sldMk cId="2275132346" sldId="2147473231"/>
            <ac:spMk id="23" creationId="{F30C64D8-73CB-9239-A5D4-BEE4D7F65330}"/>
          </ac:spMkLst>
        </pc:spChg>
        <pc:spChg chg="del">
          <ac:chgData name="Jake Vanderweyst" userId="b6db62d5-80dc-40a5-8de7-7487a2620be2" providerId="ADAL" clId="{07FA9C7A-69A0-418B-88CC-7E3EC035BA60}" dt="2024-07-23T20:18:32.734" v="1443" actId="478"/>
          <ac:spMkLst>
            <pc:docMk/>
            <pc:sldMk cId="2275132346" sldId="2147473231"/>
            <ac:spMk id="24" creationId="{63BD1DBF-B85D-BC97-4173-8EDFCB2682AD}"/>
          </ac:spMkLst>
        </pc:spChg>
        <pc:spChg chg="del">
          <ac:chgData name="Jake Vanderweyst" userId="b6db62d5-80dc-40a5-8de7-7487a2620be2" providerId="ADAL" clId="{07FA9C7A-69A0-418B-88CC-7E3EC035BA60}" dt="2024-07-23T20:18:32.734" v="1443" actId="478"/>
          <ac:spMkLst>
            <pc:docMk/>
            <pc:sldMk cId="2275132346" sldId="2147473231"/>
            <ac:spMk id="25" creationId="{426D2030-2EDF-2788-0ED3-2C7AC5F218E8}"/>
          </ac:spMkLst>
        </pc:spChg>
        <pc:spChg chg="del">
          <ac:chgData name="Jake Vanderweyst" userId="b6db62d5-80dc-40a5-8de7-7487a2620be2" providerId="ADAL" clId="{07FA9C7A-69A0-418B-88CC-7E3EC035BA60}" dt="2024-07-23T20:18:36.418" v="1444" actId="478"/>
          <ac:spMkLst>
            <pc:docMk/>
            <pc:sldMk cId="2275132346" sldId="2147473231"/>
            <ac:spMk id="26" creationId="{A133836F-D960-3899-6FC6-D85779E941AC}"/>
          </ac:spMkLst>
        </pc:spChg>
        <pc:spChg chg="del">
          <ac:chgData name="Jake Vanderweyst" userId="b6db62d5-80dc-40a5-8de7-7487a2620be2" providerId="ADAL" clId="{07FA9C7A-69A0-418B-88CC-7E3EC035BA60}" dt="2024-07-23T20:18:32.734" v="1443" actId="478"/>
          <ac:spMkLst>
            <pc:docMk/>
            <pc:sldMk cId="2275132346" sldId="2147473231"/>
            <ac:spMk id="27" creationId="{1BC77138-F7DC-A92A-F47A-EF4132A6EA95}"/>
          </ac:spMkLst>
        </pc:spChg>
        <pc:spChg chg="del">
          <ac:chgData name="Jake Vanderweyst" userId="b6db62d5-80dc-40a5-8de7-7487a2620be2" providerId="ADAL" clId="{07FA9C7A-69A0-418B-88CC-7E3EC035BA60}" dt="2024-07-23T20:18:32.734" v="1443" actId="478"/>
          <ac:spMkLst>
            <pc:docMk/>
            <pc:sldMk cId="2275132346" sldId="2147473231"/>
            <ac:spMk id="28" creationId="{E225BC3C-C788-5E00-A3AF-9B3E7B141C9F}"/>
          </ac:spMkLst>
        </pc:spChg>
        <pc:spChg chg="del">
          <ac:chgData name="Jake Vanderweyst" userId="b6db62d5-80dc-40a5-8de7-7487a2620be2" providerId="ADAL" clId="{07FA9C7A-69A0-418B-88CC-7E3EC035BA60}" dt="2024-07-23T20:18:32.734" v="1443" actId="478"/>
          <ac:spMkLst>
            <pc:docMk/>
            <pc:sldMk cId="2275132346" sldId="2147473231"/>
            <ac:spMk id="29" creationId="{068A4412-F6AE-318D-A720-CEAB0F499C82}"/>
          </ac:spMkLst>
        </pc:spChg>
      </pc:sldChg>
      <pc:sldChg chg="addSp delSp modSp add mod">
        <pc:chgData name="Jake Vanderweyst" userId="b6db62d5-80dc-40a5-8de7-7487a2620be2" providerId="ADAL" clId="{07FA9C7A-69A0-418B-88CC-7E3EC035BA60}" dt="2024-07-23T20:45:29.234" v="2530" actId="14100"/>
        <pc:sldMkLst>
          <pc:docMk/>
          <pc:sldMk cId="3666917176" sldId="2147473232"/>
        </pc:sldMkLst>
        <pc:spChg chg="add mod">
          <ac:chgData name="Jake Vanderweyst" userId="b6db62d5-80dc-40a5-8de7-7487a2620be2" providerId="ADAL" clId="{07FA9C7A-69A0-418B-88CC-7E3EC035BA60}" dt="2024-07-23T20:19:22.493" v="1476"/>
          <ac:spMkLst>
            <pc:docMk/>
            <pc:sldMk cId="3666917176" sldId="2147473232"/>
            <ac:spMk id="2" creationId="{76C01C11-D5FC-AA89-3529-FD677DE3BA05}"/>
          </ac:spMkLst>
        </pc:spChg>
        <pc:spChg chg="mod">
          <ac:chgData name="Jake Vanderweyst" userId="b6db62d5-80dc-40a5-8de7-7487a2620be2" providerId="ADAL" clId="{07FA9C7A-69A0-418B-88CC-7E3EC035BA60}" dt="2024-07-23T20:19:30.666" v="1506" actId="20577"/>
          <ac:spMkLst>
            <pc:docMk/>
            <pc:sldMk cId="3666917176" sldId="2147473232"/>
            <ac:spMk id="3" creationId="{DA889A8D-C759-4AFA-51E1-2F2D342A129A}"/>
          </ac:spMkLst>
        </pc:spChg>
        <pc:spChg chg="add mod">
          <ac:chgData name="Jake Vanderweyst" userId="b6db62d5-80dc-40a5-8de7-7487a2620be2" providerId="ADAL" clId="{07FA9C7A-69A0-418B-88CC-7E3EC035BA60}" dt="2024-07-23T20:45:29.234" v="2530" actId="14100"/>
          <ac:spMkLst>
            <pc:docMk/>
            <pc:sldMk cId="3666917176" sldId="2147473232"/>
            <ac:spMk id="5" creationId="{8F44C46C-42A4-5663-65DE-7575A66F569E}"/>
          </ac:spMkLst>
        </pc:spChg>
        <pc:spChg chg="add mod">
          <ac:chgData name="Jake Vanderweyst" userId="b6db62d5-80dc-40a5-8de7-7487a2620be2" providerId="ADAL" clId="{07FA9C7A-69A0-418B-88CC-7E3EC035BA60}" dt="2024-07-23T20:45:29.234" v="2530" actId="14100"/>
          <ac:spMkLst>
            <pc:docMk/>
            <pc:sldMk cId="3666917176" sldId="2147473232"/>
            <ac:spMk id="7" creationId="{2A685457-DB57-942D-CCCE-59A111CB108A}"/>
          </ac:spMkLst>
        </pc:spChg>
        <pc:spChg chg="add mod">
          <ac:chgData name="Jake Vanderweyst" userId="b6db62d5-80dc-40a5-8de7-7487a2620be2" providerId="ADAL" clId="{07FA9C7A-69A0-418B-88CC-7E3EC035BA60}" dt="2024-07-23T20:45:29.234" v="2530" actId="14100"/>
          <ac:spMkLst>
            <pc:docMk/>
            <pc:sldMk cId="3666917176" sldId="2147473232"/>
            <ac:spMk id="8" creationId="{1B2D92AE-7242-84D7-B1EE-4C01C39D894B}"/>
          </ac:spMkLst>
        </pc:spChg>
        <pc:spChg chg="add mod">
          <ac:chgData name="Jake Vanderweyst" userId="b6db62d5-80dc-40a5-8de7-7487a2620be2" providerId="ADAL" clId="{07FA9C7A-69A0-418B-88CC-7E3EC035BA60}" dt="2024-07-23T20:45:29.234" v="2530" actId="14100"/>
          <ac:spMkLst>
            <pc:docMk/>
            <pc:sldMk cId="3666917176" sldId="2147473232"/>
            <ac:spMk id="9" creationId="{166AA232-2F97-2A17-5C1A-898B41784AF9}"/>
          </ac:spMkLst>
        </pc:spChg>
        <pc:spChg chg="add mod">
          <ac:chgData name="Jake Vanderweyst" userId="b6db62d5-80dc-40a5-8de7-7487a2620be2" providerId="ADAL" clId="{07FA9C7A-69A0-418B-88CC-7E3EC035BA60}" dt="2024-07-23T20:45:29.234" v="2530" actId="14100"/>
          <ac:spMkLst>
            <pc:docMk/>
            <pc:sldMk cId="3666917176" sldId="2147473232"/>
            <ac:spMk id="10" creationId="{2B48130D-924E-5FBE-686A-95287014FC96}"/>
          </ac:spMkLst>
        </pc:spChg>
        <pc:spChg chg="add del mod">
          <ac:chgData name="Jake Vanderweyst" userId="b6db62d5-80dc-40a5-8de7-7487a2620be2" providerId="ADAL" clId="{07FA9C7A-69A0-418B-88CC-7E3EC035BA60}" dt="2024-07-23T20:27:27.959" v="1712" actId="478"/>
          <ac:spMkLst>
            <pc:docMk/>
            <pc:sldMk cId="3666917176" sldId="2147473232"/>
            <ac:spMk id="11" creationId="{BF7E2139-01E9-5C38-A86C-B3252275FB27}"/>
          </ac:spMkLst>
        </pc:spChg>
        <pc:spChg chg="add mod">
          <ac:chgData name="Jake Vanderweyst" userId="b6db62d5-80dc-40a5-8de7-7487a2620be2" providerId="ADAL" clId="{07FA9C7A-69A0-418B-88CC-7E3EC035BA60}" dt="2024-07-23T20:45:29.234" v="2530" actId="14100"/>
          <ac:spMkLst>
            <pc:docMk/>
            <pc:sldMk cId="3666917176" sldId="2147473232"/>
            <ac:spMk id="12" creationId="{776D3242-0A78-2866-583B-B0F795C28453}"/>
          </ac:spMkLst>
        </pc:spChg>
        <pc:spChg chg="add del mod">
          <ac:chgData name="Jake Vanderweyst" userId="b6db62d5-80dc-40a5-8de7-7487a2620be2" providerId="ADAL" clId="{07FA9C7A-69A0-418B-88CC-7E3EC035BA60}" dt="2024-07-23T20:31:10.969" v="1913" actId="478"/>
          <ac:spMkLst>
            <pc:docMk/>
            <pc:sldMk cId="3666917176" sldId="2147473232"/>
            <ac:spMk id="13" creationId="{021F219B-BCB7-B4B4-1AB0-8FBC97176589}"/>
          </ac:spMkLst>
        </pc:spChg>
        <pc:spChg chg="add mod">
          <ac:chgData name="Jake Vanderweyst" userId="b6db62d5-80dc-40a5-8de7-7487a2620be2" providerId="ADAL" clId="{07FA9C7A-69A0-418B-88CC-7E3EC035BA60}" dt="2024-07-23T20:45:29.234" v="2530" actId="14100"/>
          <ac:spMkLst>
            <pc:docMk/>
            <pc:sldMk cId="3666917176" sldId="2147473232"/>
            <ac:spMk id="14" creationId="{5F6254EF-6E4B-AF1C-E8BC-3FB73A2D7598}"/>
          </ac:spMkLst>
        </pc:spChg>
        <pc:spChg chg="mod">
          <ac:chgData name="Jake Vanderweyst" userId="b6db62d5-80dc-40a5-8de7-7487a2620be2" providerId="ADAL" clId="{07FA9C7A-69A0-418B-88CC-7E3EC035BA60}" dt="2024-07-23T20:45:29.234" v="2530" actId="14100"/>
          <ac:spMkLst>
            <pc:docMk/>
            <pc:sldMk cId="3666917176" sldId="2147473232"/>
            <ac:spMk id="16" creationId="{97D62C23-DD38-DFD8-C04A-91C3E2422705}"/>
          </ac:spMkLst>
        </pc:spChg>
        <pc:spChg chg="mod">
          <ac:chgData name="Jake Vanderweyst" userId="b6db62d5-80dc-40a5-8de7-7487a2620be2" providerId="ADAL" clId="{07FA9C7A-69A0-418B-88CC-7E3EC035BA60}" dt="2024-07-23T20:45:29.234" v="2530" actId="14100"/>
          <ac:spMkLst>
            <pc:docMk/>
            <pc:sldMk cId="3666917176" sldId="2147473232"/>
            <ac:spMk id="17" creationId="{00030146-5E12-3638-483F-42555FFF6582}"/>
          </ac:spMkLst>
        </pc:spChg>
        <pc:spChg chg="mod">
          <ac:chgData name="Jake Vanderweyst" userId="b6db62d5-80dc-40a5-8de7-7487a2620be2" providerId="ADAL" clId="{07FA9C7A-69A0-418B-88CC-7E3EC035BA60}" dt="2024-07-23T20:45:29.234" v="2530" actId="14100"/>
          <ac:spMkLst>
            <pc:docMk/>
            <pc:sldMk cId="3666917176" sldId="2147473232"/>
            <ac:spMk id="18" creationId="{E3B13AB2-7189-F467-10F9-DD84EA6C1EF6}"/>
          </ac:spMkLst>
        </pc:spChg>
        <pc:spChg chg="del">
          <ac:chgData name="Jake Vanderweyst" userId="b6db62d5-80dc-40a5-8de7-7487a2620be2" providerId="ADAL" clId="{07FA9C7A-69A0-418B-88CC-7E3EC035BA60}" dt="2024-07-23T20:27:02.643" v="1705" actId="478"/>
          <ac:spMkLst>
            <pc:docMk/>
            <pc:sldMk cId="3666917176" sldId="2147473232"/>
            <ac:spMk id="19" creationId="{35C5409F-54DC-550B-005A-CEE235A983D4}"/>
          </ac:spMkLst>
        </pc:spChg>
        <pc:spChg chg="del mod">
          <ac:chgData name="Jake Vanderweyst" userId="b6db62d5-80dc-40a5-8de7-7487a2620be2" providerId="ADAL" clId="{07FA9C7A-69A0-418B-88CC-7E3EC035BA60}" dt="2024-07-23T20:25:01.448" v="1614" actId="478"/>
          <ac:spMkLst>
            <pc:docMk/>
            <pc:sldMk cId="3666917176" sldId="2147473232"/>
            <ac:spMk id="20" creationId="{1D8829D1-3DB3-A8F5-8BC6-D8FB0C144BA8}"/>
          </ac:spMkLst>
        </pc:spChg>
        <pc:spChg chg="del mod">
          <ac:chgData name="Jake Vanderweyst" userId="b6db62d5-80dc-40a5-8de7-7487a2620be2" providerId="ADAL" clId="{07FA9C7A-69A0-418B-88CC-7E3EC035BA60}" dt="2024-07-23T20:26:20.007" v="1655" actId="478"/>
          <ac:spMkLst>
            <pc:docMk/>
            <pc:sldMk cId="3666917176" sldId="2147473232"/>
            <ac:spMk id="21" creationId="{8BD7AEB7-67FE-574A-AC15-AD9E8C219504}"/>
          </ac:spMkLst>
        </pc:spChg>
        <pc:spChg chg="del mod">
          <ac:chgData name="Jake Vanderweyst" userId="b6db62d5-80dc-40a5-8de7-7487a2620be2" providerId="ADAL" clId="{07FA9C7A-69A0-418B-88CC-7E3EC035BA60}" dt="2024-07-23T20:27:59.924" v="1738" actId="478"/>
          <ac:spMkLst>
            <pc:docMk/>
            <pc:sldMk cId="3666917176" sldId="2147473232"/>
            <ac:spMk id="22" creationId="{F46F68D7-B917-D8A6-BD1B-B41FC63084A6}"/>
          </ac:spMkLst>
        </pc:spChg>
        <pc:spChg chg="del mod">
          <ac:chgData name="Jake Vanderweyst" userId="b6db62d5-80dc-40a5-8de7-7487a2620be2" providerId="ADAL" clId="{07FA9C7A-69A0-418B-88CC-7E3EC035BA60}" dt="2024-07-23T20:27:05.640" v="1707" actId="478"/>
          <ac:spMkLst>
            <pc:docMk/>
            <pc:sldMk cId="3666917176" sldId="2147473232"/>
            <ac:spMk id="23" creationId="{0BF2BB63-6323-41A9-BC0A-0B70BC4E7363}"/>
          </ac:spMkLst>
        </pc:spChg>
        <pc:spChg chg="mod">
          <ac:chgData name="Jake Vanderweyst" userId="b6db62d5-80dc-40a5-8de7-7487a2620be2" providerId="ADAL" clId="{07FA9C7A-69A0-418B-88CC-7E3EC035BA60}" dt="2024-07-23T20:45:29.234" v="2530" actId="14100"/>
          <ac:spMkLst>
            <pc:docMk/>
            <pc:sldMk cId="3666917176" sldId="2147473232"/>
            <ac:spMk id="24" creationId="{63517FA4-96ED-E318-F94F-90BA55FFD371}"/>
          </ac:spMkLst>
        </pc:spChg>
        <pc:spChg chg="del">
          <ac:chgData name="Jake Vanderweyst" userId="b6db62d5-80dc-40a5-8de7-7487a2620be2" providerId="ADAL" clId="{07FA9C7A-69A0-418B-88CC-7E3EC035BA60}" dt="2024-07-23T20:26:17.811" v="1654" actId="478"/>
          <ac:spMkLst>
            <pc:docMk/>
            <pc:sldMk cId="3666917176" sldId="2147473232"/>
            <ac:spMk id="28" creationId="{AE1BDDD3-4B5D-C8A5-E955-F825C1A1D662}"/>
          </ac:spMkLst>
        </pc:spChg>
        <pc:spChg chg="mod">
          <ac:chgData name="Jake Vanderweyst" userId="b6db62d5-80dc-40a5-8de7-7487a2620be2" providerId="ADAL" clId="{07FA9C7A-69A0-418B-88CC-7E3EC035BA60}" dt="2024-07-23T20:45:29.234" v="2530" actId="14100"/>
          <ac:spMkLst>
            <pc:docMk/>
            <pc:sldMk cId="3666917176" sldId="2147473232"/>
            <ac:spMk id="29" creationId="{97EEC2F6-17FA-B050-6833-D8E6B3D0B9FE}"/>
          </ac:spMkLst>
        </pc:spChg>
        <pc:spChg chg="del">
          <ac:chgData name="Jake Vanderweyst" userId="b6db62d5-80dc-40a5-8de7-7487a2620be2" providerId="ADAL" clId="{07FA9C7A-69A0-418B-88CC-7E3EC035BA60}" dt="2024-07-23T20:27:03.762" v="1706" actId="478"/>
          <ac:spMkLst>
            <pc:docMk/>
            <pc:sldMk cId="3666917176" sldId="2147473232"/>
            <ac:spMk id="30" creationId="{6E1C51F4-85D2-D55A-A5F2-F114CB6ADE6E}"/>
          </ac:spMkLst>
        </pc:spChg>
        <pc:spChg chg="del mod">
          <ac:chgData name="Jake Vanderweyst" userId="b6db62d5-80dc-40a5-8de7-7487a2620be2" providerId="ADAL" clId="{07FA9C7A-69A0-418B-88CC-7E3EC035BA60}" dt="2024-07-23T20:23:43.939" v="1585" actId="478"/>
          <ac:spMkLst>
            <pc:docMk/>
            <pc:sldMk cId="3666917176" sldId="2147473232"/>
            <ac:spMk id="32" creationId="{EFD1AB5A-D2A5-5E97-0AE9-1E1A31B04D41}"/>
          </ac:spMkLst>
        </pc:spChg>
        <pc:spChg chg="del mod">
          <ac:chgData name="Jake Vanderweyst" userId="b6db62d5-80dc-40a5-8de7-7487a2620be2" providerId="ADAL" clId="{07FA9C7A-69A0-418B-88CC-7E3EC035BA60}" dt="2024-07-23T20:24:50.093" v="1610" actId="478"/>
          <ac:spMkLst>
            <pc:docMk/>
            <pc:sldMk cId="3666917176" sldId="2147473232"/>
            <ac:spMk id="33" creationId="{D3A72277-84C6-DB0A-DB4D-CC35EAE52CE3}"/>
          </ac:spMkLst>
        </pc:spChg>
        <pc:spChg chg="del mod">
          <ac:chgData name="Jake Vanderweyst" userId="b6db62d5-80dc-40a5-8de7-7487a2620be2" providerId="ADAL" clId="{07FA9C7A-69A0-418B-88CC-7E3EC035BA60}" dt="2024-07-23T20:24:50.905" v="1611" actId="478"/>
          <ac:spMkLst>
            <pc:docMk/>
            <pc:sldMk cId="3666917176" sldId="2147473232"/>
            <ac:spMk id="34" creationId="{E7D67EA4-7809-C385-FB12-128ED144F41C}"/>
          </ac:spMkLst>
        </pc:spChg>
        <pc:spChg chg="del mod">
          <ac:chgData name="Jake Vanderweyst" userId="b6db62d5-80dc-40a5-8de7-7487a2620be2" providerId="ADAL" clId="{07FA9C7A-69A0-418B-88CC-7E3EC035BA60}" dt="2024-07-23T20:23:20.744" v="1574" actId="478"/>
          <ac:spMkLst>
            <pc:docMk/>
            <pc:sldMk cId="3666917176" sldId="2147473232"/>
            <ac:spMk id="35" creationId="{5E22B58C-AC19-FE49-3A53-7D73FF077D28}"/>
          </ac:spMkLst>
        </pc:spChg>
        <pc:spChg chg="del mod">
          <ac:chgData name="Jake Vanderweyst" userId="b6db62d5-80dc-40a5-8de7-7487a2620be2" providerId="ADAL" clId="{07FA9C7A-69A0-418B-88CC-7E3EC035BA60}" dt="2024-07-23T20:23:20.744" v="1574" actId="478"/>
          <ac:spMkLst>
            <pc:docMk/>
            <pc:sldMk cId="3666917176" sldId="2147473232"/>
            <ac:spMk id="36" creationId="{7F7DEB1E-2772-17B8-5A6F-31B994585621}"/>
          </ac:spMkLst>
        </pc:spChg>
        <pc:spChg chg="del mod">
          <ac:chgData name="Jake Vanderweyst" userId="b6db62d5-80dc-40a5-8de7-7487a2620be2" providerId="ADAL" clId="{07FA9C7A-69A0-418B-88CC-7E3EC035BA60}" dt="2024-07-23T20:23:20.744" v="1574" actId="478"/>
          <ac:spMkLst>
            <pc:docMk/>
            <pc:sldMk cId="3666917176" sldId="2147473232"/>
            <ac:spMk id="37" creationId="{98E31E5B-4CEF-ECFB-F7ED-958FEFD45AEC}"/>
          </ac:spMkLst>
        </pc:spChg>
        <pc:spChg chg="del mod">
          <ac:chgData name="Jake Vanderweyst" userId="b6db62d5-80dc-40a5-8de7-7487a2620be2" providerId="ADAL" clId="{07FA9C7A-69A0-418B-88CC-7E3EC035BA60}" dt="2024-07-23T20:23:20.744" v="1574" actId="478"/>
          <ac:spMkLst>
            <pc:docMk/>
            <pc:sldMk cId="3666917176" sldId="2147473232"/>
            <ac:spMk id="38" creationId="{D8914BF8-A108-2188-6666-CDAD5B0BB382}"/>
          </ac:spMkLst>
        </pc:spChg>
        <pc:spChg chg="del mod">
          <ac:chgData name="Jake Vanderweyst" userId="b6db62d5-80dc-40a5-8de7-7487a2620be2" providerId="ADAL" clId="{07FA9C7A-69A0-418B-88CC-7E3EC035BA60}" dt="2024-07-23T20:23:20.744" v="1574" actId="478"/>
          <ac:spMkLst>
            <pc:docMk/>
            <pc:sldMk cId="3666917176" sldId="2147473232"/>
            <ac:spMk id="39" creationId="{B5583952-6911-F970-CC06-A06E89745590}"/>
          </ac:spMkLst>
        </pc:spChg>
        <pc:spChg chg="mod">
          <ac:chgData name="Jake Vanderweyst" userId="b6db62d5-80dc-40a5-8de7-7487a2620be2" providerId="ADAL" clId="{07FA9C7A-69A0-418B-88CC-7E3EC035BA60}" dt="2024-07-23T20:44:45.936" v="2500" actId="14100"/>
          <ac:spMkLst>
            <pc:docMk/>
            <pc:sldMk cId="3666917176" sldId="2147473232"/>
            <ac:spMk id="42" creationId="{7FAD56A6-F918-CD4F-94D0-27ED55C4D6C1}"/>
          </ac:spMkLst>
        </pc:spChg>
        <pc:spChg chg="mod">
          <ac:chgData name="Jake Vanderweyst" userId="b6db62d5-80dc-40a5-8de7-7487a2620be2" providerId="ADAL" clId="{07FA9C7A-69A0-418B-88CC-7E3EC035BA60}" dt="2024-07-23T20:44:39.382" v="2499" actId="1076"/>
          <ac:spMkLst>
            <pc:docMk/>
            <pc:sldMk cId="3666917176" sldId="2147473232"/>
            <ac:spMk id="47" creationId="{60CF5CBB-38E6-A9DA-807A-BC559D403A59}"/>
          </ac:spMkLst>
        </pc:spChg>
        <pc:spChg chg="mod">
          <ac:chgData name="Jake Vanderweyst" userId="b6db62d5-80dc-40a5-8de7-7487a2620be2" providerId="ADAL" clId="{07FA9C7A-69A0-418B-88CC-7E3EC035BA60}" dt="2024-07-23T20:44:48.876" v="2501" actId="14100"/>
          <ac:spMkLst>
            <pc:docMk/>
            <pc:sldMk cId="3666917176" sldId="2147473232"/>
            <ac:spMk id="48" creationId="{306F8C38-D71D-BEE3-0220-D6094FE69622}"/>
          </ac:spMkLst>
        </pc:spChg>
        <pc:spChg chg="mod">
          <ac:chgData name="Jake Vanderweyst" userId="b6db62d5-80dc-40a5-8de7-7487a2620be2" providerId="ADAL" clId="{07FA9C7A-69A0-418B-88CC-7E3EC035BA60}" dt="2024-07-23T20:41:00.138" v="2430" actId="20577"/>
          <ac:spMkLst>
            <pc:docMk/>
            <pc:sldMk cId="3666917176" sldId="2147473232"/>
            <ac:spMk id="320" creationId="{8FF08C60-994E-49E9-89B3-5F9CB665D1A8}"/>
          </ac:spMkLst>
        </pc:spChg>
        <pc:picChg chg="del">
          <ac:chgData name="Jake Vanderweyst" userId="b6db62d5-80dc-40a5-8de7-7487a2620be2" providerId="ADAL" clId="{07FA9C7A-69A0-418B-88CC-7E3EC035BA60}" dt="2024-07-23T20:38:34.338" v="2356" actId="478"/>
          <ac:picMkLst>
            <pc:docMk/>
            <pc:sldMk cId="3666917176" sldId="2147473232"/>
            <ac:picMk id="15" creationId="{441DC61F-2BF9-B4A0-5263-E98CCC4B7925}"/>
          </ac:picMkLst>
        </pc:picChg>
        <pc:picChg chg="add mod">
          <ac:chgData name="Jake Vanderweyst" userId="b6db62d5-80dc-40a5-8de7-7487a2620be2" providerId="ADAL" clId="{07FA9C7A-69A0-418B-88CC-7E3EC035BA60}" dt="2024-07-23T20:42:28.370" v="2437" actId="1076"/>
          <ac:picMkLst>
            <pc:docMk/>
            <pc:sldMk cId="3666917176" sldId="2147473232"/>
            <ac:picMk id="26" creationId="{97664EAD-B07D-EE3D-9212-5CAA1FF20830}"/>
          </ac:picMkLst>
        </pc:picChg>
        <pc:picChg chg="del">
          <ac:chgData name="Jake Vanderweyst" userId="b6db62d5-80dc-40a5-8de7-7487a2620be2" providerId="ADAL" clId="{07FA9C7A-69A0-418B-88CC-7E3EC035BA60}" dt="2024-07-23T20:19:17.172" v="1475" actId="478"/>
          <ac:picMkLst>
            <pc:docMk/>
            <pc:sldMk cId="3666917176" sldId="2147473232"/>
            <ac:picMk id="46" creationId="{62406740-8285-2446-8EB0-3B236B52C1DE}"/>
          </ac:picMkLst>
        </pc:picChg>
      </pc:sldChg>
    </pc:docChg>
  </pc:docChgLst>
  <pc:docChgLst>
    <pc:chgData clId="Web-{18812ADC-E49B-4E30-89EE-CEA7A8DEDC3A}"/>
    <pc:docChg chg="">
      <pc:chgData name="" userId="" providerId="" clId="Web-{18812ADC-E49B-4E30-89EE-CEA7A8DEDC3A}" dt="2024-07-24T01:38:37.299" v="0"/>
      <pc:docMkLst>
        <pc:docMk/>
      </pc:docMkLst>
      <pc:sldChg chg="modCm">
        <pc:chgData name="" userId="" providerId="" clId="Web-{18812ADC-E49B-4E30-89EE-CEA7A8DEDC3A}" dt="2024-07-24T01:38:37.299" v="0"/>
        <pc:sldMkLst>
          <pc:docMk/>
          <pc:sldMk cId="3556499228" sldId="489"/>
        </pc:sldMkLst>
        <pc:extLst>
          <p:ext xmlns:p="http://schemas.openxmlformats.org/presentationml/2006/main" uri="{D6D511B9-2390-475A-947B-AFAB55BFBCF1}">
            <pc226:cmChg xmlns:pc226="http://schemas.microsoft.com/office/powerpoint/2022/06/main/command" chg="">
              <pc226:chgData name="" userId="" providerId="" clId="Web-{18812ADC-E49B-4E30-89EE-CEA7A8DEDC3A}" dt="2024-07-24T01:38:37.299" v="0"/>
              <pc2:cmMkLst xmlns:pc2="http://schemas.microsoft.com/office/powerpoint/2019/9/main/command">
                <pc:docMk/>
                <pc:sldMk cId="3556499228" sldId="489"/>
                <pc2:cmMk id="{782F3ED0-C949-4F56-844D-93B722778FA0}"/>
              </pc2:cmMkLst>
              <pc226:cmRplyChg chg="add">
                <pc226:chgData name="" userId="" providerId="" clId="Web-{18812ADC-E49B-4E30-89EE-CEA7A8DEDC3A}" dt="2024-07-24T01:38:37.299" v="0"/>
                <pc2:cmRplyMkLst xmlns:pc2="http://schemas.microsoft.com/office/powerpoint/2019/9/main/command">
                  <pc:docMk/>
                  <pc:sldMk cId="3556499228" sldId="489"/>
                  <pc2:cmMk id="{782F3ED0-C949-4F56-844D-93B722778FA0}"/>
                  <pc2:cmRplyMk id="{5B95D577-7BD6-4D93-97AD-50EEA13A849C}"/>
                </pc2:cmRplyMkLst>
              </pc226:cmRplyChg>
            </pc226:cmChg>
          </p:ext>
        </pc:extLst>
      </pc:sldChg>
    </pc:docChg>
  </pc:docChgLst>
  <pc:docChgLst>
    <pc:chgData name="Nathan Farquharson" userId="d312bfc7-4201-48a3-a9df-83186336f2dd" providerId="ADAL" clId="{88C89422-1838-494F-AEE6-472139F7E5D1}"/>
    <pc:docChg chg="undo redo custSel addSld delSld modSld sldOrd modSection">
      <pc:chgData name="Nathan Farquharson" userId="d312bfc7-4201-48a3-a9df-83186336f2dd" providerId="ADAL" clId="{88C89422-1838-494F-AEE6-472139F7E5D1}" dt="2024-07-25T19:37:46.227" v="6473" actId="20577"/>
      <pc:docMkLst>
        <pc:docMk/>
      </pc:docMkLst>
      <pc:sldChg chg="addCm modCm">
        <pc:chgData name="Nathan Farquharson" userId="d312bfc7-4201-48a3-a9df-83186336f2dd" providerId="ADAL" clId="{88C89422-1838-494F-AEE6-472139F7E5D1}" dt="2024-07-24T16:27:17.066" v="2203"/>
        <pc:sldMkLst>
          <pc:docMk/>
          <pc:sldMk cId="2204798024" sldId="433"/>
        </pc:sldMkLst>
        <pc:extLst>
          <p:ext xmlns:p="http://schemas.openxmlformats.org/presentationml/2006/main" uri="{D6D511B9-2390-475A-947B-AFAB55BFBCF1}">
            <pc226:cmChg xmlns:pc226="http://schemas.microsoft.com/office/powerpoint/2022/06/main/command" chg="add">
              <pc226:chgData name="Nathan Farquharson" userId="d312bfc7-4201-48a3-a9df-83186336f2dd" providerId="ADAL" clId="{88C89422-1838-494F-AEE6-472139F7E5D1}" dt="2024-07-24T16:27:17.066" v="2203"/>
              <pc2:cmMkLst xmlns:pc2="http://schemas.microsoft.com/office/powerpoint/2019/9/main/command">
                <pc:docMk/>
                <pc:sldMk cId="2204798024" sldId="433"/>
                <pc2:cmMk id="{9B787348-FCA7-44F0-8370-144ED565AB3D}"/>
              </pc2:cmMkLst>
            </pc226:cmChg>
            <pc226:cmChg xmlns:pc226="http://schemas.microsoft.com/office/powerpoint/2022/06/main/command" chg="">
              <pc226:chgData name="Nathan Farquharson" userId="d312bfc7-4201-48a3-a9df-83186336f2dd" providerId="ADAL" clId="{88C89422-1838-494F-AEE6-472139F7E5D1}" dt="2024-07-24T16:26:58.544" v="2202"/>
              <pc2:cmMkLst xmlns:pc2="http://schemas.microsoft.com/office/powerpoint/2019/9/main/command">
                <pc:docMk/>
                <pc:sldMk cId="2204798024" sldId="433"/>
                <pc2:cmMk id="{538719D7-5DEA-4038-BE8F-B29991C7CBB1}"/>
              </pc2:cmMkLst>
              <pc226:cmRplyChg chg="add">
                <pc226:chgData name="Nathan Farquharson" userId="d312bfc7-4201-48a3-a9df-83186336f2dd" providerId="ADAL" clId="{88C89422-1838-494F-AEE6-472139F7E5D1}" dt="2024-07-24T16:26:58.544" v="2202"/>
                <pc2:cmRplyMkLst xmlns:pc2="http://schemas.microsoft.com/office/powerpoint/2019/9/main/command">
                  <pc:docMk/>
                  <pc:sldMk cId="2204798024" sldId="433"/>
                  <pc2:cmMk id="{538719D7-5DEA-4038-BE8F-B29991C7CBB1}"/>
                  <pc2:cmRplyMk id="{ECD088C2-60EB-45C7-B6E4-FE3903F5E392}"/>
                </pc2:cmRplyMkLst>
              </pc226:cmRplyChg>
            </pc226:cmChg>
          </p:ext>
        </pc:extLst>
      </pc:sldChg>
      <pc:sldChg chg="modCm">
        <pc:chgData name="Nathan Farquharson" userId="d312bfc7-4201-48a3-a9df-83186336f2dd" providerId="ADAL" clId="{88C89422-1838-494F-AEE6-472139F7E5D1}" dt="2024-07-24T01:34:30.735" v="776"/>
        <pc:sldMkLst>
          <pc:docMk/>
          <pc:sldMk cId="3556499228" sldId="489"/>
        </pc:sldMkLst>
        <pc:extLst>
          <p:ext xmlns:p="http://schemas.openxmlformats.org/presentationml/2006/main" uri="{D6D511B9-2390-475A-947B-AFAB55BFBCF1}">
            <pc226:cmChg xmlns:pc226="http://schemas.microsoft.com/office/powerpoint/2022/06/main/command" chg="">
              <pc226:chgData name="Nathan Farquharson" userId="d312bfc7-4201-48a3-a9df-83186336f2dd" providerId="ADAL" clId="{88C89422-1838-494F-AEE6-472139F7E5D1}" dt="2024-07-24T01:34:30.735" v="776"/>
              <pc2:cmMkLst xmlns:pc2="http://schemas.microsoft.com/office/powerpoint/2019/9/main/command">
                <pc:docMk/>
                <pc:sldMk cId="3556499228" sldId="489"/>
                <pc2:cmMk id="{782F3ED0-C949-4F56-844D-93B722778FA0}"/>
              </pc2:cmMkLst>
              <pc226:cmRplyChg chg="add">
                <pc226:chgData name="Nathan Farquharson" userId="d312bfc7-4201-48a3-a9df-83186336f2dd" providerId="ADAL" clId="{88C89422-1838-494F-AEE6-472139F7E5D1}" dt="2024-07-24T01:34:30.735" v="776"/>
                <pc2:cmRplyMkLst xmlns:pc2="http://schemas.microsoft.com/office/powerpoint/2019/9/main/command">
                  <pc:docMk/>
                  <pc:sldMk cId="3556499228" sldId="489"/>
                  <pc2:cmMk id="{782F3ED0-C949-4F56-844D-93B722778FA0}"/>
                  <pc2:cmRplyMk id="{F645B966-468F-4064-BBEB-AD54CDBFE441}"/>
                </pc2:cmRplyMkLst>
              </pc226:cmRplyChg>
            </pc226:cmChg>
          </p:ext>
        </pc:extLst>
      </pc:sldChg>
      <pc:sldChg chg="modSp mod">
        <pc:chgData name="Nathan Farquharson" userId="d312bfc7-4201-48a3-a9df-83186336f2dd" providerId="ADAL" clId="{88C89422-1838-494F-AEE6-472139F7E5D1}" dt="2024-07-24T21:14:53.783" v="4175" actId="20577"/>
        <pc:sldMkLst>
          <pc:docMk/>
          <pc:sldMk cId="1811224657" sldId="2147472684"/>
        </pc:sldMkLst>
        <pc:spChg chg="mod">
          <ac:chgData name="Nathan Farquharson" userId="d312bfc7-4201-48a3-a9df-83186336f2dd" providerId="ADAL" clId="{88C89422-1838-494F-AEE6-472139F7E5D1}" dt="2024-07-24T21:14:53.783" v="4175" actId="20577"/>
          <ac:spMkLst>
            <pc:docMk/>
            <pc:sldMk cId="1811224657" sldId="2147472684"/>
            <ac:spMk id="5" creationId="{6B8C194F-2612-E8D8-729D-F7CF78463FA6}"/>
          </ac:spMkLst>
        </pc:spChg>
      </pc:sldChg>
      <pc:sldChg chg="modSp mod modCm">
        <pc:chgData name="Nathan Farquharson" userId="d312bfc7-4201-48a3-a9df-83186336f2dd" providerId="ADAL" clId="{88C89422-1838-494F-AEE6-472139F7E5D1}" dt="2024-07-24T20:45:13.955" v="3543"/>
        <pc:sldMkLst>
          <pc:docMk/>
          <pc:sldMk cId="2902211712" sldId="2147472868"/>
        </pc:sldMkLst>
        <pc:spChg chg="mod">
          <ac:chgData name="Nathan Farquharson" userId="d312bfc7-4201-48a3-a9df-83186336f2dd" providerId="ADAL" clId="{88C89422-1838-494F-AEE6-472139F7E5D1}" dt="2024-07-24T20:45:13.955" v="3543"/>
          <ac:spMkLst>
            <pc:docMk/>
            <pc:sldMk cId="2902211712" sldId="2147472868"/>
            <ac:spMk id="9" creationId="{0ECCBAAC-6E26-65EC-968A-810CBB9ACB1C}"/>
          </ac:spMkLst>
        </pc:spChg>
        <pc:spChg chg="mod">
          <ac:chgData name="Nathan Farquharson" userId="d312bfc7-4201-48a3-a9df-83186336f2dd" providerId="ADAL" clId="{88C89422-1838-494F-AEE6-472139F7E5D1}" dt="2024-07-24T20:45:11.935" v="3540" actId="20577"/>
          <ac:spMkLst>
            <pc:docMk/>
            <pc:sldMk cId="2902211712" sldId="2147472868"/>
            <ac:spMk id="12" creationId="{BCBF67E6-E5F9-0DB9-2FD3-157A72E7479F}"/>
          </ac:spMkLst>
        </pc:spChg>
        <pc:extLst>
          <p:ext xmlns:p="http://schemas.openxmlformats.org/presentationml/2006/main" uri="{D6D511B9-2390-475A-947B-AFAB55BFBCF1}">
            <pc226:cmChg xmlns:pc226="http://schemas.microsoft.com/office/powerpoint/2022/06/main/command" chg="">
              <pc226:chgData name="Nathan Farquharson" userId="d312bfc7-4201-48a3-a9df-83186336f2dd" providerId="ADAL" clId="{88C89422-1838-494F-AEE6-472139F7E5D1}" dt="2024-07-24T01:34:59.009" v="777"/>
              <pc2:cmMkLst xmlns:pc2="http://schemas.microsoft.com/office/powerpoint/2019/9/main/command">
                <pc:docMk/>
                <pc:sldMk cId="2902211712" sldId="2147472868"/>
                <pc2:cmMk id="{69337BB0-4242-4EEC-91E5-3A1C992EE12D}"/>
              </pc2:cmMkLst>
              <pc226:cmRplyChg chg="add">
                <pc226:chgData name="Nathan Farquharson" userId="d312bfc7-4201-48a3-a9df-83186336f2dd" providerId="ADAL" clId="{88C89422-1838-494F-AEE6-472139F7E5D1}" dt="2024-07-24T01:34:59.009" v="777"/>
                <pc2:cmRplyMkLst xmlns:pc2="http://schemas.microsoft.com/office/powerpoint/2019/9/main/command">
                  <pc:docMk/>
                  <pc:sldMk cId="2902211712" sldId="2147472868"/>
                  <pc2:cmMk id="{69337BB0-4242-4EEC-91E5-3A1C992EE12D}"/>
                  <pc2:cmRplyMk id="{AC9B7D1A-BB3E-4972-BC95-6DC533DA4941}"/>
                </pc2:cmRplyMkLst>
              </pc226:cmRplyChg>
            </pc226:cmChg>
            <pc226:cmChg xmlns:pc226="http://schemas.microsoft.com/office/powerpoint/2022/06/main/command" chg="">
              <pc226:chgData name="Nathan Farquharson" userId="d312bfc7-4201-48a3-a9df-83186336f2dd" providerId="ADAL" clId="{88C89422-1838-494F-AEE6-472139F7E5D1}" dt="2024-07-24T19:38:30.310" v="2408"/>
              <pc2:cmMkLst xmlns:pc2="http://schemas.microsoft.com/office/powerpoint/2019/9/main/command">
                <pc:docMk/>
                <pc:sldMk cId="2902211712" sldId="2147472868"/>
                <pc2:cmMk id="{865FD5C1-D1B9-434C-83DD-5D70974666D2}"/>
              </pc2:cmMkLst>
              <pc226:cmRplyChg chg="add">
                <pc226:chgData name="Nathan Farquharson" userId="d312bfc7-4201-48a3-a9df-83186336f2dd" providerId="ADAL" clId="{88C89422-1838-494F-AEE6-472139F7E5D1}" dt="2024-07-24T19:38:09.361" v="2407"/>
                <pc2:cmRplyMkLst xmlns:pc2="http://schemas.microsoft.com/office/powerpoint/2019/9/main/command">
                  <pc:docMk/>
                  <pc:sldMk cId="2902211712" sldId="2147472868"/>
                  <pc2:cmMk id="{865FD5C1-D1B9-434C-83DD-5D70974666D2}"/>
                  <pc2:cmRplyMk id="{77ECAB14-6BD8-403F-9A30-2F525F2ACD1F}"/>
                </pc2:cmRplyMkLst>
              </pc226:cmRplyChg>
              <pc226:cmRplyChg chg="add">
                <pc226:chgData name="Nathan Farquharson" userId="d312bfc7-4201-48a3-a9df-83186336f2dd" providerId="ADAL" clId="{88C89422-1838-494F-AEE6-472139F7E5D1}" dt="2024-07-24T19:38:30.310" v="2408"/>
                <pc2:cmRplyMkLst xmlns:pc2="http://schemas.microsoft.com/office/powerpoint/2019/9/main/command">
                  <pc:docMk/>
                  <pc:sldMk cId="2902211712" sldId="2147472868"/>
                  <pc2:cmMk id="{865FD5C1-D1B9-434C-83DD-5D70974666D2}"/>
                  <pc2:cmRplyMk id="{0A15F5C8-18C8-4CD2-99FA-CFBC4075858D}"/>
                </pc2:cmRplyMkLst>
              </pc226:cmRplyChg>
            </pc226:cmChg>
          </p:ext>
        </pc:extLst>
      </pc:sldChg>
      <pc:sldChg chg="ord">
        <pc:chgData name="Nathan Farquharson" userId="d312bfc7-4201-48a3-a9df-83186336f2dd" providerId="ADAL" clId="{88C89422-1838-494F-AEE6-472139F7E5D1}" dt="2024-07-25T16:56:43.882" v="6096"/>
        <pc:sldMkLst>
          <pc:docMk/>
          <pc:sldMk cId="3738188456" sldId="2147473214"/>
        </pc:sldMkLst>
      </pc:sldChg>
      <pc:sldChg chg="addSp delSp modSp mod modNotesTx">
        <pc:chgData name="Nathan Farquharson" userId="d312bfc7-4201-48a3-a9df-83186336f2dd" providerId="ADAL" clId="{88C89422-1838-494F-AEE6-472139F7E5D1}" dt="2024-07-24T19:49:40.783" v="2471" actId="14100"/>
        <pc:sldMkLst>
          <pc:docMk/>
          <pc:sldMk cId="3690196985" sldId="2147473216"/>
        </pc:sldMkLst>
        <pc:spChg chg="add mod">
          <ac:chgData name="Nathan Farquharson" userId="d312bfc7-4201-48a3-a9df-83186336f2dd" providerId="ADAL" clId="{88C89422-1838-494F-AEE6-472139F7E5D1}" dt="2024-07-24T19:49:31.914" v="2470" actId="14100"/>
          <ac:spMkLst>
            <pc:docMk/>
            <pc:sldMk cId="3690196985" sldId="2147473216"/>
            <ac:spMk id="2" creationId="{FEBB2D5B-F7F5-3DAD-6836-E64169DBB86A}"/>
          </ac:spMkLst>
        </pc:spChg>
        <pc:spChg chg="del mod">
          <ac:chgData name="Nathan Farquharson" userId="d312bfc7-4201-48a3-a9df-83186336f2dd" providerId="ADAL" clId="{88C89422-1838-494F-AEE6-472139F7E5D1}" dt="2024-07-24T01:51:54.784" v="782" actId="478"/>
          <ac:spMkLst>
            <pc:docMk/>
            <pc:sldMk cId="3690196985" sldId="2147473216"/>
            <ac:spMk id="46" creationId="{61638D2C-178C-25A5-0B78-0C7B6874D3F0}"/>
          </ac:spMkLst>
        </pc:spChg>
        <pc:graphicFrameChg chg="mod modGraphic">
          <ac:chgData name="Nathan Farquharson" userId="d312bfc7-4201-48a3-a9df-83186336f2dd" providerId="ADAL" clId="{88C89422-1838-494F-AEE6-472139F7E5D1}" dt="2024-07-24T19:49:40.783" v="2471" actId="14100"/>
          <ac:graphicFrameMkLst>
            <pc:docMk/>
            <pc:sldMk cId="3690196985" sldId="2147473216"/>
            <ac:graphicFrameMk id="5" creationId="{88A6E1A8-0F88-A24F-67A1-49CB7F0C297A}"/>
          </ac:graphicFrameMkLst>
        </pc:graphicFrameChg>
        <pc:picChg chg="mod">
          <ac:chgData name="Nathan Farquharson" userId="d312bfc7-4201-48a3-a9df-83186336f2dd" providerId="ADAL" clId="{88C89422-1838-494F-AEE6-472139F7E5D1}" dt="2024-07-24T19:47:06.122" v="2459" actId="1076"/>
          <ac:picMkLst>
            <pc:docMk/>
            <pc:sldMk cId="3690196985" sldId="2147473216"/>
            <ac:picMk id="7" creationId="{8DD4F593-6362-9BCA-F28F-38C1CAF3DE52}"/>
          </ac:picMkLst>
        </pc:picChg>
        <pc:picChg chg="mod">
          <ac:chgData name="Nathan Farquharson" userId="d312bfc7-4201-48a3-a9df-83186336f2dd" providerId="ADAL" clId="{88C89422-1838-494F-AEE6-472139F7E5D1}" dt="2024-07-24T19:47:06.122" v="2459" actId="1076"/>
          <ac:picMkLst>
            <pc:docMk/>
            <pc:sldMk cId="3690196985" sldId="2147473216"/>
            <ac:picMk id="8" creationId="{AEC7827E-FF2C-96E9-C9EA-314F15CF71DD}"/>
          </ac:picMkLst>
        </pc:picChg>
        <pc:picChg chg="mod">
          <ac:chgData name="Nathan Farquharson" userId="d312bfc7-4201-48a3-a9df-83186336f2dd" providerId="ADAL" clId="{88C89422-1838-494F-AEE6-472139F7E5D1}" dt="2024-07-24T19:47:06.122" v="2459" actId="1076"/>
          <ac:picMkLst>
            <pc:docMk/>
            <pc:sldMk cId="3690196985" sldId="2147473216"/>
            <ac:picMk id="9" creationId="{C8FF211E-E6EB-AD6E-A760-1288D8A3E72A}"/>
          </ac:picMkLst>
        </pc:picChg>
        <pc:picChg chg="mod">
          <ac:chgData name="Nathan Farquharson" userId="d312bfc7-4201-48a3-a9df-83186336f2dd" providerId="ADAL" clId="{88C89422-1838-494F-AEE6-472139F7E5D1}" dt="2024-07-24T19:47:06.122" v="2459" actId="1076"/>
          <ac:picMkLst>
            <pc:docMk/>
            <pc:sldMk cId="3690196985" sldId="2147473216"/>
            <ac:picMk id="10" creationId="{C0880910-FD47-5D4F-B728-760C9DC6096D}"/>
          </ac:picMkLst>
        </pc:picChg>
        <pc:picChg chg="mod">
          <ac:chgData name="Nathan Farquharson" userId="d312bfc7-4201-48a3-a9df-83186336f2dd" providerId="ADAL" clId="{88C89422-1838-494F-AEE6-472139F7E5D1}" dt="2024-07-24T19:47:06.122" v="2459" actId="1076"/>
          <ac:picMkLst>
            <pc:docMk/>
            <pc:sldMk cId="3690196985" sldId="2147473216"/>
            <ac:picMk id="11" creationId="{ED519AB6-B8AA-7076-79D0-6A386412DEC2}"/>
          </ac:picMkLst>
        </pc:picChg>
        <pc:picChg chg="mod">
          <ac:chgData name="Nathan Farquharson" userId="d312bfc7-4201-48a3-a9df-83186336f2dd" providerId="ADAL" clId="{88C89422-1838-494F-AEE6-472139F7E5D1}" dt="2024-07-24T19:47:06.122" v="2459" actId="1076"/>
          <ac:picMkLst>
            <pc:docMk/>
            <pc:sldMk cId="3690196985" sldId="2147473216"/>
            <ac:picMk id="12" creationId="{2EEF703E-A479-7593-4803-F75277E04558}"/>
          </ac:picMkLst>
        </pc:picChg>
      </pc:sldChg>
      <pc:sldChg chg="modSp mod modNotesTx">
        <pc:chgData name="Nathan Farquharson" userId="d312bfc7-4201-48a3-a9df-83186336f2dd" providerId="ADAL" clId="{88C89422-1838-494F-AEE6-472139F7E5D1}" dt="2024-07-24T19:46:34.741" v="2456" actId="12788"/>
        <pc:sldMkLst>
          <pc:docMk/>
          <pc:sldMk cId="478299678" sldId="2147473217"/>
        </pc:sldMkLst>
        <pc:spChg chg="mod">
          <ac:chgData name="Nathan Farquharson" userId="d312bfc7-4201-48a3-a9df-83186336f2dd" providerId="ADAL" clId="{88C89422-1838-494F-AEE6-472139F7E5D1}" dt="2024-07-24T19:46:34.741" v="2456" actId="12788"/>
          <ac:spMkLst>
            <pc:docMk/>
            <pc:sldMk cId="478299678" sldId="2147473217"/>
            <ac:spMk id="7" creationId="{21BDC1AA-0619-B47A-1972-181CA395DB47}"/>
          </ac:spMkLst>
        </pc:spChg>
        <pc:spChg chg="mod">
          <ac:chgData name="Nathan Farquharson" userId="d312bfc7-4201-48a3-a9df-83186336f2dd" providerId="ADAL" clId="{88C89422-1838-494F-AEE6-472139F7E5D1}" dt="2024-07-24T19:46:34.741" v="2456" actId="12788"/>
          <ac:spMkLst>
            <pc:docMk/>
            <pc:sldMk cId="478299678" sldId="2147473217"/>
            <ac:spMk id="8" creationId="{3CB5F467-5B16-AAD5-6434-8F9820801389}"/>
          </ac:spMkLst>
        </pc:spChg>
        <pc:spChg chg="mod">
          <ac:chgData name="Nathan Farquharson" userId="d312bfc7-4201-48a3-a9df-83186336f2dd" providerId="ADAL" clId="{88C89422-1838-494F-AEE6-472139F7E5D1}" dt="2024-07-24T19:46:34.741" v="2456" actId="12788"/>
          <ac:spMkLst>
            <pc:docMk/>
            <pc:sldMk cId="478299678" sldId="2147473217"/>
            <ac:spMk id="9" creationId="{D7638434-4A69-999F-C848-E4710B961CEC}"/>
          </ac:spMkLst>
        </pc:spChg>
        <pc:spChg chg="mod">
          <ac:chgData name="Nathan Farquharson" userId="d312bfc7-4201-48a3-a9df-83186336f2dd" providerId="ADAL" clId="{88C89422-1838-494F-AEE6-472139F7E5D1}" dt="2024-07-24T19:46:34.741" v="2456" actId="12788"/>
          <ac:spMkLst>
            <pc:docMk/>
            <pc:sldMk cId="478299678" sldId="2147473217"/>
            <ac:spMk id="10" creationId="{108F2A53-F8E6-8B16-E6B9-67D813356E45}"/>
          </ac:spMkLst>
        </pc:spChg>
        <pc:spChg chg="mod">
          <ac:chgData name="Nathan Farquharson" userId="d312bfc7-4201-48a3-a9df-83186336f2dd" providerId="ADAL" clId="{88C89422-1838-494F-AEE6-472139F7E5D1}" dt="2024-07-24T19:46:34.741" v="2456" actId="12788"/>
          <ac:spMkLst>
            <pc:docMk/>
            <pc:sldMk cId="478299678" sldId="2147473217"/>
            <ac:spMk id="11" creationId="{A016E1B1-1734-FE99-3086-5798C8B85DDB}"/>
          </ac:spMkLst>
        </pc:spChg>
        <pc:spChg chg="mod">
          <ac:chgData name="Nathan Farquharson" userId="d312bfc7-4201-48a3-a9df-83186336f2dd" providerId="ADAL" clId="{88C89422-1838-494F-AEE6-472139F7E5D1}" dt="2024-07-24T19:45:54.790" v="2446" actId="1076"/>
          <ac:spMkLst>
            <pc:docMk/>
            <pc:sldMk cId="478299678" sldId="2147473217"/>
            <ac:spMk id="12" creationId="{4F3AD6B1-DF7C-D9AD-F2FF-670E5585E057}"/>
          </ac:spMkLst>
        </pc:spChg>
        <pc:spChg chg="mod">
          <ac:chgData name="Nathan Farquharson" userId="d312bfc7-4201-48a3-a9df-83186336f2dd" providerId="ADAL" clId="{88C89422-1838-494F-AEE6-472139F7E5D1}" dt="2024-07-24T19:45:54.790" v="2446" actId="1076"/>
          <ac:spMkLst>
            <pc:docMk/>
            <pc:sldMk cId="478299678" sldId="2147473217"/>
            <ac:spMk id="14" creationId="{D0329306-C05B-B7D3-B7B0-83BD2C1C5D67}"/>
          </ac:spMkLst>
        </pc:spChg>
        <pc:spChg chg="mod">
          <ac:chgData name="Nathan Farquharson" userId="d312bfc7-4201-48a3-a9df-83186336f2dd" providerId="ADAL" clId="{88C89422-1838-494F-AEE6-472139F7E5D1}" dt="2024-07-24T19:45:54.790" v="2446" actId="1076"/>
          <ac:spMkLst>
            <pc:docMk/>
            <pc:sldMk cId="478299678" sldId="2147473217"/>
            <ac:spMk id="15" creationId="{B4D79D13-B265-03BA-5C93-26362E62705A}"/>
          </ac:spMkLst>
        </pc:spChg>
        <pc:spChg chg="mod">
          <ac:chgData name="Nathan Farquharson" userId="d312bfc7-4201-48a3-a9df-83186336f2dd" providerId="ADAL" clId="{88C89422-1838-494F-AEE6-472139F7E5D1}" dt="2024-07-24T19:45:54.790" v="2446" actId="1076"/>
          <ac:spMkLst>
            <pc:docMk/>
            <pc:sldMk cId="478299678" sldId="2147473217"/>
            <ac:spMk id="16" creationId="{BF4A6EA1-0FAE-D8FD-ED6E-93DB65BC9CF7}"/>
          </ac:spMkLst>
        </pc:spChg>
        <pc:spChg chg="mod">
          <ac:chgData name="Nathan Farquharson" userId="d312bfc7-4201-48a3-a9df-83186336f2dd" providerId="ADAL" clId="{88C89422-1838-494F-AEE6-472139F7E5D1}" dt="2024-07-24T19:45:54.790" v="2446" actId="1076"/>
          <ac:spMkLst>
            <pc:docMk/>
            <pc:sldMk cId="478299678" sldId="2147473217"/>
            <ac:spMk id="17" creationId="{238F00B1-A825-ACCA-FD5B-DE08A37E5836}"/>
          </ac:spMkLst>
        </pc:spChg>
      </pc:sldChg>
      <pc:sldChg chg="addSp delSp modSp mod">
        <pc:chgData name="Nathan Farquharson" userId="d312bfc7-4201-48a3-a9df-83186336f2dd" providerId="ADAL" clId="{88C89422-1838-494F-AEE6-472139F7E5D1}" dt="2024-07-24T01:13:21.628" v="151" actId="478"/>
        <pc:sldMkLst>
          <pc:docMk/>
          <pc:sldMk cId="2806225201" sldId="2147473221"/>
        </pc:sldMkLst>
        <pc:spChg chg="add mod">
          <ac:chgData name="Nathan Farquharson" userId="d312bfc7-4201-48a3-a9df-83186336f2dd" providerId="ADAL" clId="{88C89422-1838-494F-AEE6-472139F7E5D1}" dt="2024-07-24T01:08:06.403" v="41" actId="1076"/>
          <ac:spMkLst>
            <pc:docMk/>
            <pc:sldMk cId="2806225201" sldId="2147473221"/>
            <ac:spMk id="5" creationId="{83B5B238-8134-8B61-BF81-C1369FE7DB2F}"/>
          </ac:spMkLst>
        </pc:spChg>
        <pc:spChg chg="add mod">
          <ac:chgData name="Nathan Farquharson" userId="d312bfc7-4201-48a3-a9df-83186336f2dd" providerId="ADAL" clId="{88C89422-1838-494F-AEE6-472139F7E5D1}" dt="2024-07-24T01:07:59.720" v="40" actId="14100"/>
          <ac:spMkLst>
            <pc:docMk/>
            <pc:sldMk cId="2806225201" sldId="2147473221"/>
            <ac:spMk id="6" creationId="{7E402DC3-BFA9-3B39-B2B0-061B466973AA}"/>
          </ac:spMkLst>
        </pc:spChg>
        <pc:spChg chg="add mod">
          <ac:chgData name="Nathan Farquharson" userId="d312bfc7-4201-48a3-a9df-83186336f2dd" providerId="ADAL" clId="{88C89422-1838-494F-AEE6-472139F7E5D1}" dt="2024-07-24T01:07:59.720" v="40" actId="14100"/>
          <ac:spMkLst>
            <pc:docMk/>
            <pc:sldMk cId="2806225201" sldId="2147473221"/>
            <ac:spMk id="7" creationId="{A435ABFB-21F8-DAF1-0C1E-1247FD24FAC0}"/>
          </ac:spMkLst>
        </pc:spChg>
        <pc:spChg chg="add mod">
          <ac:chgData name="Nathan Farquharson" userId="d312bfc7-4201-48a3-a9df-83186336f2dd" providerId="ADAL" clId="{88C89422-1838-494F-AEE6-472139F7E5D1}" dt="2024-07-24T01:07:59.720" v="40" actId="14100"/>
          <ac:spMkLst>
            <pc:docMk/>
            <pc:sldMk cId="2806225201" sldId="2147473221"/>
            <ac:spMk id="8" creationId="{797F2BCE-3767-60D8-3797-9BBCA32DA528}"/>
          </ac:spMkLst>
        </pc:spChg>
        <pc:spChg chg="del mod">
          <ac:chgData name="Nathan Farquharson" userId="d312bfc7-4201-48a3-a9df-83186336f2dd" providerId="ADAL" clId="{88C89422-1838-494F-AEE6-472139F7E5D1}" dt="2024-07-24T01:05:58.826" v="11" actId="478"/>
          <ac:spMkLst>
            <pc:docMk/>
            <pc:sldMk cId="2806225201" sldId="2147473221"/>
            <ac:spMk id="9" creationId="{99D0DC6E-8B21-78DE-4A11-4F2B6B1A99BD}"/>
          </ac:spMkLst>
        </pc:spChg>
        <pc:spChg chg="del mod">
          <ac:chgData name="Nathan Farquharson" userId="d312bfc7-4201-48a3-a9df-83186336f2dd" providerId="ADAL" clId="{88C89422-1838-494F-AEE6-472139F7E5D1}" dt="2024-07-24T01:05:58.826" v="11" actId="478"/>
          <ac:spMkLst>
            <pc:docMk/>
            <pc:sldMk cId="2806225201" sldId="2147473221"/>
            <ac:spMk id="11" creationId="{2FA6F243-4E41-AB0B-69A5-B9C97144DAF3}"/>
          </ac:spMkLst>
        </pc:spChg>
        <pc:spChg chg="del mod">
          <ac:chgData name="Nathan Farquharson" userId="d312bfc7-4201-48a3-a9df-83186336f2dd" providerId="ADAL" clId="{88C89422-1838-494F-AEE6-472139F7E5D1}" dt="2024-07-24T01:05:58.826" v="11" actId="478"/>
          <ac:spMkLst>
            <pc:docMk/>
            <pc:sldMk cId="2806225201" sldId="2147473221"/>
            <ac:spMk id="22" creationId="{145309F1-45F5-0924-DA4F-9F7A7602417C}"/>
          </ac:spMkLst>
        </pc:spChg>
        <pc:spChg chg="del mod">
          <ac:chgData name="Nathan Farquharson" userId="d312bfc7-4201-48a3-a9df-83186336f2dd" providerId="ADAL" clId="{88C89422-1838-494F-AEE6-472139F7E5D1}" dt="2024-07-24T01:05:58.826" v="11" actId="478"/>
          <ac:spMkLst>
            <pc:docMk/>
            <pc:sldMk cId="2806225201" sldId="2147473221"/>
            <ac:spMk id="23" creationId="{3FB54A21-8F88-239D-B15A-C5903835C78C}"/>
          </ac:spMkLst>
        </pc:spChg>
        <pc:spChg chg="del mod">
          <ac:chgData name="Nathan Farquharson" userId="d312bfc7-4201-48a3-a9df-83186336f2dd" providerId="ADAL" clId="{88C89422-1838-494F-AEE6-472139F7E5D1}" dt="2024-07-24T01:05:58.826" v="11" actId="478"/>
          <ac:spMkLst>
            <pc:docMk/>
            <pc:sldMk cId="2806225201" sldId="2147473221"/>
            <ac:spMk id="24" creationId="{D581B4AC-7F72-92D7-3B22-2AF65CE9C76E}"/>
          </ac:spMkLst>
        </pc:spChg>
        <pc:spChg chg="del mod">
          <ac:chgData name="Nathan Farquharson" userId="d312bfc7-4201-48a3-a9df-83186336f2dd" providerId="ADAL" clId="{88C89422-1838-494F-AEE6-472139F7E5D1}" dt="2024-07-24T01:05:58.826" v="11" actId="478"/>
          <ac:spMkLst>
            <pc:docMk/>
            <pc:sldMk cId="2806225201" sldId="2147473221"/>
            <ac:spMk id="25" creationId="{3A4370BE-75CE-67AB-0C08-5C0F9C6C5AE2}"/>
          </ac:spMkLst>
        </pc:spChg>
        <pc:spChg chg="del mod">
          <ac:chgData name="Nathan Farquharson" userId="d312bfc7-4201-48a3-a9df-83186336f2dd" providerId="ADAL" clId="{88C89422-1838-494F-AEE6-472139F7E5D1}" dt="2024-07-24T01:05:50.988" v="9" actId="478"/>
          <ac:spMkLst>
            <pc:docMk/>
            <pc:sldMk cId="2806225201" sldId="2147473221"/>
            <ac:spMk id="26" creationId="{B58AE344-682E-3F36-D5EE-9CB6539D67AA}"/>
          </ac:spMkLst>
        </pc:spChg>
        <pc:spChg chg="del mod">
          <ac:chgData name="Nathan Farquharson" userId="d312bfc7-4201-48a3-a9df-83186336f2dd" providerId="ADAL" clId="{88C89422-1838-494F-AEE6-472139F7E5D1}" dt="2024-07-24T01:05:58.826" v="11" actId="478"/>
          <ac:spMkLst>
            <pc:docMk/>
            <pc:sldMk cId="2806225201" sldId="2147473221"/>
            <ac:spMk id="27" creationId="{1C660F47-CAEA-AE63-A914-DBD72A6F792F}"/>
          </ac:spMkLst>
        </pc:spChg>
        <pc:spChg chg="del mod">
          <ac:chgData name="Nathan Farquharson" userId="d312bfc7-4201-48a3-a9df-83186336f2dd" providerId="ADAL" clId="{88C89422-1838-494F-AEE6-472139F7E5D1}" dt="2024-07-24T01:07:23.061" v="33" actId="478"/>
          <ac:spMkLst>
            <pc:docMk/>
            <pc:sldMk cId="2806225201" sldId="2147473221"/>
            <ac:spMk id="3073" creationId="{D39DF928-BAC7-A7B4-86F1-6737B1BD4D79}"/>
          </ac:spMkLst>
        </pc:spChg>
        <pc:spChg chg="del mod">
          <ac:chgData name="Nathan Farquharson" userId="d312bfc7-4201-48a3-a9df-83186336f2dd" providerId="ADAL" clId="{88C89422-1838-494F-AEE6-472139F7E5D1}" dt="2024-07-24T01:07:25.651" v="34" actId="478"/>
          <ac:spMkLst>
            <pc:docMk/>
            <pc:sldMk cId="2806225201" sldId="2147473221"/>
            <ac:spMk id="3075" creationId="{8E5FE205-47D8-98F7-866C-540F10B3C203}"/>
          </ac:spMkLst>
        </pc:spChg>
        <pc:spChg chg="del mod">
          <ac:chgData name="Nathan Farquharson" userId="d312bfc7-4201-48a3-a9df-83186336f2dd" providerId="ADAL" clId="{88C89422-1838-494F-AEE6-472139F7E5D1}" dt="2024-07-24T01:07:21.632" v="32" actId="478"/>
          <ac:spMkLst>
            <pc:docMk/>
            <pc:sldMk cId="2806225201" sldId="2147473221"/>
            <ac:spMk id="3076" creationId="{32765153-647C-8D72-AAD6-B57A945F356B}"/>
          </ac:spMkLst>
        </pc:spChg>
        <pc:spChg chg="add del mod">
          <ac:chgData name="Nathan Farquharson" userId="d312bfc7-4201-48a3-a9df-83186336f2dd" providerId="ADAL" clId="{88C89422-1838-494F-AEE6-472139F7E5D1}" dt="2024-07-24T01:06:03.081" v="13" actId="478"/>
          <ac:spMkLst>
            <pc:docMk/>
            <pc:sldMk cId="2806225201" sldId="2147473221"/>
            <ac:spMk id="3077" creationId="{7293CDF0-5BDD-974F-1D70-251CDDD2C1CE}"/>
          </ac:spMkLst>
        </pc:spChg>
        <pc:spChg chg="mod">
          <ac:chgData name="Nathan Farquharson" userId="d312bfc7-4201-48a3-a9df-83186336f2dd" providerId="ADAL" clId="{88C89422-1838-494F-AEE6-472139F7E5D1}" dt="2024-07-24T01:08:06.403" v="41" actId="1076"/>
          <ac:spMkLst>
            <pc:docMk/>
            <pc:sldMk cId="2806225201" sldId="2147473221"/>
            <ac:spMk id="3078" creationId="{51271E1A-23E5-FC2C-B483-C6393DEE8DEE}"/>
          </ac:spMkLst>
        </pc:spChg>
        <pc:spChg chg="mod">
          <ac:chgData name="Nathan Farquharson" userId="d312bfc7-4201-48a3-a9df-83186336f2dd" providerId="ADAL" clId="{88C89422-1838-494F-AEE6-472139F7E5D1}" dt="2024-07-24T01:08:06.403" v="41" actId="1076"/>
          <ac:spMkLst>
            <pc:docMk/>
            <pc:sldMk cId="2806225201" sldId="2147473221"/>
            <ac:spMk id="3079" creationId="{134A8E3B-15D9-023A-BAEC-F58B9A3F0F98}"/>
          </ac:spMkLst>
        </pc:spChg>
        <pc:spChg chg="del mod">
          <ac:chgData name="Nathan Farquharson" userId="d312bfc7-4201-48a3-a9df-83186336f2dd" providerId="ADAL" clId="{88C89422-1838-494F-AEE6-472139F7E5D1}" dt="2024-07-24T01:05:58.826" v="11" actId="478"/>
          <ac:spMkLst>
            <pc:docMk/>
            <pc:sldMk cId="2806225201" sldId="2147473221"/>
            <ac:spMk id="3085" creationId="{619C0A59-79A9-74A0-22DC-1CD2E9C704E2}"/>
          </ac:spMkLst>
        </pc:spChg>
        <pc:spChg chg="del mod">
          <ac:chgData name="Nathan Farquharson" userId="d312bfc7-4201-48a3-a9df-83186336f2dd" providerId="ADAL" clId="{88C89422-1838-494F-AEE6-472139F7E5D1}" dt="2024-07-24T01:05:58.826" v="11" actId="478"/>
          <ac:spMkLst>
            <pc:docMk/>
            <pc:sldMk cId="2806225201" sldId="2147473221"/>
            <ac:spMk id="3086" creationId="{9FA68155-0F58-9E98-60C1-89A848290E1E}"/>
          </ac:spMkLst>
        </pc:spChg>
        <pc:spChg chg="del mod">
          <ac:chgData name="Nathan Farquharson" userId="d312bfc7-4201-48a3-a9df-83186336f2dd" providerId="ADAL" clId="{88C89422-1838-494F-AEE6-472139F7E5D1}" dt="2024-07-24T01:05:50.988" v="9" actId="478"/>
          <ac:spMkLst>
            <pc:docMk/>
            <pc:sldMk cId="2806225201" sldId="2147473221"/>
            <ac:spMk id="3087" creationId="{1CBAEA6F-EBF5-F682-B7E7-3BFDF3F7B365}"/>
          </ac:spMkLst>
        </pc:spChg>
        <pc:spChg chg="del mod">
          <ac:chgData name="Nathan Farquharson" userId="d312bfc7-4201-48a3-a9df-83186336f2dd" providerId="ADAL" clId="{88C89422-1838-494F-AEE6-472139F7E5D1}" dt="2024-07-24T01:05:58.826" v="11" actId="478"/>
          <ac:spMkLst>
            <pc:docMk/>
            <pc:sldMk cId="2806225201" sldId="2147473221"/>
            <ac:spMk id="3088" creationId="{4326895A-80AF-7DBD-D37A-2B14BD1B2DAF}"/>
          </ac:spMkLst>
        </pc:spChg>
        <pc:graphicFrameChg chg="add del mod modGraphic">
          <ac:chgData name="Nathan Farquharson" userId="d312bfc7-4201-48a3-a9df-83186336f2dd" providerId="ADAL" clId="{88C89422-1838-494F-AEE6-472139F7E5D1}" dt="2024-07-24T01:13:14.405" v="149" actId="478"/>
          <ac:graphicFrameMkLst>
            <pc:docMk/>
            <pc:sldMk cId="2806225201" sldId="2147473221"/>
            <ac:graphicFrameMk id="13" creationId="{FFE94CCE-C7EA-1E91-CB4D-2F4463F4B2F3}"/>
          </ac:graphicFrameMkLst>
        </pc:graphicFrameChg>
        <pc:picChg chg="add del mod">
          <ac:chgData name="Nathan Farquharson" userId="d312bfc7-4201-48a3-a9df-83186336f2dd" providerId="ADAL" clId="{88C89422-1838-494F-AEE6-472139F7E5D1}" dt="2024-07-24T01:05:25.941" v="4" actId="478"/>
          <ac:picMkLst>
            <pc:docMk/>
            <pc:sldMk cId="2806225201" sldId="2147473221"/>
            <ac:picMk id="4" creationId="{58AD6014-EE7C-6574-5913-21CBE464F23D}"/>
          </ac:picMkLst>
        </pc:picChg>
        <pc:picChg chg="add del mod">
          <ac:chgData name="Nathan Farquharson" userId="d312bfc7-4201-48a3-a9df-83186336f2dd" providerId="ADAL" clId="{88C89422-1838-494F-AEE6-472139F7E5D1}" dt="2024-07-24T01:13:21.628" v="151" actId="478"/>
          <ac:picMkLst>
            <pc:docMk/>
            <pc:sldMk cId="2806225201" sldId="2147473221"/>
            <ac:picMk id="12" creationId="{313FA7CD-53FF-ED81-8C03-D1BFDE1AA760}"/>
          </ac:picMkLst>
        </pc:picChg>
        <pc:picChg chg="add del mod">
          <ac:chgData name="Nathan Farquharson" userId="d312bfc7-4201-48a3-a9df-83186336f2dd" providerId="ADAL" clId="{88C89422-1838-494F-AEE6-472139F7E5D1}" dt="2024-07-24T01:13:20.069" v="150" actId="478"/>
          <ac:picMkLst>
            <pc:docMk/>
            <pc:sldMk cId="2806225201" sldId="2147473221"/>
            <ac:picMk id="14" creationId="{E42E2806-9E31-2014-B9EC-081A74F1DBF3}"/>
          </ac:picMkLst>
        </pc:picChg>
        <pc:picChg chg="add del mod">
          <ac:chgData name="Nathan Farquharson" userId="d312bfc7-4201-48a3-a9df-83186336f2dd" providerId="ADAL" clId="{88C89422-1838-494F-AEE6-472139F7E5D1}" dt="2024-07-24T01:13:20.069" v="150" actId="478"/>
          <ac:picMkLst>
            <pc:docMk/>
            <pc:sldMk cId="2806225201" sldId="2147473221"/>
            <ac:picMk id="15" creationId="{C497BE16-CBAE-0E26-E479-784573BA879B}"/>
          </ac:picMkLst>
        </pc:picChg>
        <pc:picChg chg="add del mod">
          <ac:chgData name="Nathan Farquharson" userId="d312bfc7-4201-48a3-a9df-83186336f2dd" providerId="ADAL" clId="{88C89422-1838-494F-AEE6-472139F7E5D1}" dt="2024-07-24T01:13:20.069" v="150" actId="478"/>
          <ac:picMkLst>
            <pc:docMk/>
            <pc:sldMk cId="2806225201" sldId="2147473221"/>
            <ac:picMk id="16" creationId="{2519E58C-4D6F-A787-4C06-17341EC4BCA3}"/>
          </ac:picMkLst>
        </pc:picChg>
        <pc:picChg chg="add del mod">
          <ac:chgData name="Nathan Farquharson" userId="d312bfc7-4201-48a3-a9df-83186336f2dd" providerId="ADAL" clId="{88C89422-1838-494F-AEE6-472139F7E5D1}" dt="2024-07-24T01:13:20.069" v="150" actId="478"/>
          <ac:picMkLst>
            <pc:docMk/>
            <pc:sldMk cId="2806225201" sldId="2147473221"/>
            <ac:picMk id="17" creationId="{94761B1D-513D-2B2B-F1C8-81A039BD7CD4}"/>
          </ac:picMkLst>
        </pc:picChg>
        <pc:picChg chg="add del mod">
          <ac:chgData name="Nathan Farquharson" userId="d312bfc7-4201-48a3-a9df-83186336f2dd" providerId="ADAL" clId="{88C89422-1838-494F-AEE6-472139F7E5D1}" dt="2024-07-24T01:13:20.069" v="150" actId="478"/>
          <ac:picMkLst>
            <pc:docMk/>
            <pc:sldMk cId="2806225201" sldId="2147473221"/>
            <ac:picMk id="18" creationId="{08782366-DF2B-6FFE-DEB9-4BAC456A5D28}"/>
          </ac:picMkLst>
        </pc:picChg>
        <pc:picChg chg="add del mod">
          <ac:chgData name="Nathan Farquharson" userId="d312bfc7-4201-48a3-a9df-83186336f2dd" providerId="ADAL" clId="{88C89422-1838-494F-AEE6-472139F7E5D1}" dt="2024-07-24T01:13:20.069" v="150" actId="478"/>
          <ac:picMkLst>
            <pc:docMk/>
            <pc:sldMk cId="2806225201" sldId="2147473221"/>
            <ac:picMk id="19" creationId="{DCAC401E-6D55-A336-1645-C44F9CDC8DDB}"/>
          </ac:picMkLst>
        </pc:picChg>
      </pc:sldChg>
      <pc:sldChg chg="modSp mod">
        <pc:chgData name="Nathan Farquharson" userId="d312bfc7-4201-48a3-a9df-83186336f2dd" providerId="ADAL" clId="{88C89422-1838-494F-AEE6-472139F7E5D1}" dt="2024-07-25T13:38:28.265" v="5995" actId="1076"/>
        <pc:sldMkLst>
          <pc:docMk/>
          <pc:sldMk cId="313628890" sldId="2147473225"/>
        </pc:sldMkLst>
        <pc:spChg chg="mod">
          <ac:chgData name="Nathan Farquharson" userId="d312bfc7-4201-48a3-a9df-83186336f2dd" providerId="ADAL" clId="{88C89422-1838-494F-AEE6-472139F7E5D1}" dt="2024-07-25T13:38:28.265" v="5995" actId="1076"/>
          <ac:spMkLst>
            <pc:docMk/>
            <pc:sldMk cId="313628890" sldId="2147473225"/>
            <ac:spMk id="7" creationId="{FF3E0C21-38FF-166B-9AC1-E12BC0BD60C7}"/>
          </ac:spMkLst>
        </pc:spChg>
        <pc:spChg chg="mod">
          <ac:chgData name="Nathan Farquharson" userId="d312bfc7-4201-48a3-a9df-83186336f2dd" providerId="ADAL" clId="{88C89422-1838-494F-AEE6-472139F7E5D1}" dt="2024-07-25T13:38:28.265" v="5995" actId="1076"/>
          <ac:spMkLst>
            <pc:docMk/>
            <pc:sldMk cId="313628890" sldId="2147473225"/>
            <ac:spMk id="8" creationId="{4B0D1660-C4F2-B67E-5095-0730C23D2278}"/>
          </ac:spMkLst>
        </pc:spChg>
        <pc:spChg chg="mod">
          <ac:chgData name="Nathan Farquharson" userId="d312bfc7-4201-48a3-a9df-83186336f2dd" providerId="ADAL" clId="{88C89422-1838-494F-AEE6-472139F7E5D1}" dt="2024-07-25T13:38:28.265" v="5995" actId="1076"/>
          <ac:spMkLst>
            <pc:docMk/>
            <pc:sldMk cId="313628890" sldId="2147473225"/>
            <ac:spMk id="9" creationId="{EE9ACCAA-3B92-FBAD-E2DF-EFEE7F0A4512}"/>
          </ac:spMkLst>
        </pc:spChg>
        <pc:spChg chg="mod">
          <ac:chgData name="Nathan Farquharson" userId="d312bfc7-4201-48a3-a9df-83186336f2dd" providerId="ADAL" clId="{88C89422-1838-494F-AEE6-472139F7E5D1}" dt="2024-07-25T13:38:28.265" v="5995" actId="1076"/>
          <ac:spMkLst>
            <pc:docMk/>
            <pc:sldMk cId="313628890" sldId="2147473225"/>
            <ac:spMk id="10" creationId="{4920A1E8-F2A7-1F77-02BC-38A0D78C166F}"/>
          </ac:spMkLst>
        </pc:spChg>
        <pc:spChg chg="mod">
          <ac:chgData name="Nathan Farquharson" userId="d312bfc7-4201-48a3-a9df-83186336f2dd" providerId="ADAL" clId="{88C89422-1838-494F-AEE6-472139F7E5D1}" dt="2024-07-25T13:38:23.953" v="5994" actId="1076"/>
          <ac:spMkLst>
            <pc:docMk/>
            <pc:sldMk cId="313628890" sldId="2147473225"/>
            <ac:spMk id="11" creationId="{3E75D156-641F-A9C9-8843-92D424F32966}"/>
          </ac:spMkLst>
        </pc:spChg>
        <pc:spChg chg="mod">
          <ac:chgData name="Nathan Farquharson" userId="d312bfc7-4201-48a3-a9df-83186336f2dd" providerId="ADAL" clId="{88C89422-1838-494F-AEE6-472139F7E5D1}" dt="2024-07-25T13:38:28.265" v="5995" actId="1076"/>
          <ac:spMkLst>
            <pc:docMk/>
            <pc:sldMk cId="313628890" sldId="2147473225"/>
            <ac:spMk id="12" creationId="{0584205A-1884-5C4D-0109-84408E5216E2}"/>
          </ac:spMkLst>
        </pc:spChg>
        <pc:grpChg chg="mod">
          <ac:chgData name="Nathan Farquharson" userId="d312bfc7-4201-48a3-a9df-83186336f2dd" providerId="ADAL" clId="{88C89422-1838-494F-AEE6-472139F7E5D1}" dt="2024-07-25T13:38:28.265" v="5995" actId="1076"/>
          <ac:grpSpMkLst>
            <pc:docMk/>
            <pc:sldMk cId="313628890" sldId="2147473225"/>
            <ac:grpSpMk id="2" creationId="{E4C46F48-E034-7553-4409-39D13D195877}"/>
          </ac:grpSpMkLst>
        </pc:grpChg>
      </pc:sldChg>
      <pc:sldChg chg="modSp mod">
        <pc:chgData name="Nathan Farquharson" userId="d312bfc7-4201-48a3-a9df-83186336f2dd" providerId="ADAL" clId="{88C89422-1838-494F-AEE6-472139F7E5D1}" dt="2024-07-25T17:47:14.688" v="6391" actId="20577"/>
        <pc:sldMkLst>
          <pc:docMk/>
          <pc:sldMk cId="1798023390" sldId="2147473226"/>
        </pc:sldMkLst>
        <pc:spChg chg="mod">
          <ac:chgData name="Nathan Farquharson" userId="d312bfc7-4201-48a3-a9df-83186336f2dd" providerId="ADAL" clId="{88C89422-1838-494F-AEE6-472139F7E5D1}" dt="2024-07-25T17:47:14.688" v="6391" actId="20577"/>
          <ac:spMkLst>
            <pc:docMk/>
            <pc:sldMk cId="1798023390" sldId="2147473226"/>
            <ac:spMk id="16" creationId="{49AA138C-1119-C4D9-09B0-0BA66E035FA7}"/>
          </ac:spMkLst>
        </pc:spChg>
      </pc:sldChg>
      <pc:sldChg chg="modSp mod ord">
        <pc:chgData name="Nathan Farquharson" userId="d312bfc7-4201-48a3-a9df-83186336f2dd" providerId="ADAL" clId="{88C89422-1838-494F-AEE6-472139F7E5D1}" dt="2024-07-25T14:27:04.234" v="6060" actId="1037"/>
        <pc:sldMkLst>
          <pc:docMk/>
          <pc:sldMk cId="212619309" sldId="2147473228"/>
        </pc:sldMkLst>
        <pc:graphicFrameChg chg="mod">
          <ac:chgData name="Nathan Farquharson" userId="d312bfc7-4201-48a3-a9df-83186336f2dd" providerId="ADAL" clId="{88C89422-1838-494F-AEE6-472139F7E5D1}" dt="2024-07-25T14:26:52.172" v="6046" actId="1076"/>
          <ac:graphicFrameMkLst>
            <pc:docMk/>
            <pc:sldMk cId="212619309" sldId="2147473228"/>
            <ac:graphicFrameMk id="19" creationId="{45A3632A-B9A3-D107-1C83-403AEA9340B4}"/>
          </ac:graphicFrameMkLst>
        </pc:graphicFrameChg>
        <pc:picChg chg="mod">
          <ac:chgData name="Nathan Farquharson" userId="d312bfc7-4201-48a3-a9df-83186336f2dd" providerId="ADAL" clId="{88C89422-1838-494F-AEE6-472139F7E5D1}" dt="2024-07-25T14:27:04.234" v="6060" actId="1037"/>
          <ac:picMkLst>
            <pc:docMk/>
            <pc:sldMk cId="212619309" sldId="2147473228"/>
            <ac:picMk id="2" creationId="{D049DE99-85C2-7AE0-0AF1-59FEEE799C69}"/>
          </ac:picMkLst>
        </pc:picChg>
        <pc:picChg chg="mod">
          <ac:chgData name="Nathan Farquharson" userId="d312bfc7-4201-48a3-a9df-83186336f2dd" providerId="ADAL" clId="{88C89422-1838-494F-AEE6-472139F7E5D1}" dt="2024-07-25T14:27:04.234" v="6060" actId="1037"/>
          <ac:picMkLst>
            <pc:docMk/>
            <pc:sldMk cId="212619309" sldId="2147473228"/>
            <ac:picMk id="6" creationId="{B9287D6A-2A0F-E392-3C83-65458B8249DB}"/>
          </ac:picMkLst>
        </pc:picChg>
        <pc:picChg chg="mod">
          <ac:chgData name="Nathan Farquharson" userId="d312bfc7-4201-48a3-a9df-83186336f2dd" providerId="ADAL" clId="{88C89422-1838-494F-AEE6-472139F7E5D1}" dt="2024-07-25T14:27:04.234" v="6060" actId="1037"/>
          <ac:picMkLst>
            <pc:docMk/>
            <pc:sldMk cId="212619309" sldId="2147473228"/>
            <ac:picMk id="7" creationId="{3C955FC7-7A30-9F06-5465-8C70C1C6AFF0}"/>
          </ac:picMkLst>
        </pc:picChg>
        <pc:picChg chg="mod">
          <ac:chgData name="Nathan Farquharson" userId="d312bfc7-4201-48a3-a9df-83186336f2dd" providerId="ADAL" clId="{88C89422-1838-494F-AEE6-472139F7E5D1}" dt="2024-07-25T14:27:04.234" v="6060" actId="1037"/>
          <ac:picMkLst>
            <pc:docMk/>
            <pc:sldMk cId="212619309" sldId="2147473228"/>
            <ac:picMk id="13" creationId="{70CFE5DB-3CC9-63C5-79A5-B28C412C366D}"/>
          </ac:picMkLst>
        </pc:picChg>
        <pc:picChg chg="mod">
          <ac:chgData name="Nathan Farquharson" userId="d312bfc7-4201-48a3-a9df-83186336f2dd" providerId="ADAL" clId="{88C89422-1838-494F-AEE6-472139F7E5D1}" dt="2024-07-25T14:27:04.234" v="6060" actId="1037"/>
          <ac:picMkLst>
            <pc:docMk/>
            <pc:sldMk cId="212619309" sldId="2147473228"/>
            <ac:picMk id="14" creationId="{F4673D80-37C3-E90A-3CAE-F639F15B3661}"/>
          </ac:picMkLst>
        </pc:picChg>
        <pc:picChg chg="mod">
          <ac:chgData name="Nathan Farquharson" userId="d312bfc7-4201-48a3-a9df-83186336f2dd" providerId="ADAL" clId="{88C89422-1838-494F-AEE6-472139F7E5D1}" dt="2024-07-25T14:27:04.234" v="6060" actId="1037"/>
          <ac:picMkLst>
            <pc:docMk/>
            <pc:sldMk cId="212619309" sldId="2147473228"/>
            <ac:picMk id="15" creationId="{67442510-E69A-E47E-97C2-032EB3BA7BD8}"/>
          </ac:picMkLst>
        </pc:picChg>
      </pc:sldChg>
      <pc:sldChg chg="del">
        <pc:chgData name="Nathan Farquharson" userId="d312bfc7-4201-48a3-a9df-83186336f2dd" providerId="ADAL" clId="{88C89422-1838-494F-AEE6-472139F7E5D1}" dt="2024-07-25T16:56:05.547" v="6090" actId="2696"/>
        <pc:sldMkLst>
          <pc:docMk/>
          <pc:sldMk cId="2877215239" sldId="2147473230"/>
        </pc:sldMkLst>
      </pc:sldChg>
      <pc:sldChg chg="ord">
        <pc:chgData name="Nathan Farquharson" userId="d312bfc7-4201-48a3-a9df-83186336f2dd" providerId="ADAL" clId="{88C89422-1838-494F-AEE6-472139F7E5D1}" dt="2024-07-25T16:56:18.267" v="6092"/>
        <pc:sldMkLst>
          <pc:docMk/>
          <pc:sldMk cId="3666917176" sldId="2147473232"/>
        </pc:sldMkLst>
      </pc:sldChg>
      <pc:sldChg chg="modSp">
        <pc:chgData name="Nathan Farquharson" userId="d312bfc7-4201-48a3-a9df-83186336f2dd" providerId="ADAL" clId="{88C89422-1838-494F-AEE6-472139F7E5D1}" dt="2024-07-24T19:43:02.111" v="2418" actId="14826"/>
        <pc:sldMkLst>
          <pc:docMk/>
          <pc:sldMk cId="4110593447" sldId="2147473235"/>
        </pc:sldMkLst>
        <pc:picChg chg="mod">
          <ac:chgData name="Nathan Farquharson" userId="d312bfc7-4201-48a3-a9df-83186336f2dd" providerId="ADAL" clId="{88C89422-1838-494F-AEE6-472139F7E5D1}" dt="2024-07-24T19:43:02.111" v="2418" actId="14826"/>
          <ac:picMkLst>
            <pc:docMk/>
            <pc:sldMk cId="4110593447" sldId="2147473235"/>
            <ac:picMk id="12" creationId="{F15062F6-192E-DAE1-E682-0E5B65B238A5}"/>
          </ac:picMkLst>
        </pc:picChg>
      </pc:sldChg>
      <pc:sldChg chg="addSp modSp add del mod modCm">
        <pc:chgData name="Nathan Farquharson" userId="d312bfc7-4201-48a3-a9df-83186336f2dd" providerId="ADAL" clId="{88C89422-1838-494F-AEE6-472139F7E5D1}" dt="2024-07-24T19:28:15.488" v="2406" actId="2696"/>
        <pc:sldMkLst>
          <pc:docMk/>
          <pc:sldMk cId="2511479918" sldId="2147473236"/>
        </pc:sldMkLst>
        <pc:spChg chg="mod">
          <ac:chgData name="Nathan Farquharson" userId="d312bfc7-4201-48a3-a9df-83186336f2dd" providerId="ADAL" clId="{88C89422-1838-494F-AEE6-472139F7E5D1}" dt="2024-07-24T01:33:50.356" v="773" actId="20577"/>
          <ac:spMkLst>
            <pc:docMk/>
            <pc:sldMk cId="2511479918" sldId="2147473236"/>
            <ac:spMk id="3" creationId="{CF5A6160-BB28-4B8E-C4A6-E0EDB41C8FF2}"/>
          </ac:spMkLst>
        </pc:spChg>
        <pc:graphicFrameChg chg="mod modGraphic">
          <ac:chgData name="Nathan Farquharson" userId="d312bfc7-4201-48a3-a9df-83186336f2dd" providerId="ADAL" clId="{88C89422-1838-494F-AEE6-472139F7E5D1}" dt="2024-07-24T19:27:17.020" v="2390" actId="21"/>
          <ac:graphicFrameMkLst>
            <pc:docMk/>
            <pc:sldMk cId="2511479918" sldId="2147473236"/>
            <ac:graphicFrameMk id="13" creationId="{FFE94CCE-C7EA-1E91-CB4D-2F4463F4B2F3}"/>
          </ac:graphicFrameMkLst>
        </pc:graphicFrameChg>
        <pc:picChg chg="add mod">
          <ac:chgData name="Nathan Farquharson" userId="d312bfc7-4201-48a3-a9df-83186336f2dd" providerId="ADAL" clId="{88C89422-1838-494F-AEE6-472139F7E5D1}" dt="2024-07-24T01:14:23.514" v="160" actId="1076"/>
          <ac:picMkLst>
            <pc:docMk/>
            <pc:sldMk cId="2511479918" sldId="2147473236"/>
            <ac:picMk id="4" creationId="{62B0232C-8795-82B0-3CA5-D1DAE9466ACC}"/>
          </ac:picMkLst>
        </pc:picChg>
        <pc:picChg chg="add mod">
          <ac:chgData name="Nathan Farquharson" userId="d312bfc7-4201-48a3-a9df-83186336f2dd" providerId="ADAL" clId="{88C89422-1838-494F-AEE6-472139F7E5D1}" dt="2024-07-24T01:17:18.422" v="263" actId="1076"/>
          <ac:picMkLst>
            <pc:docMk/>
            <pc:sldMk cId="2511479918" sldId="2147473236"/>
            <ac:picMk id="10" creationId="{FCA294B2-FB9E-CC7A-DB48-83ABF715333C}"/>
          </ac:picMkLst>
        </pc:picChg>
        <pc:picChg chg="mod">
          <ac:chgData name="Nathan Farquharson" userId="d312bfc7-4201-48a3-a9df-83186336f2dd" providerId="ADAL" clId="{88C89422-1838-494F-AEE6-472139F7E5D1}" dt="2024-07-24T01:13:56.469" v="154" actId="1076"/>
          <ac:picMkLst>
            <pc:docMk/>
            <pc:sldMk cId="2511479918" sldId="2147473236"/>
            <ac:picMk id="12" creationId="{313FA7CD-53FF-ED81-8C03-D1BFDE1AA760}"/>
          </ac:picMkLst>
        </pc:picChg>
        <pc:picChg chg="add mod">
          <ac:chgData name="Nathan Farquharson" userId="d312bfc7-4201-48a3-a9df-83186336f2dd" providerId="ADAL" clId="{88C89422-1838-494F-AEE6-472139F7E5D1}" dt="2024-07-24T01:21:06.517" v="268" actId="1076"/>
          <ac:picMkLst>
            <pc:docMk/>
            <pc:sldMk cId="2511479918" sldId="2147473236"/>
            <ac:picMk id="20" creationId="{59F87A45-D01B-AFDF-756B-46EF2A5D340A}"/>
          </ac:picMkLst>
        </pc:picChg>
        <pc:picChg chg="add mod">
          <ac:chgData name="Nathan Farquharson" userId="d312bfc7-4201-48a3-a9df-83186336f2dd" providerId="ADAL" clId="{88C89422-1838-494F-AEE6-472139F7E5D1}" dt="2024-07-24T01:30:05.428" v="513" actId="1076"/>
          <ac:picMkLst>
            <pc:docMk/>
            <pc:sldMk cId="2511479918" sldId="2147473236"/>
            <ac:picMk id="22" creationId="{15074B99-DEE9-2827-51BC-AFF2A97271C0}"/>
          </ac:picMkLst>
        </pc:picChg>
        <pc:picChg chg="add mod">
          <ac:chgData name="Nathan Farquharson" userId="d312bfc7-4201-48a3-a9df-83186336f2dd" providerId="ADAL" clId="{88C89422-1838-494F-AEE6-472139F7E5D1}" dt="2024-07-24T01:31:24.940" v="551" actId="1076"/>
          <ac:picMkLst>
            <pc:docMk/>
            <pc:sldMk cId="2511479918" sldId="2147473236"/>
            <ac:picMk id="24" creationId="{42B78BB6-04DE-157D-562E-265596882631}"/>
          </ac:picMkLst>
        </pc:picChg>
        <pc:extLst>
          <p:ext xmlns:p="http://schemas.openxmlformats.org/presentationml/2006/main" uri="{D6D511B9-2390-475A-947B-AFAB55BFBCF1}">
            <pc226:cmChg xmlns:pc226="http://schemas.microsoft.com/office/powerpoint/2022/06/main/command" chg="">
              <pc226:chgData name="Nathan Farquharson" userId="d312bfc7-4201-48a3-a9df-83186336f2dd" providerId="ADAL" clId="{88C89422-1838-494F-AEE6-472139F7E5D1}" dt="2024-07-24T19:11:07.512" v="2205"/>
              <pc2:cmMkLst xmlns:pc2="http://schemas.microsoft.com/office/powerpoint/2019/9/main/command">
                <pc:docMk/>
                <pc:sldMk cId="2511479918" sldId="2147473236"/>
                <pc2:cmMk id="{79F593F8-0337-48DF-A66B-1ED4ED390E76}"/>
              </pc2:cmMkLst>
              <pc226:cmRplyChg chg="add">
                <pc226:chgData name="Nathan Farquharson" userId="d312bfc7-4201-48a3-a9df-83186336f2dd" providerId="ADAL" clId="{88C89422-1838-494F-AEE6-472139F7E5D1}" dt="2024-07-24T19:11:07.512" v="2205"/>
                <pc2:cmRplyMkLst xmlns:pc2="http://schemas.microsoft.com/office/powerpoint/2019/9/main/command">
                  <pc:docMk/>
                  <pc:sldMk cId="2511479918" sldId="2147473236"/>
                  <pc2:cmMk id="{79F593F8-0337-48DF-A66B-1ED4ED390E76}"/>
                  <pc2:cmRplyMk id="{8610DE05-7D74-4414-A0AF-51CC20509F2C}"/>
                </pc2:cmRplyMkLst>
              </pc226:cmRplyChg>
              <pc226:cmRplyChg chg="add">
                <pc226:chgData name="Nathan Farquharson" userId="d312bfc7-4201-48a3-a9df-83186336f2dd" providerId="ADAL" clId="{88C89422-1838-494F-AEE6-472139F7E5D1}" dt="2024-07-24T16:29:44.305" v="2204"/>
                <pc2:cmRplyMkLst xmlns:pc2="http://schemas.microsoft.com/office/powerpoint/2019/9/main/command">
                  <pc:docMk/>
                  <pc:sldMk cId="2511479918" sldId="2147473236"/>
                  <pc2:cmMk id="{79F593F8-0337-48DF-A66B-1ED4ED390E76}"/>
                  <pc2:cmRplyMk id="{A322181C-3DA3-4823-B2A9-DEA7B7168BF2}"/>
                </pc2:cmRplyMkLst>
              </pc226:cmRplyChg>
            </pc226:cmChg>
          </p:ext>
        </pc:extLst>
      </pc:sldChg>
      <pc:sldChg chg="modSp mod addCm modCm">
        <pc:chgData name="Nathan Farquharson" userId="d312bfc7-4201-48a3-a9df-83186336f2dd" providerId="ADAL" clId="{88C89422-1838-494F-AEE6-472139F7E5D1}" dt="2024-07-25T19:37:46.227" v="6473" actId="20577"/>
        <pc:sldMkLst>
          <pc:docMk/>
          <pc:sldMk cId="2049575005" sldId="2147473237"/>
        </pc:sldMkLst>
        <pc:spChg chg="mod">
          <ac:chgData name="Nathan Farquharson" userId="d312bfc7-4201-48a3-a9df-83186336f2dd" providerId="ADAL" clId="{88C89422-1838-494F-AEE6-472139F7E5D1}" dt="2024-07-25T19:37:46.227" v="6473" actId="20577"/>
          <ac:spMkLst>
            <pc:docMk/>
            <pc:sldMk cId="2049575005" sldId="2147473237"/>
            <ac:spMk id="6" creationId="{189E79BD-7289-5EA0-6FAE-A4FA6607A2A7}"/>
          </ac:spMkLst>
        </pc:spChg>
        <pc:graphicFrameChg chg="mod modGraphic">
          <ac:chgData name="Nathan Farquharson" userId="d312bfc7-4201-48a3-a9df-83186336f2dd" providerId="ADAL" clId="{88C89422-1838-494F-AEE6-472139F7E5D1}" dt="2024-07-25T19:37:37.220" v="6466" actId="6549"/>
          <ac:graphicFrameMkLst>
            <pc:docMk/>
            <pc:sldMk cId="2049575005" sldId="2147473237"/>
            <ac:graphicFrameMk id="4" creationId="{878955A9-CBF7-9AE8-026E-6A1BBC35C28A}"/>
          </ac:graphicFrameMkLst>
        </pc:graphicFrameChg>
        <pc:extLst>
          <p:ext xmlns:p="http://schemas.openxmlformats.org/presentationml/2006/main" uri="{D6D511B9-2390-475A-947B-AFAB55BFBCF1}">
            <pc226:cmChg xmlns:pc226="http://schemas.microsoft.com/office/powerpoint/2022/06/main/command" chg="add">
              <pc226:chgData name="Nathan Farquharson" userId="d312bfc7-4201-48a3-a9df-83186336f2dd" providerId="ADAL" clId="{88C89422-1838-494F-AEE6-472139F7E5D1}" dt="2024-07-25T17:43:53.756" v="6381"/>
              <pc2:cmMkLst xmlns:pc2="http://schemas.microsoft.com/office/powerpoint/2019/9/main/command">
                <pc:docMk/>
                <pc:sldMk cId="2049575005" sldId="2147473237"/>
                <pc2:cmMk id="{38382A20-8FB7-4EBF-BD6D-D1110D52C69F}"/>
              </pc2:cmMkLst>
            </pc226:cmChg>
            <pc226:cmChg xmlns:pc226="http://schemas.microsoft.com/office/powerpoint/2022/06/main/command" chg="mod">
              <pc226:chgData name="Nathan Farquharson" userId="d312bfc7-4201-48a3-a9df-83186336f2dd" providerId="ADAL" clId="{88C89422-1838-494F-AEE6-472139F7E5D1}" dt="2024-07-25T17:43:45.289" v="6380"/>
              <pc2:cmMkLst xmlns:pc2="http://schemas.microsoft.com/office/powerpoint/2019/9/main/command">
                <pc:docMk/>
                <pc:sldMk cId="2049575005" sldId="2147473237"/>
                <pc2:cmMk id="{1F441079-26B6-4764-8DD3-D705D8F752A9}"/>
              </pc2:cmMkLst>
            </pc226:cmChg>
          </p:ext>
        </pc:extLst>
      </pc:sldChg>
      <pc:sldChg chg="addSp delSp modSp add mod ord">
        <pc:chgData name="Nathan Farquharson" userId="d312bfc7-4201-48a3-a9df-83186336f2dd" providerId="ADAL" clId="{88C89422-1838-494F-AEE6-472139F7E5D1}" dt="2024-07-25T17:13:50.213" v="6112" actId="20577"/>
        <pc:sldMkLst>
          <pc:docMk/>
          <pc:sldMk cId="2538469809" sldId="2147473239"/>
        </pc:sldMkLst>
        <pc:spChg chg="del">
          <ac:chgData name="Nathan Farquharson" userId="d312bfc7-4201-48a3-a9df-83186336f2dd" providerId="ADAL" clId="{88C89422-1838-494F-AEE6-472139F7E5D1}" dt="2024-07-24T02:09:18.506" v="1261" actId="478"/>
          <ac:spMkLst>
            <pc:docMk/>
            <pc:sldMk cId="2538469809" sldId="2147473239"/>
            <ac:spMk id="2" creationId="{E816F96B-CF2E-6E95-0E07-C6FFB69C979D}"/>
          </ac:spMkLst>
        </pc:spChg>
        <pc:spChg chg="mod">
          <ac:chgData name="Nathan Farquharson" userId="d312bfc7-4201-48a3-a9df-83186336f2dd" providerId="ADAL" clId="{88C89422-1838-494F-AEE6-472139F7E5D1}" dt="2024-07-25T17:13:50.213" v="6112" actId="20577"/>
          <ac:spMkLst>
            <pc:docMk/>
            <pc:sldMk cId="2538469809" sldId="2147473239"/>
            <ac:spMk id="3" creationId="{FE673426-4C15-5B5B-31EF-3FB32D25E848}"/>
          </ac:spMkLst>
        </pc:spChg>
        <pc:spChg chg="mod">
          <ac:chgData name="Nathan Farquharson" userId="d312bfc7-4201-48a3-a9df-83186336f2dd" providerId="ADAL" clId="{88C89422-1838-494F-AEE6-472139F7E5D1}" dt="2024-07-24T19:13:05.247" v="2261" actId="1036"/>
          <ac:spMkLst>
            <pc:docMk/>
            <pc:sldMk cId="2538469809" sldId="2147473239"/>
            <ac:spMk id="5" creationId="{A24D89C7-67E4-D430-14D4-7867C4B56506}"/>
          </ac:spMkLst>
        </pc:spChg>
        <pc:spChg chg="add del mod">
          <ac:chgData name="Nathan Farquharson" userId="d312bfc7-4201-48a3-a9df-83186336f2dd" providerId="ADAL" clId="{88C89422-1838-494F-AEE6-472139F7E5D1}" dt="2024-07-24T19:13:05.247" v="2261" actId="1036"/>
          <ac:spMkLst>
            <pc:docMk/>
            <pc:sldMk cId="2538469809" sldId="2147473239"/>
            <ac:spMk id="7" creationId="{EF0DD59D-2D91-8D1E-A09B-202FE292020B}"/>
          </ac:spMkLst>
        </pc:spChg>
        <pc:spChg chg="del">
          <ac:chgData name="Nathan Farquharson" userId="d312bfc7-4201-48a3-a9df-83186336f2dd" providerId="ADAL" clId="{88C89422-1838-494F-AEE6-472139F7E5D1}" dt="2024-07-24T02:00:51.605" v="997" actId="478"/>
          <ac:spMkLst>
            <pc:docMk/>
            <pc:sldMk cId="2538469809" sldId="2147473239"/>
            <ac:spMk id="8" creationId="{20EB81B5-213C-05B1-5A24-CE633CE5478B}"/>
          </ac:spMkLst>
        </pc:spChg>
        <pc:spChg chg="del mod">
          <ac:chgData name="Nathan Farquharson" userId="d312bfc7-4201-48a3-a9df-83186336f2dd" providerId="ADAL" clId="{88C89422-1838-494F-AEE6-472139F7E5D1}" dt="2024-07-24T19:12:29.501" v="2215" actId="478"/>
          <ac:spMkLst>
            <pc:docMk/>
            <pc:sldMk cId="2538469809" sldId="2147473239"/>
            <ac:spMk id="9" creationId="{2D5760FF-5F80-8164-D3DD-06EAEC86BFC8}"/>
          </ac:spMkLst>
        </pc:spChg>
        <pc:spChg chg="del">
          <ac:chgData name="Nathan Farquharson" userId="d312bfc7-4201-48a3-a9df-83186336f2dd" providerId="ADAL" clId="{88C89422-1838-494F-AEE6-472139F7E5D1}" dt="2024-07-24T02:06:02.203" v="1155" actId="478"/>
          <ac:spMkLst>
            <pc:docMk/>
            <pc:sldMk cId="2538469809" sldId="2147473239"/>
            <ac:spMk id="10" creationId="{3460E6FC-4DFF-DE8A-F35A-FECA3676C4ED}"/>
          </ac:spMkLst>
        </pc:spChg>
        <pc:spChg chg="del mod">
          <ac:chgData name="Nathan Farquharson" userId="d312bfc7-4201-48a3-a9df-83186336f2dd" providerId="ADAL" clId="{88C89422-1838-494F-AEE6-472139F7E5D1}" dt="2024-07-24T19:12:26.392" v="2214" actId="478"/>
          <ac:spMkLst>
            <pc:docMk/>
            <pc:sldMk cId="2538469809" sldId="2147473239"/>
            <ac:spMk id="11" creationId="{FED1A14E-7770-935E-D8B0-0C6429FD37D0}"/>
          </ac:spMkLst>
        </pc:spChg>
        <pc:spChg chg="del">
          <ac:chgData name="Nathan Farquharson" userId="d312bfc7-4201-48a3-a9df-83186336f2dd" providerId="ADAL" clId="{88C89422-1838-494F-AEE6-472139F7E5D1}" dt="2024-07-24T02:08:17.811" v="1189" actId="478"/>
          <ac:spMkLst>
            <pc:docMk/>
            <pc:sldMk cId="2538469809" sldId="2147473239"/>
            <ac:spMk id="12" creationId="{458A1E12-4220-E4B7-1F5D-2DD9164E501A}"/>
          </ac:spMkLst>
        </pc:spChg>
        <pc:spChg chg="del">
          <ac:chgData name="Nathan Farquharson" userId="d312bfc7-4201-48a3-a9df-83186336f2dd" providerId="ADAL" clId="{88C89422-1838-494F-AEE6-472139F7E5D1}" dt="2024-07-24T02:08:17.811" v="1189" actId="478"/>
          <ac:spMkLst>
            <pc:docMk/>
            <pc:sldMk cId="2538469809" sldId="2147473239"/>
            <ac:spMk id="13" creationId="{69614FF7-542E-8C50-C118-1DA6AC0A2363}"/>
          </ac:spMkLst>
        </pc:spChg>
        <pc:spChg chg="del">
          <ac:chgData name="Nathan Farquharson" userId="d312bfc7-4201-48a3-a9df-83186336f2dd" providerId="ADAL" clId="{88C89422-1838-494F-AEE6-472139F7E5D1}" dt="2024-07-24T02:10:34.631" v="1362" actId="478"/>
          <ac:spMkLst>
            <pc:docMk/>
            <pc:sldMk cId="2538469809" sldId="2147473239"/>
            <ac:spMk id="14" creationId="{F32D3211-AE3F-AEE7-416D-498428A65877}"/>
          </ac:spMkLst>
        </pc:spChg>
        <pc:spChg chg="mod">
          <ac:chgData name="Nathan Farquharson" userId="d312bfc7-4201-48a3-a9df-83186336f2dd" providerId="ADAL" clId="{88C89422-1838-494F-AEE6-472139F7E5D1}" dt="2024-07-24T19:13:05.247" v="2261" actId="1036"/>
          <ac:spMkLst>
            <pc:docMk/>
            <pc:sldMk cId="2538469809" sldId="2147473239"/>
            <ac:spMk id="36" creationId="{A4E27EB7-5114-C881-B6E6-DA7571037F01}"/>
          </ac:spMkLst>
        </pc:spChg>
        <pc:spChg chg="mod">
          <ac:chgData name="Nathan Farquharson" userId="d312bfc7-4201-48a3-a9df-83186336f2dd" providerId="ADAL" clId="{88C89422-1838-494F-AEE6-472139F7E5D1}" dt="2024-07-24T19:13:05.247" v="2261" actId="1036"/>
          <ac:spMkLst>
            <pc:docMk/>
            <pc:sldMk cId="2538469809" sldId="2147473239"/>
            <ac:spMk id="38" creationId="{B826233F-0A0D-1697-2DB4-8B76D082B571}"/>
          </ac:spMkLst>
        </pc:spChg>
        <pc:spChg chg="mod">
          <ac:chgData name="Nathan Farquharson" userId="d312bfc7-4201-48a3-a9df-83186336f2dd" providerId="ADAL" clId="{88C89422-1838-494F-AEE6-472139F7E5D1}" dt="2024-07-24T19:13:05.247" v="2261" actId="1036"/>
          <ac:spMkLst>
            <pc:docMk/>
            <pc:sldMk cId="2538469809" sldId="2147473239"/>
            <ac:spMk id="39" creationId="{C5FFE3DF-1F81-7604-BE01-BBF612792FC6}"/>
          </ac:spMkLst>
        </pc:spChg>
        <pc:spChg chg="mod">
          <ac:chgData name="Nathan Farquharson" userId="d312bfc7-4201-48a3-a9df-83186336f2dd" providerId="ADAL" clId="{88C89422-1838-494F-AEE6-472139F7E5D1}" dt="2024-07-24T19:13:05.247" v="2261" actId="1036"/>
          <ac:spMkLst>
            <pc:docMk/>
            <pc:sldMk cId="2538469809" sldId="2147473239"/>
            <ac:spMk id="41" creationId="{E7968065-9374-C64B-B3DB-458E18B8E0DF}"/>
          </ac:spMkLst>
        </pc:spChg>
        <pc:spChg chg="add">
          <ac:chgData name="Nathan Farquharson" userId="d312bfc7-4201-48a3-a9df-83186336f2dd" providerId="ADAL" clId="{88C89422-1838-494F-AEE6-472139F7E5D1}" dt="2024-07-24T02:04:08.352" v="1033"/>
          <ac:spMkLst>
            <pc:docMk/>
            <pc:sldMk cId="2538469809" sldId="2147473239"/>
            <ac:spMk id="43" creationId="{3F931B32-7A3B-D309-CCB0-0BF4EC290B39}"/>
          </ac:spMkLst>
        </pc:spChg>
        <pc:spChg chg="add del">
          <ac:chgData name="Nathan Farquharson" userId="d312bfc7-4201-48a3-a9df-83186336f2dd" providerId="ADAL" clId="{88C89422-1838-494F-AEE6-472139F7E5D1}" dt="2024-07-24T02:04:19.876" v="1037" actId="478"/>
          <ac:spMkLst>
            <pc:docMk/>
            <pc:sldMk cId="2538469809" sldId="2147473239"/>
            <ac:spMk id="44" creationId="{90EEF8B5-53D0-A7F5-364E-1921C2508B3F}"/>
          </ac:spMkLst>
        </pc:spChg>
        <pc:spChg chg="add del mod">
          <ac:chgData name="Nathan Farquharson" userId="d312bfc7-4201-48a3-a9df-83186336f2dd" providerId="ADAL" clId="{88C89422-1838-494F-AEE6-472139F7E5D1}" dt="2024-07-24T02:08:17.811" v="1189" actId="478"/>
          <ac:spMkLst>
            <pc:docMk/>
            <pc:sldMk cId="2538469809" sldId="2147473239"/>
            <ac:spMk id="49" creationId="{89D345C3-F9BF-5840-6FF9-E9C554BFEC1C}"/>
          </ac:spMkLst>
        </pc:spChg>
        <pc:spChg chg="add del mod">
          <ac:chgData name="Nathan Farquharson" userId="d312bfc7-4201-48a3-a9df-83186336f2dd" providerId="ADAL" clId="{88C89422-1838-494F-AEE6-472139F7E5D1}" dt="2024-07-24T02:09:20.776" v="1262" actId="478"/>
          <ac:spMkLst>
            <pc:docMk/>
            <pc:sldMk cId="2538469809" sldId="2147473239"/>
            <ac:spMk id="51" creationId="{144B9CA3-F397-ED6B-2810-745E02829FB4}"/>
          </ac:spMkLst>
        </pc:spChg>
        <pc:spChg chg="add del mod">
          <ac:chgData name="Nathan Farquharson" userId="d312bfc7-4201-48a3-a9df-83186336f2dd" providerId="ADAL" clId="{88C89422-1838-494F-AEE6-472139F7E5D1}" dt="2024-07-24T19:12:24.767" v="2213" actId="478"/>
          <ac:spMkLst>
            <pc:docMk/>
            <pc:sldMk cId="2538469809" sldId="2147473239"/>
            <ac:spMk id="52" creationId="{D9274F4F-1F19-95D6-ED9B-2E25D2865D0D}"/>
          </ac:spMkLst>
        </pc:spChg>
        <pc:spChg chg="add mod">
          <ac:chgData name="Nathan Farquharson" userId="d312bfc7-4201-48a3-a9df-83186336f2dd" providerId="ADAL" clId="{88C89422-1838-494F-AEE6-472139F7E5D1}" dt="2024-07-24T19:13:22.391" v="2272" actId="1035"/>
          <ac:spMkLst>
            <pc:docMk/>
            <pc:sldMk cId="2538469809" sldId="2147473239"/>
            <ac:spMk id="53" creationId="{BF51A801-43F6-0B17-C062-55AFE8F0B208}"/>
          </ac:spMkLst>
        </pc:spChg>
        <pc:spChg chg="add mod">
          <ac:chgData name="Nathan Farquharson" userId="d312bfc7-4201-48a3-a9df-83186336f2dd" providerId="ADAL" clId="{88C89422-1838-494F-AEE6-472139F7E5D1}" dt="2024-07-24T19:13:22.391" v="2272" actId="1035"/>
          <ac:spMkLst>
            <pc:docMk/>
            <pc:sldMk cId="2538469809" sldId="2147473239"/>
            <ac:spMk id="55" creationId="{20D1C06E-3928-8EEF-26C2-882E19C98EB2}"/>
          </ac:spMkLst>
        </pc:spChg>
        <pc:spChg chg="add mod">
          <ac:chgData name="Nathan Farquharson" userId="d312bfc7-4201-48a3-a9df-83186336f2dd" providerId="ADAL" clId="{88C89422-1838-494F-AEE6-472139F7E5D1}" dt="2024-07-24T19:13:22.391" v="2272" actId="1035"/>
          <ac:spMkLst>
            <pc:docMk/>
            <pc:sldMk cId="2538469809" sldId="2147473239"/>
            <ac:spMk id="56" creationId="{AAEB690F-B8B8-4DCF-6226-FD53CEA11585}"/>
          </ac:spMkLst>
        </pc:spChg>
        <pc:spChg chg="add mod">
          <ac:chgData name="Nathan Farquharson" userId="d312bfc7-4201-48a3-a9df-83186336f2dd" providerId="ADAL" clId="{88C89422-1838-494F-AEE6-472139F7E5D1}" dt="2024-07-24T19:13:22.391" v="2272" actId="1035"/>
          <ac:spMkLst>
            <pc:docMk/>
            <pc:sldMk cId="2538469809" sldId="2147473239"/>
            <ac:spMk id="58" creationId="{8D33FD96-020D-6856-00A3-CE5B98D25D73}"/>
          </ac:spMkLst>
        </pc:spChg>
        <pc:spChg chg="add mod">
          <ac:chgData name="Nathan Farquharson" userId="d312bfc7-4201-48a3-a9df-83186336f2dd" providerId="ADAL" clId="{88C89422-1838-494F-AEE6-472139F7E5D1}" dt="2024-07-24T19:13:22.391" v="2272" actId="1035"/>
          <ac:spMkLst>
            <pc:docMk/>
            <pc:sldMk cId="2538469809" sldId="2147473239"/>
            <ac:spMk id="59" creationId="{2E1ED12F-0948-9C8E-F425-5356C1937A9D}"/>
          </ac:spMkLst>
        </pc:spChg>
        <pc:spChg chg="add mod">
          <ac:chgData name="Nathan Farquharson" userId="d312bfc7-4201-48a3-a9df-83186336f2dd" providerId="ADAL" clId="{88C89422-1838-494F-AEE6-472139F7E5D1}" dt="2024-07-24T19:13:22.391" v="2272" actId="1035"/>
          <ac:spMkLst>
            <pc:docMk/>
            <pc:sldMk cId="2538469809" sldId="2147473239"/>
            <ac:spMk id="61" creationId="{EBA54F3A-8639-BA10-BC9A-82B5D60410C9}"/>
          </ac:spMkLst>
        </pc:spChg>
        <pc:spChg chg="add del mod">
          <ac:chgData name="Nathan Farquharson" userId="d312bfc7-4201-48a3-a9df-83186336f2dd" providerId="ADAL" clId="{88C89422-1838-494F-AEE6-472139F7E5D1}" dt="2024-07-24T19:12:17.987" v="2210" actId="478"/>
          <ac:spMkLst>
            <pc:docMk/>
            <pc:sldMk cId="2538469809" sldId="2147473239"/>
            <ac:spMk id="64" creationId="{B209AE09-A754-D38D-1146-B79D91B59A48}"/>
          </ac:spMkLst>
        </pc:spChg>
        <pc:spChg chg="add del">
          <ac:chgData name="Nathan Farquharson" userId="d312bfc7-4201-48a3-a9df-83186336f2dd" providerId="ADAL" clId="{88C89422-1838-494F-AEE6-472139F7E5D1}" dt="2024-07-24T02:17:45.933" v="1841" actId="478"/>
          <ac:spMkLst>
            <pc:docMk/>
            <pc:sldMk cId="2538469809" sldId="2147473239"/>
            <ac:spMk id="69" creationId="{F5A5626F-5E95-DD59-992F-AF8D96C0FA68}"/>
          </ac:spMkLst>
        </pc:spChg>
        <pc:spChg chg="add del mod">
          <ac:chgData name="Nathan Farquharson" userId="d312bfc7-4201-48a3-a9df-83186336f2dd" providerId="ADAL" clId="{88C89422-1838-494F-AEE6-472139F7E5D1}" dt="2024-07-24T19:12:20.991" v="2211" actId="478"/>
          <ac:spMkLst>
            <pc:docMk/>
            <pc:sldMk cId="2538469809" sldId="2147473239"/>
            <ac:spMk id="70" creationId="{285F9681-F71E-71D2-6F7F-04F89906DDFC}"/>
          </ac:spMkLst>
        </pc:spChg>
        <pc:spChg chg="add del mod">
          <ac:chgData name="Nathan Farquharson" userId="d312bfc7-4201-48a3-a9df-83186336f2dd" providerId="ADAL" clId="{88C89422-1838-494F-AEE6-472139F7E5D1}" dt="2024-07-24T19:12:22.697" v="2212" actId="478"/>
          <ac:spMkLst>
            <pc:docMk/>
            <pc:sldMk cId="2538469809" sldId="2147473239"/>
            <ac:spMk id="71" creationId="{B73705BF-5860-BC9A-EE5B-EAE4690BD7C8}"/>
          </ac:spMkLst>
        </pc:spChg>
        <pc:grpChg chg="del">
          <ac:chgData name="Nathan Farquharson" userId="d312bfc7-4201-48a3-a9df-83186336f2dd" providerId="ADAL" clId="{88C89422-1838-494F-AEE6-472139F7E5D1}" dt="2024-07-24T02:08:17.811" v="1189" actId="478"/>
          <ac:grpSpMkLst>
            <pc:docMk/>
            <pc:sldMk cId="2538469809" sldId="2147473239"/>
            <ac:grpSpMk id="18" creationId="{263E4BC7-7D28-1817-CCBE-2B6021819B76}"/>
          </ac:grpSpMkLst>
        </pc:grpChg>
        <pc:grpChg chg="del">
          <ac:chgData name="Nathan Farquharson" userId="d312bfc7-4201-48a3-a9df-83186336f2dd" providerId="ADAL" clId="{88C89422-1838-494F-AEE6-472139F7E5D1}" dt="2024-07-24T02:05:59.876" v="1154" actId="478"/>
          <ac:grpSpMkLst>
            <pc:docMk/>
            <pc:sldMk cId="2538469809" sldId="2147473239"/>
            <ac:grpSpMk id="23" creationId="{50890699-F05F-5970-F44A-61B03BE8960B}"/>
          </ac:grpSpMkLst>
        </pc:grpChg>
        <pc:grpChg chg="del">
          <ac:chgData name="Nathan Farquharson" userId="d312bfc7-4201-48a3-a9df-83186336f2dd" providerId="ADAL" clId="{88C89422-1838-494F-AEE6-472139F7E5D1}" dt="2024-07-24T02:00:53.786" v="998" actId="478"/>
          <ac:grpSpMkLst>
            <pc:docMk/>
            <pc:sldMk cId="2538469809" sldId="2147473239"/>
            <ac:grpSpMk id="28" creationId="{93CFA80C-DA2C-D4F8-75C2-439C315257C2}"/>
          </ac:grpSpMkLst>
        </pc:grpChg>
        <pc:graphicFrameChg chg="del">
          <ac:chgData name="Nathan Farquharson" userId="d312bfc7-4201-48a3-a9df-83186336f2dd" providerId="ADAL" clId="{88C89422-1838-494F-AEE6-472139F7E5D1}" dt="2024-07-24T02:00:33.190" v="993" actId="478"/>
          <ac:graphicFrameMkLst>
            <pc:docMk/>
            <pc:sldMk cId="2538469809" sldId="2147473239"/>
            <ac:graphicFrameMk id="4" creationId="{075219B7-2ED2-D788-CDF2-1E6245C9A272}"/>
          </ac:graphicFrameMkLst>
        </pc:graphicFrameChg>
        <pc:graphicFrameChg chg="del">
          <ac:chgData name="Nathan Farquharson" userId="d312bfc7-4201-48a3-a9df-83186336f2dd" providerId="ADAL" clId="{88C89422-1838-494F-AEE6-472139F7E5D1}" dt="2024-07-24T02:05:13.870" v="1046" actId="478"/>
          <ac:graphicFrameMkLst>
            <pc:docMk/>
            <pc:sldMk cId="2538469809" sldId="2147473239"/>
            <ac:graphicFrameMk id="33" creationId="{A4F7801F-AFAC-344D-832C-C3F8C37549C3}"/>
          </ac:graphicFrameMkLst>
        </pc:graphicFrameChg>
        <pc:graphicFrameChg chg="del">
          <ac:chgData name="Nathan Farquharson" userId="d312bfc7-4201-48a3-a9df-83186336f2dd" providerId="ADAL" clId="{88C89422-1838-494F-AEE6-472139F7E5D1}" dt="2024-07-24T02:06:33.980" v="1161" actId="478"/>
          <ac:graphicFrameMkLst>
            <pc:docMk/>
            <pc:sldMk cId="2538469809" sldId="2147473239"/>
            <ac:graphicFrameMk id="34" creationId="{B2E0CB28-993C-4548-CC75-18B512C4B08A}"/>
          </ac:graphicFrameMkLst>
        </pc:graphicFrameChg>
        <pc:picChg chg="add del mod">
          <ac:chgData name="Nathan Farquharson" userId="d312bfc7-4201-48a3-a9df-83186336f2dd" providerId="ADAL" clId="{88C89422-1838-494F-AEE6-472139F7E5D1}" dt="2024-07-24T02:02:24.423" v="1005" actId="478"/>
          <ac:picMkLst>
            <pc:docMk/>
            <pc:sldMk cId="2538469809" sldId="2147473239"/>
            <ac:picMk id="16" creationId="{6C321C33-30D4-F68D-DFBB-AC9EC7C5515D}"/>
          </ac:picMkLst>
        </pc:picChg>
        <pc:picChg chg="add mod">
          <ac:chgData name="Nathan Farquharson" userId="d312bfc7-4201-48a3-a9df-83186336f2dd" providerId="ADAL" clId="{88C89422-1838-494F-AEE6-472139F7E5D1}" dt="2024-07-24T19:13:05.247" v="2261" actId="1036"/>
          <ac:picMkLst>
            <pc:docMk/>
            <pc:sldMk cId="2538469809" sldId="2147473239"/>
            <ac:picMk id="42" creationId="{9C85D4B5-5A74-07AD-D7C1-5BE64E2BFD46}"/>
          </ac:picMkLst>
        </pc:picChg>
        <pc:picChg chg="add mod">
          <ac:chgData name="Nathan Farquharson" userId="d312bfc7-4201-48a3-a9df-83186336f2dd" providerId="ADAL" clId="{88C89422-1838-494F-AEE6-472139F7E5D1}" dt="2024-07-24T19:13:05.247" v="2261" actId="1036"/>
          <ac:picMkLst>
            <pc:docMk/>
            <pc:sldMk cId="2538469809" sldId="2147473239"/>
            <ac:picMk id="46" creationId="{BCD88FE4-0801-DED7-926B-505EEAC3F8C3}"/>
          </ac:picMkLst>
        </pc:picChg>
        <pc:picChg chg="add mod">
          <ac:chgData name="Nathan Farquharson" userId="d312bfc7-4201-48a3-a9df-83186336f2dd" providerId="ADAL" clId="{88C89422-1838-494F-AEE6-472139F7E5D1}" dt="2024-07-24T19:13:05.247" v="2261" actId="1036"/>
          <ac:picMkLst>
            <pc:docMk/>
            <pc:sldMk cId="2538469809" sldId="2147473239"/>
            <ac:picMk id="48" creationId="{1BA43D6D-0261-DA8D-D943-CCC097F0D116}"/>
          </ac:picMkLst>
        </pc:picChg>
        <pc:picChg chg="add mod">
          <ac:chgData name="Nathan Farquharson" userId="d312bfc7-4201-48a3-a9df-83186336f2dd" providerId="ADAL" clId="{88C89422-1838-494F-AEE6-472139F7E5D1}" dt="2024-07-24T19:13:22.391" v="2272" actId="1035"/>
          <ac:picMkLst>
            <pc:docMk/>
            <pc:sldMk cId="2538469809" sldId="2147473239"/>
            <ac:picMk id="63" creationId="{0A759516-2CE4-40D9-9CB3-61E1E1FF8719}"/>
          </ac:picMkLst>
        </pc:picChg>
        <pc:picChg chg="add mod">
          <ac:chgData name="Nathan Farquharson" userId="d312bfc7-4201-48a3-a9df-83186336f2dd" providerId="ADAL" clId="{88C89422-1838-494F-AEE6-472139F7E5D1}" dt="2024-07-24T19:13:22.391" v="2272" actId="1035"/>
          <ac:picMkLst>
            <pc:docMk/>
            <pc:sldMk cId="2538469809" sldId="2147473239"/>
            <ac:picMk id="66" creationId="{B38CB46A-6D45-75DF-4C79-4AEB02D2DFB0}"/>
          </ac:picMkLst>
        </pc:picChg>
        <pc:picChg chg="add mod">
          <ac:chgData name="Nathan Farquharson" userId="d312bfc7-4201-48a3-a9df-83186336f2dd" providerId="ADAL" clId="{88C89422-1838-494F-AEE6-472139F7E5D1}" dt="2024-07-24T19:13:22.391" v="2272" actId="1035"/>
          <ac:picMkLst>
            <pc:docMk/>
            <pc:sldMk cId="2538469809" sldId="2147473239"/>
            <ac:picMk id="68" creationId="{B30BD865-2632-188C-0378-E5F58985D874}"/>
          </ac:picMkLst>
        </pc:picChg>
        <pc:cxnChg chg="mod">
          <ac:chgData name="Nathan Farquharson" userId="d312bfc7-4201-48a3-a9df-83186336f2dd" providerId="ADAL" clId="{88C89422-1838-494F-AEE6-472139F7E5D1}" dt="2024-07-24T19:13:05.247" v="2261" actId="1036"/>
          <ac:cxnSpMkLst>
            <pc:docMk/>
            <pc:sldMk cId="2538469809" sldId="2147473239"/>
            <ac:cxnSpMk id="6" creationId="{AD7C2A0B-6099-0BC4-7ABA-3D178D9AAEB8}"/>
          </ac:cxnSpMkLst>
        </pc:cxnChg>
        <pc:cxnChg chg="mod">
          <ac:chgData name="Nathan Farquharson" userId="d312bfc7-4201-48a3-a9df-83186336f2dd" providerId="ADAL" clId="{88C89422-1838-494F-AEE6-472139F7E5D1}" dt="2024-07-24T19:13:05.247" v="2261" actId="1036"/>
          <ac:cxnSpMkLst>
            <pc:docMk/>
            <pc:sldMk cId="2538469809" sldId="2147473239"/>
            <ac:cxnSpMk id="37" creationId="{BC5CCF75-15E0-781B-A0B3-78BD1BB5DD7F}"/>
          </ac:cxnSpMkLst>
        </pc:cxnChg>
        <pc:cxnChg chg="mod">
          <ac:chgData name="Nathan Farquharson" userId="d312bfc7-4201-48a3-a9df-83186336f2dd" providerId="ADAL" clId="{88C89422-1838-494F-AEE6-472139F7E5D1}" dt="2024-07-24T19:13:05.247" v="2261" actId="1036"/>
          <ac:cxnSpMkLst>
            <pc:docMk/>
            <pc:sldMk cId="2538469809" sldId="2147473239"/>
            <ac:cxnSpMk id="40" creationId="{4B4FA4C7-98B2-9790-C593-8F886E5B9CEB}"/>
          </ac:cxnSpMkLst>
        </pc:cxnChg>
        <pc:cxnChg chg="add mod">
          <ac:chgData name="Nathan Farquharson" userId="d312bfc7-4201-48a3-a9df-83186336f2dd" providerId="ADAL" clId="{88C89422-1838-494F-AEE6-472139F7E5D1}" dt="2024-07-24T19:13:22.391" v="2272" actId="1035"/>
          <ac:cxnSpMkLst>
            <pc:docMk/>
            <pc:sldMk cId="2538469809" sldId="2147473239"/>
            <ac:cxnSpMk id="54" creationId="{64427384-0D48-76EF-32E2-195E37947BAA}"/>
          </ac:cxnSpMkLst>
        </pc:cxnChg>
        <pc:cxnChg chg="add mod">
          <ac:chgData name="Nathan Farquharson" userId="d312bfc7-4201-48a3-a9df-83186336f2dd" providerId="ADAL" clId="{88C89422-1838-494F-AEE6-472139F7E5D1}" dt="2024-07-24T19:13:22.391" v="2272" actId="1035"/>
          <ac:cxnSpMkLst>
            <pc:docMk/>
            <pc:sldMk cId="2538469809" sldId="2147473239"/>
            <ac:cxnSpMk id="57" creationId="{2C9B1D8E-B470-7EEF-FFEE-671E50BD1166}"/>
          </ac:cxnSpMkLst>
        </pc:cxnChg>
        <pc:cxnChg chg="add mod">
          <ac:chgData name="Nathan Farquharson" userId="d312bfc7-4201-48a3-a9df-83186336f2dd" providerId="ADAL" clId="{88C89422-1838-494F-AEE6-472139F7E5D1}" dt="2024-07-24T19:13:22.391" v="2272" actId="1035"/>
          <ac:cxnSpMkLst>
            <pc:docMk/>
            <pc:sldMk cId="2538469809" sldId="2147473239"/>
            <ac:cxnSpMk id="60" creationId="{3345966C-2584-EBFF-8F6F-6CC56B4EAAF8}"/>
          </ac:cxnSpMkLst>
        </pc:cxnChg>
      </pc:sldChg>
      <pc:sldChg chg="modSp mod addCm modCm">
        <pc:chgData name="Nathan Farquharson" userId="d312bfc7-4201-48a3-a9df-83186336f2dd" providerId="ADAL" clId="{88C89422-1838-494F-AEE6-472139F7E5D1}" dt="2024-07-25T17:46:44.733" v="6389" actId="6549"/>
        <pc:sldMkLst>
          <pc:docMk/>
          <pc:sldMk cId="1019241543" sldId="2147473242"/>
        </pc:sldMkLst>
        <pc:spChg chg="mod">
          <ac:chgData name="Nathan Farquharson" userId="d312bfc7-4201-48a3-a9df-83186336f2dd" providerId="ADAL" clId="{88C89422-1838-494F-AEE6-472139F7E5D1}" dt="2024-07-25T17:46:44.733" v="6389" actId="6549"/>
          <ac:spMkLst>
            <pc:docMk/>
            <pc:sldMk cId="1019241543" sldId="2147473242"/>
            <ac:spMk id="15" creationId="{4CD6E20B-A406-1241-300C-8AF60BB6932F}"/>
          </ac:spMkLst>
        </pc:spChg>
        <pc:spChg chg="mod">
          <ac:chgData name="Nathan Farquharson" userId="d312bfc7-4201-48a3-a9df-83186336f2dd" providerId="ADAL" clId="{88C89422-1838-494F-AEE6-472139F7E5D1}" dt="2024-07-25T17:45:00.865" v="6385"/>
          <ac:spMkLst>
            <pc:docMk/>
            <pc:sldMk cId="1019241543" sldId="2147473242"/>
            <ac:spMk id="16" creationId="{FC817700-9FF8-91C5-F834-17A6EB793F23}"/>
          </ac:spMkLst>
        </pc:spChg>
        <pc:extLst>
          <p:ext xmlns:p="http://schemas.openxmlformats.org/presentationml/2006/main" uri="{D6D511B9-2390-475A-947B-AFAB55BFBCF1}">
            <pc226:cmChg xmlns:pc226="http://schemas.microsoft.com/office/powerpoint/2022/06/main/command" chg="mod">
              <pc226:chgData name="Nathan Farquharson" userId="d312bfc7-4201-48a3-a9df-83186336f2dd" providerId="ADAL" clId="{88C89422-1838-494F-AEE6-472139F7E5D1}" dt="2024-07-25T17:11:52.338" v="6104"/>
              <pc2:cmMkLst xmlns:pc2="http://schemas.microsoft.com/office/powerpoint/2019/9/main/command">
                <pc:docMk/>
                <pc:sldMk cId="1019241543" sldId="2147473242"/>
                <pc2:cmMk id="{2DA69C40-A488-4EA2-8A1F-99BEC688DE2F}"/>
              </pc2:cmMkLst>
            </pc226:cmChg>
            <pc226:cmChg xmlns:pc226="http://schemas.microsoft.com/office/powerpoint/2022/06/main/command" chg="add">
              <pc226:chgData name="Nathan Farquharson" userId="d312bfc7-4201-48a3-a9df-83186336f2dd" providerId="ADAL" clId="{88C89422-1838-494F-AEE6-472139F7E5D1}" dt="2024-07-25T17:16:14.462" v="6114"/>
              <pc2:cmMkLst xmlns:pc2="http://schemas.microsoft.com/office/powerpoint/2019/9/main/command">
                <pc:docMk/>
                <pc:sldMk cId="1019241543" sldId="2147473242"/>
                <pc2:cmMk id="{4BEDBE6E-EDC5-4239-8CB4-44D2BE92E62D}"/>
              </pc2:cmMkLst>
              <pc226:cmRplyChg chg="add mod">
                <pc226:chgData name="Nathan Farquharson" userId="d312bfc7-4201-48a3-a9df-83186336f2dd" providerId="ADAL" clId="{88C89422-1838-494F-AEE6-472139F7E5D1}" dt="2024-07-25T17:16:14.462" v="6114"/>
                <pc2:cmRplyMkLst xmlns:pc2="http://schemas.microsoft.com/office/powerpoint/2019/9/main/command">
                  <pc:docMk/>
                  <pc:sldMk cId="1019241543" sldId="2147473242"/>
                  <pc2:cmMk id="{4BEDBE6E-EDC5-4239-8CB4-44D2BE92E62D}"/>
                  <pc2:cmRplyMk id="{FBD27CED-C367-40FE-9BD6-A6684FAECEDB}"/>
                </pc2:cmRplyMkLst>
              </pc226:cmRplyChg>
            </pc226:cmChg>
          </p:ext>
        </pc:extLst>
      </pc:sldChg>
      <pc:sldChg chg="modSp mod">
        <pc:chgData name="Nathan Farquharson" userId="d312bfc7-4201-48a3-a9df-83186336f2dd" providerId="ADAL" clId="{88C89422-1838-494F-AEE6-472139F7E5D1}" dt="2024-07-25T16:53:48.738" v="6089" actId="20577"/>
        <pc:sldMkLst>
          <pc:docMk/>
          <pc:sldMk cId="1883354529" sldId="2147473246"/>
        </pc:sldMkLst>
        <pc:spChg chg="mod">
          <ac:chgData name="Nathan Farquharson" userId="d312bfc7-4201-48a3-a9df-83186336f2dd" providerId="ADAL" clId="{88C89422-1838-494F-AEE6-472139F7E5D1}" dt="2024-07-25T16:53:48.738" v="6089" actId="20577"/>
          <ac:spMkLst>
            <pc:docMk/>
            <pc:sldMk cId="1883354529" sldId="2147473246"/>
            <ac:spMk id="2" creationId="{1A06D1F9-80A5-C9DB-5981-C0BD13DE9012}"/>
          </ac:spMkLst>
        </pc:spChg>
        <pc:spChg chg="mod">
          <ac:chgData name="Nathan Farquharson" userId="d312bfc7-4201-48a3-a9df-83186336f2dd" providerId="ADAL" clId="{88C89422-1838-494F-AEE6-472139F7E5D1}" dt="2024-07-25T14:25:47.614" v="6036" actId="113"/>
          <ac:spMkLst>
            <pc:docMk/>
            <pc:sldMk cId="1883354529" sldId="2147473246"/>
            <ac:spMk id="20" creationId="{FAA4FA5B-D615-028E-C411-1001B724F2C9}"/>
          </ac:spMkLst>
        </pc:spChg>
        <pc:spChg chg="mod">
          <ac:chgData name="Nathan Farquharson" userId="d312bfc7-4201-48a3-a9df-83186336f2dd" providerId="ADAL" clId="{88C89422-1838-494F-AEE6-472139F7E5D1}" dt="2024-07-25T14:25:45.153" v="6035" actId="113"/>
          <ac:spMkLst>
            <pc:docMk/>
            <pc:sldMk cId="1883354529" sldId="2147473246"/>
            <ac:spMk id="21" creationId="{439F16A6-8B23-3D30-C858-F6B10DEC37B5}"/>
          </ac:spMkLst>
        </pc:spChg>
        <pc:spChg chg="mod">
          <ac:chgData name="Nathan Farquharson" userId="d312bfc7-4201-48a3-a9df-83186336f2dd" providerId="ADAL" clId="{88C89422-1838-494F-AEE6-472139F7E5D1}" dt="2024-07-25T14:25:43.204" v="6034" actId="113"/>
          <ac:spMkLst>
            <pc:docMk/>
            <pc:sldMk cId="1883354529" sldId="2147473246"/>
            <ac:spMk id="22" creationId="{425BC7DD-09A1-0675-70F6-15551787974E}"/>
          </ac:spMkLst>
        </pc:spChg>
        <pc:spChg chg="mod">
          <ac:chgData name="Nathan Farquharson" userId="d312bfc7-4201-48a3-a9df-83186336f2dd" providerId="ADAL" clId="{88C89422-1838-494F-AEE6-472139F7E5D1}" dt="2024-07-25T14:25:34.418" v="6031" actId="113"/>
          <ac:spMkLst>
            <pc:docMk/>
            <pc:sldMk cId="1883354529" sldId="2147473246"/>
            <ac:spMk id="23" creationId="{1EF44D6A-D369-BA93-3889-15C02085E908}"/>
          </ac:spMkLst>
        </pc:spChg>
        <pc:spChg chg="mod">
          <ac:chgData name="Nathan Farquharson" userId="d312bfc7-4201-48a3-a9df-83186336f2dd" providerId="ADAL" clId="{88C89422-1838-494F-AEE6-472139F7E5D1}" dt="2024-07-25T14:25:38.008" v="6032" actId="113"/>
          <ac:spMkLst>
            <pc:docMk/>
            <pc:sldMk cId="1883354529" sldId="2147473246"/>
            <ac:spMk id="24" creationId="{A0DECABB-17A1-93F9-C652-A6F46C1EB77C}"/>
          </ac:spMkLst>
        </pc:spChg>
        <pc:spChg chg="mod">
          <ac:chgData name="Nathan Farquharson" userId="d312bfc7-4201-48a3-a9df-83186336f2dd" providerId="ADAL" clId="{88C89422-1838-494F-AEE6-472139F7E5D1}" dt="2024-07-25T16:53:22.823" v="6083" actId="1076"/>
          <ac:spMkLst>
            <pc:docMk/>
            <pc:sldMk cId="1883354529" sldId="2147473246"/>
            <ac:spMk id="25" creationId="{7C0FDE98-B42A-2B32-0000-577DA4307164}"/>
          </ac:spMkLst>
        </pc:spChg>
        <pc:picChg chg="mod">
          <ac:chgData name="Nathan Farquharson" userId="d312bfc7-4201-48a3-a9df-83186336f2dd" providerId="ADAL" clId="{88C89422-1838-494F-AEE6-472139F7E5D1}" dt="2024-07-25T14:25:12.146" v="6025" actId="12788"/>
          <ac:picMkLst>
            <pc:docMk/>
            <pc:sldMk cId="1883354529" sldId="2147473246"/>
            <ac:picMk id="7" creationId="{62498E3F-6DC1-4B74-AD38-C671186E1982}"/>
          </ac:picMkLst>
        </pc:picChg>
        <pc:picChg chg="mod">
          <ac:chgData name="Nathan Farquharson" userId="d312bfc7-4201-48a3-a9df-83186336f2dd" providerId="ADAL" clId="{88C89422-1838-494F-AEE6-472139F7E5D1}" dt="2024-07-25T14:25:12.146" v="6025" actId="12788"/>
          <ac:picMkLst>
            <pc:docMk/>
            <pc:sldMk cId="1883354529" sldId="2147473246"/>
            <ac:picMk id="8" creationId="{10893C23-416D-1678-86A4-7E8577702551}"/>
          </ac:picMkLst>
        </pc:picChg>
        <pc:picChg chg="mod">
          <ac:chgData name="Nathan Farquharson" userId="d312bfc7-4201-48a3-a9df-83186336f2dd" providerId="ADAL" clId="{88C89422-1838-494F-AEE6-472139F7E5D1}" dt="2024-07-25T14:25:21.863" v="6029" actId="1038"/>
          <ac:picMkLst>
            <pc:docMk/>
            <pc:sldMk cId="1883354529" sldId="2147473246"/>
            <ac:picMk id="16" creationId="{88D0E05F-96AC-82E4-DD39-0B2AD4BA789F}"/>
          </ac:picMkLst>
        </pc:picChg>
        <pc:picChg chg="mod">
          <ac:chgData name="Nathan Farquharson" userId="d312bfc7-4201-48a3-a9df-83186336f2dd" providerId="ADAL" clId="{88C89422-1838-494F-AEE6-472139F7E5D1}" dt="2024-07-25T14:25:21.863" v="6029" actId="1038"/>
          <ac:picMkLst>
            <pc:docMk/>
            <pc:sldMk cId="1883354529" sldId="2147473246"/>
            <ac:picMk id="17" creationId="{17414220-FC24-AF76-A666-549C40629242}"/>
          </ac:picMkLst>
        </pc:picChg>
        <pc:picChg chg="mod">
          <ac:chgData name="Nathan Farquharson" userId="d312bfc7-4201-48a3-a9df-83186336f2dd" providerId="ADAL" clId="{88C89422-1838-494F-AEE6-472139F7E5D1}" dt="2024-07-25T14:25:12.146" v="6025" actId="12788"/>
          <ac:picMkLst>
            <pc:docMk/>
            <pc:sldMk cId="1883354529" sldId="2147473246"/>
            <ac:picMk id="18" creationId="{9DEB64A8-9A3A-583F-72B1-A23A3031671E}"/>
          </ac:picMkLst>
        </pc:picChg>
        <pc:picChg chg="mod">
          <ac:chgData name="Nathan Farquharson" userId="d312bfc7-4201-48a3-a9df-83186336f2dd" providerId="ADAL" clId="{88C89422-1838-494F-AEE6-472139F7E5D1}" dt="2024-07-25T14:25:21.863" v="6029" actId="1038"/>
          <ac:picMkLst>
            <pc:docMk/>
            <pc:sldMk cId="1883354529" sldId="2147473246"/>
            <ac:picMk id="26" creationId="{99DDFE89-276C-C533-7685-87C7E5B51CC3}"/>
          </ac:picMkLst>
        </pc:picChg>
      </pc:sldChg>
      <pc:sldChg chg="addSp delSp modSp add mod">
        <pc:chgData name="Nathan Farquharson" userId="d312bfc7-4201-48a3-a9df-83186336f2dd" providerId="ADAL" clId="{88C89422-1838-494F-AEE6-472139F7E5D1}" dt="2024-07-24T19:28:07.692" v="2405"/>
        <pc:sldMkLst>
          <pc:docMk/>
          <pc:sldMk cId="2939565954" sldId="2147473247"/>
        </pc:sldMkLst>
        <pc:spChg chg="mod">
          <ac:chgData name="Nathan Farquharson" userId="d312bfc7-4201-48a3-a9df-83186336f2dd" providerId="ADAL" clId="{88C89422-1838-494F-AEE6-472139F7E5D1}" dt="2024-07-24T19:28:07.692" v="2405"/>
          <ac:spMkLst>
            <pc:docMk/>
            <pc:sldMk cId="2939565954" sldId="2147473247"/>
            <ac:spMk id="3" creationId="{FE673426-4C15-5B5B-31EF-3FB32D25E848}"/>
          </ac:spMkLst>
        </pc:spChg>
        <pc:spChg chg="mod">
          <ac:chgData name="Nathan Farquharson" userId="d312bfc7-4201-48a3-a9df-83186336f2dd" providerId="ADAL" clId="{88C89422-1838-494F-AEE6-472139F7E5D1}" dt="2024-07-24T19:24:43.662" v="2354" actId="552"/>
          <ac:spMkLst>
            <pc:docMk/>
            <pc:sldMk cId="2939565954" sldId="2147473247"/>
            <ac:spMk id="5" creationId="{A24D89C7-67E4-D430-14D4-7867C4B56506}"/>
          </ac:spMkLst>
        </pc:spChg>
        <pc:spChg chg="mod">
          <ac:chgData name="Nathan Farquharson" userId="d312bfc7-4201-48a3-a9df-83186336f2dd" providerId="ADAL" clId="{88C89422-1838-494F-AEE6-472139F7E5D1}" dt="2024-07-24T19:25:40.530" v="2363" actId="12"/>
          <ac:spMkLst>
            <pc:docMk/>
            <pc:sldMk cId="2939565954" sldId="2147473247"/>
            <ac:spMk id="7" creationId="{EF0DD59D-2D91-8D1E-A09B-202FE292020B}"/>
          </ac:spMkLst>
        </pc:spChg>
        <pc:spChg chg="mod">
          <ac:chgData name="Nathan Farquharson" userId="d312bfc7-4201-48a3-a9df-83186336f2dd" providerId="ADAL" clId="{88C89422-1838-494F-AEE6-472139F7E5D1}" dt="2024-07-24T19:24:51.202" v="2355" actId="552"/>
          <ac:spMkLst>
            <pc:docMk/>
            <pc:sldMk cId="2939565954" sldId="2147473247"/>
            <ac:spMk id="36" creationId="{A4E27EB7-5114-C881-B6E6-DA7571037F01}"/>
          </ac:spMkLst>
        </pc:spChg>
        <pc:spChg chg="mod">
          <ac:chgData name="Nathan Farquharson" userId="d312bfc7-4201-48a3-a9df-83186336f2dd" providerId="ADAL" clId="{88C89422-1838-494F-AEE6-472139F7E5D1}" dt="2024-07-24T19:25:59.181" v="2374" actId="12"/>
          <ac:spMkLst>
            <pc:docMk/>
            <pc:sldMk cId="2939565954" sldId="2147473247"/>
            <ac:spMk id="38" creationId="{B826233F-0A0D-1697-2DB4-8B76D082B571}"/>
          </ac:spMkLst>
        </pc:spChg>
        <pc:spChg chg="mod">
          <ac:chgData name="Nathan Farquharson" userId="d312bfc7-4201-48a3-a9df-83186336f2dd" providerId="ADAL" clId="{88C89422-1838-494F-AEE6-472139F7E5D1}" dt="2024-07-24T19:25:00.875" v="2356" actId="552"/>
          <ac:spMkLst>
            <pc:docMk/>
            <pc:sldMk cId="2939565954" sldId="2147473247"/>
            <ac:spMk id="39" creationId="{C5FFE3DF-1F81-7604-BE01-BBF612792FC6}"/>
          </ac:spMkLst>
        </pc:spChg>
        <pc:spChg chg="mod">
          <ac:chgData name="Nathan Farquharson" userId="d312bfc7-4201-48a3-a9df-83186336f2dd" providerId="ADAL" clId="{88C89422-1838-494F-AEE6-472139F7E5D1}" dt="2024-07-24T19:26:13.191" v="2379" actId="12"/>
          <ac:spMkLst>
            <pc:docMk/>
            <pc:sldMk cId="2939565954" sldId="2147473247"/>
            <ac:spMk id="41" creationId="{E7968065-9374-C64B-B3DB-458E18B8E0DF}"/>
          </ac:spMkLst>
        </pc:spChg>
        <pc:spChg chg="mod">
          <ac:chgData name="Nathan Farquharson" userId="d312bfc7-4201-48a3-a9df-83186336f2dd" providerId="ADAL" clId="{88C89422-1838-494F-AEE6-472139F7E5D1}" dt="2024-07-24T19:24:32.233" v="2353" actId="552"/>
          <ac:spMkLst>
            <pc:docMk/>
            <pc:sldMk cId="2939565954" sldId="2147473247"/>
            <ac:spMk id="53" creationId="{BF51A801-43F6-0B17-C062-55AFE8F0B208}"/>
          </ac:spMkLst>
        </pc:spChg>
        <pc:spChg chg="mod">
          <ac:chgData name="Nathan Farquharson" userId="d312bfc7-4201-48a3-a9df-83186336f2dd" providerId="ADAL" clId="{88C89422-1838-494F-AEE6-472139F7E5D1}" dt="2024-07-24T19:26:42.958" v="2384" actId="12"/>
          <ac:spMkLst>
            <pc:docMk/>
            <pc:sldMk cId="2939565954" sldId="2147473247"/>
            <ac:spMk id="55" creationId="{20D1C06E-3928-8EEF-26C2-882E19C98EB2}"/>
          </ac:spMkLst>
        </pc:spChg>
        <pc:spChg chg="mod">
          <ac:chgData name="Nathan Farquharson" userId="d312bfc7-4201-48a3-a9df-83186336f2dd" providerId="ADAL" clId="{88C89422-1838-494F-AEE6-472139F7E5D1}" dt="2024-07-24T19:25:18.833" v="2358" actId="552"/>
          <ac:spMkLst>
            <pc:docMk/>
            <pc:sldMk cId="2939565954" sldId="2147473247"/>
            <ac:spMk id="56" creationId="{AAEB690F-B8B8-4DCF-6226-FD53CEA11585}"/>
          </ac:spMkLst>
        </pc:spChg>
        <pc:spChg chg="mod">
          <ac:chgData name="Nathan Farquharson" userId="d312bfc7-4201-48a3-a9df-83186336f2dd" providerId="ADAL" clId="{88C89422-1838-494F-AEE6-472139F7E5D1}" dt="2024-07-24T19:26:57.478" v="2389" actId="12"/>
          <ac:spMkLst>
            <pc:docMk/>
            <pc:sldMk cId="2939565954" sldId="2147473247"/>
            <ac:spMk id="58" creationId="{8D33FD96-020D-6856-00A3-CE5B98D25D73}"/>
          </ac:spMkLst>
        </pc:spChg>
        <pc:spChg chg="mod">
          <ac:chgData name="Nathan Farquharson" userId="d312bfc7-4201-48a3-a9df-83186336f2dd" providerId="ADAL" clId="{88C89422-1838-494F-AEE6-472139F7E5D1}" dt="2024-07-24T19:25:11.717" v="2357" actId="552"/>
          <ac:spMkLst>
            <pc:docMk/>
            <pc:sldMk cId="2939565954" sldId="2147473247"/>
            <ac:spMk id="59" creationId="{2E1ED12F-0948-9C8E-F425-5356C1937A9D}"/>
          </ac:spMkLst>
        </pc:spChg>
        <pc:spChg chg="mod">
          <ac:chgData name="Nathan Farquharson" userId="d312bfc7-4201-48a3-a9df-83186336f2dd" providerId="ADAL" clId="{88C89422-1838-494F-AEE6-472139F7E5D1}" dt="2024-07-24T19:27:48.061" v="2404" actId="20577"/>
          <ac:spMkLst>
            <pc:docMk/>
            <pc:sldMk cId="2939565954" sldId="2147473247"/>
            <ac:spMk id="61" creationId="{EBA54F3A-8639-BA10-BC9A-82B5D60410C9}"/>
          </ac:spMkLst>
        </pc:spChg>
        <pc:picChg chg="add mod">
          <ac:chgData name="Nathan Farquharson" userId="d312bfc7-4201-48a3-a9df-83186336f2dd" providerId="ADAL" clId="{88C89422-1838-494F-AEE6-472139F7E5D1}" dt="2024-07-24T19:24:43.662" v="2354" actId="552"/>
          <ac:picMkLst>
            <pc:docMk/>
            <pc:sldMk cId="2939565954" sldId="2147473247"/>
            <ac:picMk id="2" creationId="{9CBAD16F-015F-88B3-0866-A4FC11F67054}"/>
          </ac:picMkLst>
        </pc:picChg>
        <pc:picChg chg="add mod">
          <ac:chgData name="Nathan Farquharson" userId="d312bfc7-4201-48a3-a9df-83186336f2dd" providerId="ADAL" clId="{88C89422-1838-494F-AEE6-472139F7E5D1}" dt="2024-07-24T19:24:51.202" v="2355" actId="552"/>
          <ac:picMkLst>
            <pc:docMk/>
            <pc:sldMk cId="2939565954" sldId="2147473247"/>
            <ac:picMk id="4" creationId="{CEFE0AE4-D4B1-4F19-1687-1D06D8665C7D}"/>
          </ac:picMkLst>
        </pc:picChg>
        <pc:picChg chg="add mod">
          <ac:chgData name="Nathan Farquharson" userId="d312bfc7-4201-48a3-a9df-83186336f2dd" providerId="ADAL" clId="{88C89422-1838-494F-AEE6-472139F7E5D1}" dt="2024-07-24T19:25:00.875" v="2356" actId="552"/>
          <ac:picMkLst>
            <pc:docMk/>
            <pc:sldMk cId="2939565954" sldId="2147473247"/>
            <ac:picMk id="8" creationId="{FD747428-F606-E743-E58A-624AC9F32AE1}"/>
          </ac:picMkLst>
        </pc:picChg>
        <pc:picChg chg="add mod">
          <ac:chgData name="Nathan Farquharson" userId="d312bfc7-4201-48a3-a9df-83186336f2dd" providerId="ADAL" clId="{88C89422-1838-494F-AEE6-472139F7E5D1}" dt="2024-07-24T19:24:32.233" v="2353" actId="552"/>
          <ac:picMkLst>
            <pc:docMk/>
            <pc:sldMk cId="2939565954" sldId="2147473247"/>
            <ac:picMk id="9" creationId="{AE96CEF1-613E-B37A-94A3-B5A398A7FE43}"/>
          </ac:picMkLst>
        </pc:picChg>
        <pc:picChg chg="add mod">
          <ac:chgData name="Nathan Farquharson" userId="d312bfc7-4201-48a3-a9df-83186336f2dd" providerId="ADAL" clId="{88C89422-1838-494F-AEE6-472139F7E5D1}" dt="2024-07-24T19:25:18.833" v="2358" actId="552"/>
          <ac:picMkLst>
            <pc:docMk/>
            <pc:sldMk cId="2939565954" sldId="2147473247"/>
            <ac:picMk id="10" creationId="{3DBCE2F2-BAB3-79A7-9BA9-B90CF85F0395}"/>
          </ac:picMkLst>
        </pc:picChg>
        <pc:picChg chg="add mod">
          <ac:chgData name="Nathan Farquharson" userId="d312bfc7-4201-48a3-a9df-83186336f2dd" providerId="ADAL" clId="{88C89422-1838-494F-AEE6-472139F7E5D1}" dt="2024-07-24T19:25:11.717" v="2357" actId="552"/>
          <ac:picMkLst>
            <pc:docMk/>
            <pc:sldMk cId="2939565954" sldId="2147473247"/>
            <ac:picMk id="11" creationId="{E74911CB-0815-9B0A-0126-624E8950DF4E}"/>
          </ac:picMkLst>
        </pc:picChg>
        <pc:picChg chg="del">
          <ac:chgData name="Nathan Farquharson" userId="d312bfc7-4201-48a3-a9df-83186336f2dd" providerId="ADAL" clId="{88C89422-1838-494F-AEE6-472139F7E5D1}" dt="2024-07-24T19:21:05.402" v="2290" actId="478"/>
          <ac:picMkLst>
            <pc:docMk/>
            <pc:sldMk cId="2939565954" sldId="2147473247"/>
            <ac:picMk id="42" creationId="{9C85D4B5-5A74-07AD-D7C1-5BE64E2BFD46}"/>
          </ac:picMkLst>
        </pc:picChg>
        <pc:picChg chg="del mod">
          <ac:chgData name="Nathan Farquharson" userId="d312bfc7-4201-48a3-a9df-83186336f2dd" providerId="ADAL" clId="{88C89422-1838-494F-AEE6-472139F7E5D1}" dt="2024-07-24T19:22:11.635" v="2306" actId="478"/>
          <ac:picMkLst>
            <pc:docMk/>
            <pc:sldMk cId="2939565954" sldId="2147473247"/>
            <ac:picMk id="46" creationId="{BCD88FE4-0801-DED7-926B-505EEAC3F8C3}"/>
          </ac:picMkLst>
        </pc:picChg>
        <pc:picChg chg="del">
          <ac:chgData name="Nathan Farquharson" userId="d312bfc7-4201-48a3-a9df-83186336f2dd" providerId="ADAL" clId="{88C89422-1838-494F-AEE6-472139F7E5D1}" dt="2024-07-24T19:22:35.099" v="2313" actId="478"/>
          <ac:picMkLst>
            <pc:docMk/>
            <pc:sldMk cId="2939565954" sldId="2147473247"/>
            <ac:picMk id="48" creationId="{1BA43D6D-0261-DA8D-D943-CCC097F0D116}"/>
          </ac:picMkLst>
        </pc:picChg>
        <pc:picChg chg="del">
          <ac:chgData name="Nathan Farquharson" userId="d312bfc7-4201-48a3-a9df-83186336f2dd" providerId="ADAL" clId="{88C89422-1838-494F-AEE6-472139F7E5D1}" dt="2024-07-24T19:23:09.702" v="2319" actId="478"/>
          <ac:picMkLst>
            <pc:docMk/>
            <pc:sldMk cId="2939565954" sldId="2147473247"/>
            <ac:picMk id="63" creationId="{0A759516-2CE4-40D9-9CB3-61E1E1FF8719}"/>
          </ac:picMkLst>
        </pc:picChg>
        <pc:picChg chg="del">
          <ac:chgData name="Nathan Farquharson" userId="d312bfc7-4201-48a3-a9df-83186336f2dd" providerId="ADAL" clId="{88C89422-1838-494F-AEE6-472139F7E5D1}" dt="2024-07-24T19:23:23.524" v="2322" actId="478"/>
          <ac:picMkLst>
            <pc:docMk/>
            <pc:sldMk cId="2939565954" sldId="2147473247"/>
            <ac:picMk id="66" creationId="{B38CB46A-6D45-75DF-4C79-4AEB02D2DFB0}"/>
          </ac:picMkLst>
        </pc:picChg>
        <pc:picChg chg="del">
          <ac:chgData name="Nathan Farquharson" userId="d312bfc7-4201-48a3-a9df-83186336f2dd" providerId="ADAL" clId="{88C89422-1838-494F-AEE6-472139F7E5D1}" dt="2024-07-24T19:23:39.609" v="2326" actId="478"/>
          <ac:picMkLst>
            <pc:docMk/>
            <pc:sldMk cId="2939565954" sldId="2147473247"/>
            <ac:picMk id="68" creationId="{B30BD865-2632-188C-0378-E5F58985D874}"/>
          </ac:picMkLst>
        </pc:picChg>
        <pc:cxnChg chg="mod">
          <ac:chgData name="Nathan Farquharson" userId="d312bfc7-4201-48a3-a9df-83186336f2dd" providerId="ADAL" clId="{88C89422-1838-494F-AEE6-472139F7E5D1}" dt="2024-07-24T19:24:43.662" v="2354" actId="552"/>
          <ac:cxnSpMkLst>
            <pc:docMk/>
            <pc:sldMk cId="2939565954" sldId="2147473247"/>
            <ac:cxnSpMk id="6" creationId="{AD7C2A0B-6099-0BC4-7ABA-3D178D9AAEB8}"/>
          </ac:cxnSpMkLst>
        </pc:cxnChg>
        <pc:cxnChg chg="mod">
          <ac:chgData name="Nathan Farquharson" userId="d312bfc7-4201-48a3-a9df-83186336f2dd" providerId="ADAL" clId="{88C89422-1838-494F-AEE6-472139F7E5D1}" dt="2024-07-24T19:24:51.202" v="2355" actId="552"/>
          <ac:cxnSpMkLst>
            <pc:docMk/>
            <pc:sldMk cId="2939565954" sldId="2147473247"/>
            <ac:cxnSpMk id="37" creationId="{BC5CCF75-15E0-781B-A0B3-78BD1BB5DD7F}"/>
          </ac:cxnSpMkLst>
        </pc:cxnChg>
        <pc:cxnChg chg="mod">
          <ac:chgData name="Nathan Farquharson" userId="d312bfc7-4201-48a3-a9df-83186336f2dd" providerId="ADAL" clId="{88C89422-1838-494F-AEE6-472139F7E5D1}" dt="2024-07-24T19:25:00.875" v="2356" actId="552"/>
          <ac:cxnSpMkLst>
            <pc:docMk/>
            <pc:sldMk cId="2939565954" sldId="2147473247"/>
            <ac:cxnSpMk id="40" creationId="{4B4FA4C7-98B2-9790-C593-8F886E5B9CEB}"/>
          </ac:cxnSpMkLst>
        </pc:cxnChg>
        <pc:cxnChg chg="mod">
          <ac:chgData name="Nathan Farquharson" userId="d312bfc7-4201-48a3-a9df-83186336f2dd" providerId="ADAL" clId="{88C89422-1838-494F-AEE6-472139F7E5D1}" dt="2024-07-24T19:24:32.233" v="2353" actId="552"/>
          <ac:cxnSpMkLst>
            <pc:docMk/>
            <pc:sldMk cId="2939565954" sldId="2147473247"/>
            <ac:cxnSpMk id="54" creationId="{64427384-0D48-76EF-32E2-195E37947BAA}"/>
          </ac:cxnSpMkLst>
        </pc:cxnChg>
        <pc:cxnChg chg="mod">
          <ac:chgData name="Nathan Farquharson" userId="d312bfc7-4201-48a3-a9df-83186336f2dd" providerId="ADAL" clId="{88C89422-1838-494F-AEE6-472139F7E5D1}" dt="2024-07-24T19:25:18.833" v="2358" actId="552"/>
          <ac:cxnSpMkLst>
            <pc:docMk/>
            <pc:sldMk cId="2939565954" sldId="2147473247"/>
            <ac:cxnSpMk id="57" creationId="{2C9B1D8E-B470-7EEF-FFEE-671E50BD1166}"/>
          </ac:cxnSpMkLst>
        </pc:cxnChg>
        <pc:cxnChg chg="mod">
          <ac:chgData name="Nathan Farquharson" userId="d312bfc7-4201-48a3-a9df-83186336f2dd" providerId="ADAL" clId="{88C89422-1838-494F-AEE6-472139F7E5D1}" dt="2024-07-24T19:25:11.717" v="2357" actId="552"/>
          <ac:cxnSpMkLst>
            <pc:docMk/>
            <pc:sldMk cId="2939565954" sldId="2147473247"/>
            <ac:cxnSpMk id="60" creationId="{3345966C-2584-EBFF-8F6F-6CC56B4EAAF8}"/>
          </ac:cxnSpMkLst>
        </pc:cxnChg>
      </pc:sldChg>
      <pc:sldChg chg="modSp add mod">
        <pc:chgData name="Nathan Farquharson" userId="d312bfc7-4201-48a3-a9df-83186336f2dd" providerId="ADAL" clId="{88C89422-1838-494F-AEE6-472139F7E5D1}" dt="2024-07-25T18:00:03.897" v="6417" actId="20577"/>
        <pc:sldMkLst>
          <pc:docMk/>
          <pc:sldMk cId="975883678" sldId="2147473248"/>
        </pc:sldMkLst>
        <pc:spChg chg="mod">
          <ac:chgData name="Nathan Farquharson" userId="d312bfc7-4201-48a3-a9df-83186336f2dd" providerId="ADAL" clId="{88C89422-1838-494F-AEE6-472139F7E5D1}" dt="2024-07-24T21:16:51.451" v="4190" actId="20577"/>
          <ac:spMkLst>
            <pc:docMk/>
            <pc:sldMk cId="975883678" sldId="2147473248"/>
            <ac:spMk id="5" creationId="{77CA0603-3173-D0FE-613F-644D4987045A}"/>
          </ac:spMkLst>
        </pc:spChg>
        <pc:spChg chg="mod">
          <ac:chgData name="Nathan Farquharson" userId="d312bfc7-4201-48a3-a9df-83186336f2dd" providerId="ADAL" clId="{88C89422-1838-494F-AEE6-472139F7E5D1}" dt="2024-07-24T22:47:01.044" v="4871" actId="1037"/>
          <ac:spMkLst>
            <pc:docMk/>
            <pc:sldMk cId="975883678" sldId="2147473248"/>
            <ac:spMk id="6" creationId="{A1FCD546-7266-F9CA-CC1A-1EEF3811C21D}"/>
          </ac:spMkLst>
        </pc:spChg>
        <pc:spChg chg="mod">
          <ac:chgData name="Nathan Farquharson" userId="d312bfc7-4201-48a3-a9df-83186336f2dd" providerId="ADAL" clId="{88C89422-1838-494F-AEE6-472139F7E5D1}" dt="2024-07-24T22:46:45.284" v="4859" actId="14100"/>
          <ac:spMkLst>
            <pc:docMk/>
            <pc:sldMk cId="975883678" sldId="2147473248"/>
            <ac:spMk id="8" creationId="{1CE093A3-A4E7-ED72-B70B-0CB3F3449146}"/>
          </ac:spMkLst>
        </pc:spChg>
        <pc:spChg chg="mod">
          <ac:chgData name="Nathan Farquharson" userId="d312bfc7-4201-48a3-a9df-83186336f2dd" providerId="ADAL" clId="{88C89422-1838-494F-AEE6-472139F7E5D1}" dt="2024-07-25T17:59:29.310" v="6393" actId="1076"/>
          <ac:spMkLst>
            <pc:docMk/>
            <pc:sldMk cId="975883678" sldId="2147473248"/>
            <ac:spMk id="9" creationId="{0ECCBAAC-6E26-65EC-968A-810CBB9ACB1C}"/>
          </ac:spMkLst>
        </pc:spChg>
        <pc:spChg chg="mod">
          <ac:chgData name="Nathan Farquharson" userId="d312bfc7-4201-48a3-a9df-83186336f2dd" providerId="ADAL" clId="{88C89422-1838-494F-AEE6-472139F7E5D1}" dt="2024-07-25T18:00:03.897" v="6417" actId="20577"/>
          <ac:spMkLst>
            <pc:docMk/>
            <pc:sldMk cId="975883678" sldId="2147473248"/>
            <ac:spMk id="11" creationId="{BCB3E32B-891A-0142-EF79-3CA99F8C85C9}"/>
          </ac:spMkLst>
        </pc:spChg>
        <pc:spChg chg="mod">
          <ac:chgData name="Nathan Farquharson" userId="d312bfc7-4201-48a3-a9df-83186336f2dd" providerId="ADAL" clId="{88C89422-1838-494F-AEE6-472139F7E5D1}" dt="2024-07-24T22:46:30.210" v="4857" actId="403"/>
          <ac:spMkLst>
            <pc:docMk/>
            <pc:sldMk cId="975883678" sldId="2147473248"/>
            <ac:spMk id="12" creationId="{BCBF67E6-E5F9-0DB9-2FD3-157A72E7479F}"/>
          </ac:spMkLst>
        </pc:spChg>
        <pc:spChg chg="mod">
          <ac:chgData name="Nathan Farquharson" userId="d312bfc7-4201-48a3-a9df-83186336f2dd" providerId="ADAL" clId="{88C89422-1838-494F-AEE6-472139F7E5D1}" dt="2024-07-24T22:46:45.284" v="4859" actId="14100"/>
          <ac:spMkLst>
            <pc:docMk/>
            <pc:sldMk cId="975883678" sldId="2147473248"/>
            <ac:spMk id="14" creationId="{026142B9-0651-1F4E-5AA6-EB8263B3340B}"/>
          </ac:spMkLst>
        </pc:spChg>
        <pc:spChg chg="mod">
          <ac:chgData name="Nathan Farquharson" userId="d312bfc7-4201-48a3-a9df-83186336f2dd" providerId="ADAL" clId="{88C89422-1838-494F-AEE6-472139F7E5D1}" dt="2024-07-24T22:46:30.210" v="4857" actId="403"/>
          <ac:spMkLst>
            <pc:docMk/>
            <pc:sldMk cId="975883678" sldId="2147473248"/>
            <ac:spMk id="15" creationId="{643F7EB3-4069-470F-086D-6E98C31D04EB}"/>
          </ac:spMkLst>
        </pc:spChg>
        <pc:spChg chg="mod">
          <ac:chgData name="Nathan Farquharson" userId="d312bfc7-4201-48a3-a9df-83186336f2dd" providerId="ADAL" clId="{88C89422-1838-494F-AEE6-472139F7E5D1}" dt="2024-07-24T22:46:45.284" v="4859" actId="14100"/>
          <ac:spMkLst>
            <pc:docMk/>
            <pc:sldMk cId="975883678" sldId="2147473248"/>
            <ac:spMk id="17" creationId="{7CAA1E37-205A-F60F-0FC4-AFB05A768C8B}"/>
          </ac:spMkLst>
        </pc:spChg>
        <pc:spChg chg="mod">
          <ac:chgData name="Nathan Farquharson" userId="d312bfc7-4201-48a3-a9df-83186336f2dd" providerId="ADAL" clId="{88C89422-1838-494F-AEE6-472139F7E5D1}" dt="2024-07-24T22:46:30.210" v="4857" actId="403"/>
          <ac:spMkLst>
            <pc:docMk/>
            <pc:sldMk cId="975883678" sldId="2147473248"/>
            <ac:spMk id="18" creationId="{2CFC5DFA-34A9-7DE4-EB59-996283F23FCC}"/>
          </ac:spMkLst>
        </pc:spChg>
        <pc:spChg chg="mod">
          <ac:chgData name="Nathan Farquharson" userId="d312bfc7-4201-48a3-a9df-83186336f2dd" providerId="ADAL" clId="{88C89422-1838-494F-AEE6-472139F7E5D1}" dt="2024-07-24T19:52:47.827" v="2475" actId="207"/>
          <ac:spMkLst>
            <pc:docMk/>
            <pc:sldMk cId="975883678" sldId="2147473248"/>
            <ac:spMk id="24" creationId="{45E25133-FAF6-166D-4106-1C2D8BA3CA2E}"/>
          </ac:spMkLst>
        </pc:spChg>
        <pc:cxnChg chg="mod">
          <ac:chgData name="Nathan Farquharson" userId="d312bfc7-4201-48a3-a9df-83186336f2dd" providerId="ADAL" clId="{88C89422-1838-494F-AEE6-472139F7E5D1}" dt="2024-07-24T22:47:01.044" v="4871" actId="1037"/>
          <ac:cxnSpMkLst>
            <pc:docMk/>
            <pc:sldMk cId="975883678" sldId="2147473248"/>
            <ac:cxnSpMk id="7" creationId="{D53D8713-E08F-9566-166A-5A48F109F304}"/>
          </ac:cxnSpMkLst>
        </pc:cxnChg>
        <pc:cxnChg chg="mod">
          <ac:chgData name="Nathan Farquharson" userId="d312bfc7-4201-48a3-a9df-83186336f2dd" providerId="ADAL" clId="{88C89422-1838-494F-AEE6-472139F7E5D1}" dt="2024-07-24T19:53:21.955" v="2481" actId="208"/>
          <ac:cxnSpMkLst>
            <pc:docMk/>
            <pc:sldMk cId="975883678" sldId="2147473248"/>
            <ac:cxnSpMk id="25" creationId="{171F11E6-4411-07F9-8D69-48157F8F96FD}"/>
          </ac:cxnSpMkLst>
        </pc:cxnChg>
      </pc:sldChg>
      <pc:sldChg chg="addSp delSp modSp add mod ord">
        <pc:chgData name="Nathan Farquharson" userId="d312bfc7-4201-48a3-a9df-83186336f2dd" providerId="ADAL" clId="{88C89422-1838-494F-AEE6-472139F7E5D1}" dt="2024-07-25T14:23:56.312" v="5998" actId="14100"/>
        <pc:sldMkLst>
          <pc:docMk/>
          <pc:sldMk cId="4169272708" sldId="2147473249"/>
        </pc:sldMkLst>
        <pc:spChg chg="del">
          <ac:chgData name="Nathan Farquharson" userId="d312bfc7-4201-48a3-a9df-83186336f2dd" providerId="ADAL" clId="{88C89422-1838-494F-AEE6-472139F7E5D1}" dt="2024-07-24T20:12:57.773" v="2928" actId="478"/>
          <ac:spMkLst>
            <pc:docMk/>
            <pc:sldMk cId="4169272708" sldId="2147473249"/>
            <ac:spMk id="2" creationId="{2E48BB1B-A17D-E9AB-7609-DC278E074DEA}"/>
          </ac:spMkLst>
        </pc:spChg>
        <pc:spChg chg="del mod">
          <ac:chgData name="Nathan Farquharson" userId="d312bfc7-4201-48a3-a9df-83186336f2dd" providerId="ADAL" clId="{88C89422-1838-494F-AEE6-472139F7E5D1}" dt="2024-07-24T21:00:21.110" v="4135" actId="478"/>
          <ac:spMkLst>
            <pc:docMk/>
            <pc:sldMk cId="4169272708" sldId="2147473249"/>
            <ac:spMk id="4" creationId="{AF951E11-6F34-B97C-E160-5E658A2642A1}"/>
          </ac:spMkLst>
        </pc:spChg>
        <pc:spChg chg="mod">
          <ac:chgData name="Nathan Farquharson" userId="d312bfc7-4201-48a3-a9df-83186336f2dd" providerId="ADAL" clId="{88C89422-1838-494F-AEE6-472139F7E5D1}" dt="2024-07-25T13:33:47.370" v="5991" actId="20577"/>
          <ac:spMkLst>
            <pc:docMk/>
            <pc:sldMk cId="4169272708" sldId="2147473249"/>
            <ac:spMk id="7" creationId="{3C1C9D04-B96F-4BA9-0FC3-B834FF807252}"/>
          </ac:spMkLst>
        </pc:spChg>
        <pc:spChg chg="mod">
          <ac:chgData name="Nathan Farquharson" userId="d312bfc7-4201-48a3-a9df-83186336f2dd" providerId="ADAL" clId="{88C89422-1838-494F-AEE6-472139F7E5D1}" dt="2024-07-24T20:32:05.827" v="3310" actId="1036"/>
          <ac:spMkLst>
            <pc:docMk/>
            <pc:sldMk cId="4169272708" sldId="2147473249"/>
            <ac:spMk id="14" creationId="{2012AEE7-565D-4808-EFFE-12CF21971ABB}"/>
          </ac:spMkLst>
        </pc:spChg>
        <pc:spChg chg="mod">
          <ac:chgData name="Nathan Farquharson" userId="d312bfc7-4201-48a3-a9df-83186336f2dd" providerId="ADAL" clId="{88C89422-1838-494F-AEE6-472139F7E5D1}" dt="2024-07-24T20:54:42.072" v="4076" actId="1076"/>
          <ac:spMkLst>
            <pc:docMk/>
            <pc:sldMk cId="4169272708" sldId="2147473249"/>
            <ac:spMk id="15" creationId="{E8620D18-9F9B-19DB-DE81-7FBF76DFEFB9}"/>
          </ac:spMkLst>
        </pc:spChg>
        <pc:spChg chg="mod">
          <ac:chgData name="Nathan Farquharson" userId="d312bfc7-4201-48a3-a9df-83186336f2dd" providerId="ADAL" clId="{88C89422-1838-494F-AEE6-472139F7E5D1}" dt="2024-07-25T14:23:48.194" v="5997" actId="1076"/>
          <ac:spMkLst>
            <pc:docMk/>
            <pc:sldMk cId="4169272708" sldId="2147473249"/>
            <ac:spMk id="16" creationId="{BCAA987C-C193-9905-16D5-A2CF46BFC75E}"/>
          </ac:spMkLst>
        </pc:spChg>
        <pc:spChg chg="add del mod">
          <ac:chgData name="Nathan Farquharson" userId="d312bfc7-4201-48a3-a9df-83186336f2dd" providerId="ADAL" clId="{88C89422-1838-494F-AEE6-472139F7E5D1}" dt="2024-07-24T20:32:09.549" v="3311" actId="478"/>
          <ac:spMkLst>
            <pc:docMk/>
            <pc:sldMk cId="4169272708" sldId="2147473249"/>
            <ac:spMk id="48" creationId="{DFC0AFA6-DDA3-90FA-D928-93FC46872D5B}"/>
          </ac:spMkLst>
        </pc:spChg>
        <pc:spChg chg="add mod">
          <ac:chgData name="Nathan Farquharson" userId="d312bfc7-4201-48a3-a9df-83186336f2dd" providerId="ADAL" clId="{88C89422-1838-494F-AEE6-472139F7E5D1}" dt="2024-07-25T00:16:34.148" v="5990" actId="1035"/>
          <ac:spMkLst>
            <pc:docMk/>
            <pc:sldMk cId="4169272708" sldId="2147473249"/>
            <ac:spMk id="55" creationId="{3890F992-C765-9ED6-5B43-E7228208DD1D}"/>
          </ac:spMkLst>
        </pc:spChg>
        <pc:spChg chg="mod">
          <ac:chgData name="Nathan Farquharson" userId="d312bfc7-4201-48a3-a9df-83186336f2dd" providerId="ADAL" clId="{88C89422-1838-494F-AEE6-472139F7E5D1}" dt="2024-07-24T20:32:05.827" v="3310" actId="1036"/>
          <ac:spMkLst>
            <pc:docMk/>
            <pc:sldMk cId="4169272708" sldId="2147473249"/>
            <ac:spMk id="4102" creationId="{962A6BD8-CF89-CDA8-FC41-1FA03D625066}"/>
          </ac:spMkLst>
        </pc:spChg>
        <pc:spChg chg="mod">
          <ac:chgData name="Nathan Farquharson" userId="d312bfc7-4201-48a3-a9df-83186336f2dd" providerId="ADAL" clId="{88C89422-1838-494F-AEE6-472139F7E5D1}" dt="2024-07-24T20:32:05.827" v="3310" actId="1036"/>
          <ac:spMkLst>
            <pc:docMk/>
            <pc:sldMk cId="4169272708" sldId="2147473249"/>
            <ac:spMk id="4103" creationId="{5149B48F-3CFC-7E93-9FF6-306A63127148}"/>
          </ac:spMkLst>
        </pc:spChg>
        <pc:spChg chg="mod">
          <ac:chgData name="Nathan Farquharson" userId="d312bfc7-4201-48a3-a9df-83186336f2dd" providerId="ADAL" clId="{88C89422-1838-494F-AEE6-472139F7E5D1}" dt="2024-07-24T20:32:05.827" v="3310" actId="1036"/>
          <ac:spMkLst>
            <pc:docMk/>
            <pc:sldMk cId="4169272708" sldId="2147473249"/>
            <ac:spMk id="4104" creationId="{450B21F5-8711-90A3-3CCA-F99731F2B356}"/>
          </ac:spMkLst>
        </pc:spChg>
        <pc:spChg chg="mod">
          <ac:chgData name="Nathan Farquharson" userId="d312bfc7-4201-48a3-a9df-83186336f2dd" providerId="ADAL" clId="{88C89422-1838-494F-AEE6-472139F7E5D1}" dt="2024-07-24T23:39:21.785" v="5254" actId="20577"/>
          <ac:spMkLst>
            <pc:docMk/>
            <pc:sldMk cId="4169272708" sldId="2147473249"/>
            <ac:spMk id="4114" creationId="{0EEDD65D-E0EA-43AE-D46F-8D1195B5F648}"/>
          </ac:spMkLst>
        </pc:spChg>
        <pc:spChg chg="mod">
          <ac:chgData name="Nathan Farquharson" userId="d312bfc7-4201-48a3-a9df-83186336f2dd" providerId="ADAL" clId="{88C89422-1838-494F-AEE6-472139F7E5D1}" dt="2024-07-25T14:23:43.696" v="5996" actId="14100"/>
          <ac:spMkLst>
            <pc:docMk/>
            <pc:sldMk cId="4169272708" sldId="2147473249"/>
            <ac:spMk id="4115" creationId="{CB0603EB-93EE-D2FB-CB25-A97D8C7F50C2}"/>
          </ac:spMkLst>
        </pc:spChg>
        <pc:grpChg chg="mod">
          <ac:chgData name="Nathan Farquharson" userId="d312bfc7-4201-48a3-a9df-83186336f2dd" providerId="ADAL" clId="{88C89422-1838-494F-AEE6-472139F7E5D1}" dt="2024-07-24T20:32:05.827" v="3310" actId="1036"/>
          <ac:grpSpMkLst>
            <pc:docMk/>
            <pc:sldMk cId="4169272708" sldId="2147473249"/>
            <ac:grpSpMk id="4101" creationId="{25145286-E8EC-47C4-A72C-227663DFD981}"/>
          </ac:grpSpMkLst>
        </pc:grpChg>
        <pc:cxnChg chg="mod">
          <ac:chgData name="Nathan Farquharson" userId="d312bfc7-4201-48a3-a9df-83186336f2dd" providerId="ADAL" clId="{88C89422-1838-494F-AEE6-472139F7E5D1}" dt="2024-07-24T20:01:41.728" v="2579" actId="208"/>
          <ac:cxnSpMkLst>
            <pc:docMk/>
            <pc:sldMk cId="4169272708" sldId="2147473249"/>
            <ac:cxnSpMk id="12" creationId="{B55316B0-DB1F-B3A9-E088-17652CF86109}"/>
          </ac:cxnSpMkLst>
        </pc:cxnChg>
        <pc:cxnChg chg="mod">
          <ac:chgData name="Nathan Farquharson" userId="d312bfc7-4201-48a3-a9df-83186336f2dd" providerId="ADAL" clId="{88C89422-1838-494F-AEE6-472139F7E5D1}" dt="2024-07-24T20:01:32.785" v="2578" actId="208"/>
          <ac:cxnSpMkLst>
            <pc:docMk/>
            <pc:sldMk cId="4169272708" sldId="2147473249"/>
            <ac:cxnSpMk id="22" creationId="{092F9846-3E5E-1011-7D1A-CD4655D1BB5F}"/>
          </ac:cxnSpMkLst>
        </pc:cxnChg>
        <pc:cxnChg chg="mod">
          <ac:chgData name="Nathan Farquharson" userId="d312bfc7-4201-48a3-a9df-83186336f2dd" providerId="ADAL" clId="{88C89422-1838-494F-AEE6-472139F7E5D1}" dt="2024-07-24T20:07:15.417" v="2809" actId="208"/>
          <ac:cxnSpMkLst>
            <pc:docMk/>
            <pc:sldMk cId="4169272708" sldId="2147473249"/>
            <ac:cxnSpMk id="23" creationId="{091D3510-838E-6756-7AB6-E084E32CF84A}"/>
          </ac:cxnSpMkLst>
        </pc:cxnChg>
        <pc:cxnChg chg="mod">
          <ac:chgData name="Nathan Farquharson" userId="d312bfc7-4201-48a3-a9df-83186336f2dd" providerId="ADAL" clId="{88C89422-1838-494F-AEE6-472139F7E5D1}" dt="2024-07-24T20:07:15.417" v="2809" actId="208"/>
          <ac:cxnSpMkLst>
            <pc:docMk/>
            <pc:sldMk cId="4169272708" sldId="2147473249"/>
            <ac:cxnSpMk id="24" creationId="{D1A503BC-17F2-41F4-994E-D127F7331E64}"/>
          </ac:cxnSpMkLst>
        </pc:cxnChg>
        <pc:cxnChg chg="mod">
          <ac:chgData name="Nathan Farquharson" userId="d312bfc7-4201-48a3-a9df-83186336f2dd" providerId="ADAL" clId="{88C89422-1838-494F-AEE6-472139F7E5D1}" dt="2024-07-24T20:07:15.417" v="2809" actId="208"/>
          <ac:cxnSpMkLst>
            <pc:docMk/>
            <pc:sldMk cId="4169272708" sldId="2147473249"/>
            <ac:cxnSpMk id="25" creationId="{299C22D7-6591-CDF1-2EA7-5C90F124FA06}"/>
          </ac:cxnSpMkLst>
        </pc:cxnChg>
        <pc:cxnChg chg="mod">
          <ac:chgData name="Nathan Farquharson" userId="d312bfc7-4201-48a3-a9df-83186336f2dd" providerId="ADAL" clId="{88C89422-1838-494F-AEE6-472139F7E5D1}" dt="2024-07-24T20:07:15.417" v="2809" actId="208"/>
          <ac:cxnSpMkLst>
            <pc:docMk/>
            <pc:sldMk cId="4169272708" sldId="2147473249"/>
            <ac:cxnSpMk id="26" creationId="{FF3CDBAB-E15A-C4D1-3269-339C58F68650}"/>
          </ac:cxnSpMkLst>
        </pc:cxnChg>
        <pc:cxnChg chg="mod">
          <ac:chgData name="Nathan Farquharson" userId="d312bfc7-4201-48a3-a9df-83186336f2dd" providerId="ADAL" clId="{88C89422-1838-494F-AEE6-472139F7E5D1}" dt="2024-07-24T20:07:26.545" v="2811" actId="208"/>
          <ac:cxnSpMkLst>
            <pc:docMk/>
            <pc:sldMk cId="4169272708" sldId="2147473249"/>
            <ac:cxnSpMk id="27" creationId="{677AEEC4-4F86-E570-7DD0-36C95B31E444}"/>
          </ac:cxnSpMkLst>
        </pc:cxnChg>
        <pc:cxnChg chg="mod">
          <ac:chgData name="Nathan Farquharson" userId="d312bfc7-4201-48a3-a9df-83186336f2dd" providerId="ADAL" clId="{88C89422-1838-494F-AEE6-472139F7E5D1}" dt="2024-07-24T20:07:26.545" v="2811" actId="208"/>
          <ac:cxnSpMkLst>
            <pc:docMk/>
            <pc:sldMk cId="4169272708" sldId="2147473249"/>
            <ac:cxnSpMk id="28" creationId="{B2F16733-EF8D-6EE9-5C3C-2D71FD109FD7}"/>
          </ac:cxnSpMkLst>
        </pc:cxnChg>
        <pc:cxnChg chg="mod">
          <ac:chgData name="Nathan Farquharson" userId="d312bfc7-4201-48a3-a9df-83186336f2dd" providerId="ADAL" clId="{88C89422-1838-494F-AEE6-472139F7E5D1}" dt="2024-07-24T20:07:26.545" v="2811" actId="208"/>
          <ac:cxnSpMkLst>
            <pc:docMk/>
            <pc:sldMk cId="4169272708" sldId="2147473249"/>
            <ac:cxnSpMk id="29" creationId="{11DC9902-B63F-851A-24BE-9ACB2BDD3DE6}"/>
          </ac:cxnSpMkLst>
        </pc:cxnChg>
        <pc:cxnChg chg="mod">
          <ac:chgData name="Nathan Farquharson" userId="d312bfc7-4201-48a3-a9df-83186336f2dd" providerId="ADAL" clId="{88C89422-1838-494F-AEE6-472139F7E5D1}" dt="2024-07-24T20:00:51.322" v="2576" actId="208"/>
          <ac:cxnSpMkLst>
            <pc:docMk/>
            <pc:sldMk cId="4169272708" sldId="2147473249"/>
            <ac:cxnSpMk id="30" creationId="{FC22049D-9AEF-389D-D838-F107AC8D3E7A}"/>
          </ac:cxnSpMkLst>
        </pc:cxnChg>
        <pc:cxnChg chg="mod">
          <ac:chgData name="Nathan Farquharson" userId="d312bfc7-4201-48a3-a9df-83186336f2dd" providerId="ADAL" clId="{88C89422-1838-494F-AEE6-472139F7E5D1}" dt="2024-07-24T20:00:51.322" v="2576" actId="208"/>
          <ac:cxnSpMkLst>
            <pc:docMk/>
            <pc:sldMk cId="4169272708" sldId="2147473249"/>
            <ac:cxnSpMk id="31" creationId="{4093090B-2C2F-691C-33B0-CA632983C1C7}"/>
          </ac:cxnSpMkLst>
        </pc:cxnChg>
        <pc:cxnChg chg="mod">
          <ac:chgData name="Nathan Farquharson" userId="d312bfc7-4201-48a3-a9df-83186336f2dd" providerId="ADAL" clId="{88C89422-1838-494F-AEE6-472139F7E5D1}" dt="2024-07-24T20:00:51.322" v="2576" actId="208"/>
          <ac:cxnSpMkLst>
            <pc:docMk/>
            <pc:sldMk cId="4169272708" sldId="2147473249"/>
            <ac:cxnSpMk id="4096" creationId="{2B116B16-38CB-023C-4407-6CC707AE68E7}"/>
          </ac:cxnSpMkLst>
        </pc:cxnChg>
        <pc:cxnChg chg="mod">
          <ac:chgData name="Nathan Farquharson" userId="d312bfc7-4201-48a3-a9df-83186336f2dd" providerId="ADAL" clId="{88C89422-1838-494F-AEE6-472139F7E5D1}" dt="2024-07-24T20:32:05.827" v="3310" actId="1036"/>
          <ac:cxnSpMkLst>
            <pc:docMk/>
            <pc:sldMk cId="4169272708" sldId="2147473249"/>
            <ac:cxnSpMk id="4120" creationId="{4DF526BB-28A0-1D45-AD97-5718886F6C09}"/>
          </ac:cxnSpMkLst>
        </pc:cxnChg>
        <pc:cxnChg chg="mod">
          <ac:chgData name="Nathan Farquharson" userId="d312bfc7-4201-48a3-a9df-83186336f2dd" providerId="ADAL" clId="{88C89422-1838-494F-AEE6-472139F7E5D1}" dt="2024-07-24T20:54:49.728" v="4077" actId="14100"/>
          <ac:cxnSpMkLst>
            <pc:docMk/>
            <pc:sldMk cId="4169272708" sldId="2147473249"/>
            <ac:cxnSpMk id="4124" creationId="{6B5B12F5-B3FD-91F0-FE10-3FFE5B755A99}"/>
          </ac:cxnSpMkLst>
        </pc:cxnChg>
        <pc:cxnChg chg="mod">
          <ac:chgData name="Nathan Farquharson" userId="d312bfc7-4201-48a3-a9df-83186336f2dd" providerId="ADAL" clId="{88C89422-1838-494F-AEE6-472139F7E5D1}" dt="2024-07-25T14:23:56.312" v="5998" actId="14100"/>
          <ac:cxnSpMkLst>
            <pc:docMk/>
            <pc:sldMk cId="4169272708" sldId="2147473249"/>
            <ac:cxnSpMk id="4128" creationId="{E1EFF074-800C-9CD4-D01A-8EC5905088AA}"/>
          </ac:cxnSpMkLst>
        </pc:cxnChg>
      </pc:sldChg>
      <pc:sldChg chg="ord">
        <pc:chgData name="Nathan Farquharson" userId="d312bfc7-4201-48a3-a9df-83186336f2dd" providerId="ADAL" clId="{88C89422-1838-494F-AEE6-472139F7E5D1}" dt="2024-07-24T21:35:22.495" v="4854"/>
        <pc:sldMkLst>
          <pc:docMk/>
          <pc:sldMk cId="2192708937" sldId="2147473250"/>
        </pc:sldMkLst>
      </pc:sldChg>
      <pc:sldChg chg="addSp delSp modSp add mod">
        <pc:chgData name="Nathan Farquharson" userId="d312bfc7-4201-48a3-a9df-83186336f2dd" providerId="ADAL" clId="{88C89422-1838-494F-AEE6-472139F7E5D1}" dt="2024-07-24T22:51:07.986" v="4899" actId="20577"/>
        <pc:sldMkLst>
          <pc:docMk/>
          <pc:sldMk cId="3052389892" sldId="2147473252"/>
        </pc:sldMkLst>
        <pc:spChg chg="del">
          <ac:chgData name="Nathan Farquharson" userId="d312bfc7-4201-48a3-a9df-83186336f2dd" providerId="ADAL" clId="{88C89422-1838-494F-AEE6-472139F7E5D1}" dt="2024-07-24T21:19:17.504" v="4215" actId="478"/>
          <ac:spMkLst>
            <pc:docMk/>
            <pc:sldMk cId="3052389892" sldId="2147473252"/>
            <ac:spMk id="2" creationId="{7A69708D-737F-CA2F-29B4-6C734339BEBF}"/>
          </ac:spMkLst>
        </pc:spChg>
        <pc:spChg chg="mod">
          <ac:chgData name="Nathan Farquharson" userId="d312bfc7-4201-48a3-a9df-83186336f2dd" providerId="ADAL" clId="{88C89422-1838-494F-AEE6-472139F7E5D1}" dt="2024-07-24T22:51:07.986" v="4899" actId="20577"/>
          <ac:spMkLst>
            <pc:docMk/>
            <pc:sldMk cId="3052389892" sldId="2147473252"/>
            <ac:spMk id="3" creationId="{35DAAD5F-096D-2472-3A5F-A080CB64B94C}"/>
          </ac:spMkLst>
        </pc:spChg>
        <pc:spChg chg="del">
          <ac:chgData name="Nathan Farquharson" userId="d312bfc7-4201-48a3-a9df-83186336f2dd" providerId="ADAL" clId="{88C89422-1838-494F-AEE6-472139F7E5D1}" dt="2024-07-24T21:23:36.043" v="4686" actId="478"/>
          <ac:spMkLst>
            <pc:docMk/>
            <pc:sldMk cId="3052389892" sldId="2147473252"/>
            <ac:spMk id="6" creationId="{7B45AC4F-0E38-E905-F9EE-133DEE383534}"/>
          </ac:spMkLst>
        </pc:spChg>
        <pc:spChg chg="add del mod">
          <ac:chgData name="Nathan Farquharson" userId="d312bfc7-4201-48a3-a9df-83186336f2dd" providerId="ADAL" clId="{88C89422-1838-494F-AEE6-472139F7E5D1}" dt="2024-07-24T21:19:23.712" v="4216" actId="478"/>
          <ac:spMkLst>
            <pc:docMk/>
            <pc:sldMk cId="3052389892" sldId="2147473252"/>
            <ac:spMk id="7" creationId="{CBA3B16D-C4D8-2EE3-1F8F-99FEA0C6BC95}"/>
          </ac:spMkLst>
        </pc:spChg>
        <pc:spChg chg="mod">
          <ac:chgData name="Nathan Farquharson" userId="d312bfc7-4201-48a3-a9df-83186336f2dd" providerId="ADAL" clId="{88C89422-1838-494F-AEE6-472139F7E5D1}" dt="2024-07-24T21:24:04.023" v="4699" actId="20577"/>
          <ac:spMkLst>
            <pc:docMk/>
            <pc:sldMk cId="3052389892" sldId="2147473252"/>
            <ac:spMk id="8" creationId="{C0940F2B-D06A-3775-922B-5C7CDFF47D72}"/>
          </ac:spMkLst>
        </pc:spChg>
        <pc:spChg chg="mod">
          <ac:chgData name="Nathan Farquharson" userId="d312bfc7-4201-48a3-a9df-83186336f2dd" providerId="ADAL" clId="{88C89422-1838-494F-AEE6-472139F7E5D1}" dt="2024-07-24T21:24:09.855" v="4710" actId="20577"/>
          <ac:spMkLst>
            <pc:docMk/>
            <pc:sldMk cId="3052389892" sldId="2147473252"/>
            <ac:spMk id="11" creationId="{7B10FB18-DE69-93A8-3998-8FD233725CCA}"/>
          </ac:spMkLst>
        </pc:spChg>
        <pc:spChg chg="add mod">
          <ac:chgData name="Nathan Farquharson" userId="d312bfc7-4201-48a3-a9df-83186336f2dd" providerId="ADAL" clId="{88C89422-1838-494F-AEE6-472139F7E5D1}" dt="2024-07-24T21:35:06.200" v="4852" actId="1035"/>
          <ac:spMkLst>
            <pc:docMk/>
            <pc:sldMk cId="3052389892" sldId="2147473252"/>
            <ac:spMk id="13" creationId="{2D245335-5BEB-4717-073D-77FD364904F3}"/>
          </ac:spMkLst>
        </pc:spChg>
        <pc:spChg chg="mod">
          <ac:chgData name="Nathan Farquharson" userId="d312bfc7-4201-48a3-a9df-83186336f2dd" providerId="ADAL" clId="{88C89422-1838-494F-AEE6-472139F7E5D1}" dt="2024-07-24T21:35:06.200" v="4852" actId="1035"/>
          <ac:spMkLst>
            <pc:docMk/>
            <pc:sldMk cId="3052389892" sldId="2147473252"/>
            <ac:spMk id="19" creationId="{1AE642F4-8936-2326-25D2-2573BA99F551}"/>
          </ac:spMkLst>
        </pc:spChg>
        <pc:spChg chg="mod">
          <ac:chgData name="Nathan Farquharson" userId="d312bfc7-4201-48a3-a9df-83186336f2dd" providerId="ADAL" clId="{88C89422-1838-494F-AEE6-472139F7E5D1}" dt="2024-07-24T21:35:06.200" v="4852" actId="1035"/>
          <ac:spMkLst>
            <pc:docMk/>
            <pc:sldMk cId="3052389892" sldId="2147473252"/>
            <ac:spMk id="20" creationId="{6AED9F42-E532-6CC6-B6C8-DF1EEA68AC96}"/>
          </ac:spMkLst>
        </pc:spChg>
        <pc:spChg chg="add mod">
          <ac:chgData name="Nathan Farquharson" userId="d312bfc7-4201-48a3-a9df-83186336f2dd" providerId="ADAL" clId="{88C89422-1838-494F-AEE6-472139F7E5D1}" dt="2024-07-24T21:35:06.200" v="4852" actId="1035"/>
          <ac:spMkLst>
            <pc:docMk/>
            <pc:sldMk cId="3052389892" sldId="2147473252"/>
            <ac:spMk id="21" creationId="{C0C6FCA0-6697-5BAB-BD6C-5B605F4E713B}"/>
          </ac:spMkLst>
        </pc:spChg>
        <pc:spChg chg="mod">
          <ac:chgData name="Nathan Farquharson" userId="d312bfc7-4201-48a3-a9df-83186336f2dd" providerId="ADAL" clId="{88C89422-1838-494F-AEE6-472139F7E5D1}" dt="2024-07-24T21:35:06.200" v="4852" actId="1035"/>
          <ac:spMkLst>
            <pc:docMk/>
            <pc:sldMk cId="3052389892" sldId="2147473252"/>
            <ac:spMk id="22" creationId="{51435BB2-A154-7A7A-61F9-22F914626F6B}"/>
          </ac:spMkLst>
        </pc:spChg>
        <pc:spChg chg="add mod">
          <ac:chgData name="Nathan Farquharson" userId="d312bfc7-4201-48a3-a9df-83186336f2dd" providerId="ADAL" clId="{88C89422-1838-494F-AEE6-472139F7E5D1}" dt="2024-07-24T21:35:06.200" v="4852" actId="1035"/>
          <ac:spMkLst>
            <pc:docMk/>
            <pc:sldMk cId="3052389892" sldId="2147473252"/>
            <ac:spMk id="28" creationId="{390E2909-1290-57D7-61F7-A41BA1DC4ECE}"/>
          </ac:spMkLst>
        </pc:spChg>
        <pc:spChg chg="mod">
          <ac:chgData name="Nathan Farquharson" userId="d312bfc7-4201-48a3-a9df-83186336f2dd" providerId="ADAL" clId="{88C89422-1838-494F-AEE6-472139F7E5D1}" dt="2024-07-24T21:35:06.200" v="4852" actId="1035"/>
          <ac:spMkLst>
            <pc:docMk/>
            <pc:sldMk cId="3052389892" sldId="2147473252"/>
            <ac:spMk id="31" creationId="{4DE0FCDE-6424-FD63-D33E-0B84271393BD}"/>
          </ac:spMkLst>
        </pc:spChg>
        <pc:spChg chg="mod">
          <ac:chgData name="Nathan Farquharson" userId="d312bfc7-4201-48a3-a9df-83186336f2dd" providerId="ADAL" clId="{88C89422-1838-494F-AEE6-472139F7E5D1}" dt="2024-07-24T21:35:06.200" v="4852" actId="1035"/>
          <ac:spMkLst>
            <pc:docMk/>
            <pc:sldMk cId="3052389892" sldId="2147473252"/>
            <ac:spMk id="33" creationId="{5A3523F6-C060-E9B4-F209-DBC96B053C51}"/>
          </ac:spMkLst>
        </pc:spChg>
        <pc:spChg chg="del">
          <ac:chgData name="Nathan Farquharson" userId="d312bfc7-4201-48a3-a9df-83186336f2dd" providerId="ADAL" clId="{88C89422-1838-494F-AEE6-472139F7E5D1}" dt="2024-07-24T21:22:23.093" v="4342" actId="478"/>
          <ac:spMkLst>
            <pc:docMk/>
            <pc:sldMk cId="3052389892" sldId="2147473252"/>
            <ac:spMk id="34" creationId="{FC694D92-1B84-05AA-20AB-B0026A1C3D4E}"/>
          </ac:spMkLst>
        </pc:spChg>
        <pc:spChg chg="mod">
          <ac:chgData name="Nathan Farquharson" userId="d312bfc7-4201-48a3-a9df-83186336f2dd" providerId="ADAL" clId="{88C89422-1838-494F-AEE6-472139F7E5D1}" dt="2024-07-24T21:35:06.200" v="4852" actId="1035"/>
          <ac:spMkLst>
            <pc:docMk/>
            <pc:sldMk cId="3052389892" sldId="2147473252"/>
            <ac:spMk id="36" creationId="{B43915DD-5038-2D08-1957-84763585DD61}"/>
          </ac:spMkLst>
        </pc:spChg>
        <pc:spChg chg="mod">
          <ac:chgData name="Nathan Farquharson" userId="d312bfc7-4201-48a3-a9df-83186336f2dd" providerId="ADAL" clId="{88C89422-1838-494F-AEE6-472139F7E5D1}" dt="2024-07-24T21:35:06.200" v="4852" actId="1035"/>
          <ac:spMkLst>
            <pc:docMk/>
            <pc:sldMk cId="3052389892" sldId="2147473252"/>
            <ac:spMk id="38" creationId="{65A6ED33-F8B9-EC3C-4A0A-5D4AB459B808}"/>
          </ac:spMkLst>
        </pc:spChg>
        <pc:spChg chg="del">
          <ac:chgData name="Nathan Farquharson" userId="d312bfc7-4201-48a3-a9df-83186336f2dd" providerId="ADAL" clId="{88C89422-1838-494F-AEE6-472139F7E5D1}" dt="2024-07-24T21:22:23.093" v="4342" actId="478"/>
          <ac:spMkLst>
            <pc:docMk/>
            <pc:sldMk cId="3052389892" sldId="2147473252"/>
            <ac:spMk id="39" creationId="{13A470E0-AF3A-AC6E-19FC-76B86A1A3E46}"/>
          </ac:spMkLst>
        </pc:spChg>
        <pc:spChg chg="add mod">
          <ac:chgData name="Nathan Farquharson" userId="d312bfc7-4201-48a3-a9df-83186336f2dd" providerId="ADAL" clId="{88C89422-1838-494F-AEE6-472139F7E5D1}" dt="2024-07-24T21:35:06.200" v="4852" actId="1035"/>
          <ac:spMkLst>
            <pc:docMk/>
            <pc:sldMk cId="3052389892" sldId="2147473252"/>
            <ac:spMk id="40" creationId="{6D7069EC-D4EE-117C-9CBD-575F040F91E3}"/>
          </ac:spMkLst>
        </pc:spChg>
        <pc:spChg chg="mod">
          <ac:chgData name="Nathan Farquharson" userId="d312bfc7-4201-48a3-a9df-83186336f2dd" providerId="ADAL" clId="{88C89422-1838-494F-AEE6-472139F7E5D1}" dt="2024-07-24T21:35:06.200" v="4852" actId="1035"/>
          <ac:spMkLst>
            <pc:docMk/>
            <pc:sldMk cId="3052389892" sldId="2147473252"/>
            <ac:spMk id="41" creationId="{12B7456C-5DA7-251A-C7D5-19ACF69496AF}"/>
          </ac:spMkLst>
        </pc:spChg>
        <pc:spChg chg="mod">
          <ac:chgData name="Nathan Farquharson" userId="d312bfc7-4201-48a3-a9df-83186336f2dd" providerId="ADAL" clId="{88C89422-1838-494F-AEE6-472139F7E5D1}" dt="2024-07-24T21:35:06.200" v="4852" actId="1035"/>
          <ac:spMkLst>
            <pc:docMk/>
            <pc:sldMk cId="3052389892" sldId="2147473252"/>
            <ac:spMk id="43" creationId="{4313BE18-6038-9B8B-7472-A579B0F2A46C}"/>
          </ac:spMkLst>
        </pc:spChg>
        <pc:spChg chg="del">
          <ac:chgData name="Nathan Farquharson" userId="d312bfc7-4201-48a3-a9df-83186336f2dd" providerId="ADAL" clId="{88C89422-1838-494F-AEE6-472139F7E5D1}" dt="2024-07-24T21:22:23.093" v="4342" actId="478"/>
          <ac:spMkLst>
            <pc:docMk/>
            <pc:sldMk cId="3052389892" sldId="2147473252"/>
            <ac:spMk id="44" creationId="{EE7CFA92-9BE5-63A2-6A99-495B76B496DF}"/>
          </ac:spMkLst>
        </pc:spChg>
        <pc:spChg chg="del">
          <ac:chgData name="Nathan Farquharson" userId="d312bfc7-4201-48a3-a9df-83186336f2dd" providerId="ADAL" clId="{88C89422-1838-494F-AEE6-472139F7E5D1}" dt="2024-07-24T21:22:23.093" v="4342" actId="478"/>
          <ac:spMkLst>
            <pc:docMk/>
            <pc:sldMk cId="3052389892" sldId="2147473252"/>
            <ac:spMk id="46" creationId="{58B361DE-31E5-794C-154E-AEB2F60076E2}"/>
          </ac:spMkLst>
        </pc:spChg>
        <pc:spChg chg="mod">
          <ac:chgData name="Nathan Farquharson" userId="d312bfc7-4201-48a3-a9df-83186336f2dd" providerId="ADAL" clId="{88C89422-1838-494F-AEE6-472139F7E5D1}" dt="2024-07-24T21:35:06.200" v="4852" actId="1035"/>
          <ac:spMkLst>
            <pc:docMk/>
            <pc:sldMk cId="3052389892" sldId="2147473252"/>
            <ac:spMk id="47" creationId="{44D30F00-F7B0-9EFC-5D85-A9623699C549}"/>
          </ac:spMkLst>
        </pc:spChg>
        <pc:spChg chg="mod">
          <ac:chgData name="Nathan Farquharson" userId="d312bfc7-4201-48a3-a9df-83186336f2dd" providerId="ADAL" clId="{88C89422-1838-494F-AEE6-472139F7E5D1}" dt="2024-07-24T21:35:06.200" v="4852" actId="1035"/>
          <ac:spMkLst>
            <pc:docMk/>
            <pc:sldMk cId="3052389892" sldId="2147473252"/>
            <ac:spMk id="49" creationId="{DA37C026-6084-7F39-FBCB-ECABAB8D2F39}"/>
          </ac:spMkLst>
        </pc:spChg>
        <pc:spChg chg="mod">
          <ac:chgData name="Nathan Farquharson" userId="d312bfc7-4201-48a3-a9df-83186336f2dd" providerId="ADAL" clId="{88C89422-1838-494F-AEE6-472139F7E5D1}" dt="2024-07-24T21:35:06.200" v="4852" actId="1035"/>
          <ac:spMkLst>
            <pc:docMk/>
            <pc:sldMk cId="3052389892" sldId="2147473252"/>
            <ac:spMk id="105" creationId="{169C6D40-FC49-4987-8544-36E4C40E44C2}"/>
          </ac:spMkLst>
        </pc:spChg>
        <pc:spChg chg="mod">
          <ac:chgData name="Nathan Farquharson" userId="d312bfc7-4201-48a3-a9df-83186336f2dd" providerId="ADAL" clId="{88C89422-1838-494F-AEE6-472139F7E5D1}" dt="2024-07-24T21:35:06.200" v="4852" actId="1035"/>
          <ac:spMkLst>
            <pc:docMk/>
            <pc:sldMk cId="3052389892" sldId="2147473252"/>
            <ac:spMk id="106" creationId="{D07C3DFD-E2D0-8DE0-A647-3C496DF3DCF2}"/>
          </ac:spMkLst>
        </pc:spChg>
        <pc:spChg chg="mod">
          <ac:chgData name="Nathan Farquharson" userId="d312bfc7-4201-48a3-a9df-83186336f2dd" providerId="ADAL" clId="{88C89422-1838-494F-AEE6-472139F7E5D1}" dt="2024-07-24T21:35:06.200" v="4852" actId="1035"/>
          <ac:spMkLst>
            <pc:docMk/>
            <pc:sldMk cId="3052389892" sldId="2147473252"/>
            <ac:spMk id="107" creationId="{0C61BE52-A220-55CD-FC4E-F6BD843A756C}"/>
          </ac:spMkLst>
        </pc:spChg>
        <pc:spChg chg="mod">
          <ac:chgData name="Nathan Farquharson" userId="d312bfc7-4201-48a3-a9df-83186336f2dd" providerId="ADAL" clId="{88C89422-1838-494F-AEE6-472139F7E5D1}" dt="2024-07-24T21:35:06.200" v="4852" actId="1035"/>
          <ac:spMkLst>
            <pc:docMk/>
            <pc:sldMk cId="3052389892" sldId="2147473252"/>
            <ac:spMk id="108" creationId="{D28D0156-29A0-763F-637D-C289167CE244}"/>
          </ac:spMkLst>
        </pc:spChg>
        <pc:spChg chg="mod">
          <ac:chgData name="Nathan Farquharson" userId="d312bfc7-4201-48a3-a9df-83186336f2dd" providerId="ADAL" clId="{88C89422-1838-494F-AEE6-472139F7E5D1}" dt="2024-07-24T21:35:06.200" v="4852" actId="1035"/>
          <ac:spMkLst>
            <pc:docMk/>
            <pc:sldMk cId="3052389892" sldId="2147473252"/>
            <ac:spMk id="109" creationId="{8E7EB739-7A3E-E95C-F6CC-6542CBE98227}"/>
          </ac:spMkLst>
        </pc:spChg>
        <pc:grpChg chg="add mod">
          <ac:chgData name="Nathan Farquharson" userId="d312bfc7-4201-48a3-a9df-83186336f2dd" providerId="ADAL" clId="{88C89422-1838-494F-AEE6-472139F7E5D1}" dt="2024-07-24T21:35:06.200" v="4852" actId="1035"/>
          <ac:grpSpMkLst>
            <pc:docMk/>
            <pc:sldMk cId="3052389892" sldId="2147473252"/>
            <ac:grpSpMk id="14" creationId="{F672A47B-C49A-2FC8-75DC-436FA53F4105}"/>
          </ac:grpSpMkLst>
        </pc:grpChg>
        <pc:grpChg chg="mod">
          <ac:chgData name="Nathan Farquharson" userId="d312bfc7-4201-48a3-a9df-83186336f2dd" providerId="ADAL" clId="{88C89422-1838-494F-AEE6-472139F7E5D1}" dt="2024-07-24T21:22:26.269" v="4343"/>
          <ac:grpSpMkLst>
            <pc:docMk/>
            <pc:sldMk cId="3052389892" sldId="2147473252"/>
            <ac:grpSpMk id="15" creationId="{41BCE1D5-C3ED-98F5-1E81-618778DFE77C}"/>
          </ac:grpSpMkLst>
        </pc:grpChg>
        <pc:grpChg chg="add mod">
          <ac:chgData name="Nathan Farquharson" userId="d312bfc7-4201-48a3-a9df-83186336f2dd" providerId="ADAL" clId="{88C89422-1838-494F-AEE6-472139F7E5D1}" dt="2024-07-24T21:35:06.200" v="4852" actId="1035"/>
          <ac:grpSpMkLst>
            <pc:docMk/>
            <pc:sldMk cId="3052389892" sldId="2147473252"/>
            <ac:grpSpMk id="23" creationId="{03D3098E-D48C-7E07-F50A-7FD426785943}"/>
          </ac:grpSpMkLst>
        </pc:grpChg>
        <pc:grpChg chg="mod">
          <ac:chgData name="Nathan Farquharson" userId="d312bfc7-4201-48a3-a9df-83186336f2dd" providerId="ADAL" clId="{88C89422-1838-494F-AEE6-472139F7E5D1}" dt="2024-07-24T21:22:46.570" v="4439"/>
          <ac:grpSpMkLst>
            <pc:docMk/>
            <pc:sldMk cId="3052389892" sldId="2147473252"/>
            <ac:grpSpMk id="24" creationId="{1C65AF5C-E1DC-2E87-26FA-DB7A48BC32F1}"/>
          </ac:grpSpMkLst>
        </pc:grpChg>
        <pc:grpChg chg="add mod">
          <ac:chgData name="Nathan Farquharson" userId="d312bfc7-4201-48a3-a9df-83186336f2dd" providerId="ADAL" clId="{88C89422-1838-494F-AEE6-472139F7E5D1}" dt="2024-07-24T21:35:06.200" v="4852" actId="1035"/>
          <ac:grpSpMkLst>
            <pc:docMk/>
            <pc:sldMk cId="3052389892" sldId="2147473252"/>
            <ac:grpSpMk id="29" creationId="{49D1F611-0FA3-DCEC-8667-B0B67A1E4695}"/>
          </ac:grpSpMkLst>
        </pc:grpChg>
        <pc:grpChg chg="mod">
          <ac:chgData name="Nathan Farquharson" userId="d312bfc7-4201-48a3-a9df-83186336f2dd" providerId="ADAL" clId="{88C89422-1838-494F-AEE6-472139F7E5D1}" dt="2024-07-24T21:22:54.556" v="4504"/>
          <ac:grpSpMkLst>
            <pc:docMk/>
            <pc:sldMk cId="3052389892" sldId="2147473252"/>
            <ac:grpSpMk id="30" creationId="{0485A04E-CF87-3FA6-E014-0609ABD9D780}"/>
          </ac:grpSpMkLst>
        </pc:grpChg>
        <pc:grpChg chg="add mod">
          <ac:chgData name="Nathan Farquharson" userId="d312bfc7-4201-48a3-a9df-83186336f2dd" providerId="ADAL" clId="{88C89422-1838-494F-AEE6-472139F7E5D1}" dt="2024-07-24T21:35:06.200" v="4852" actId="1035"/>
          <ac:grpSpMkLst>
            <pc:docMk/>
            <pc:sldMk cId="3052389892" sldId="2147473252"/>
            <ac:grpSpMk id="42" creationId="{87B2FA49-B32F-579E-FE5F-F7933852DFB9}"/>
          </ac:grpSpMkLst>
        </pc:grpChg>
        <pc:grpChg chg="mod">
          <ac:chgData name="Nathan Farquharson" userId="d312bfc7-4201-48a3-a9df-83186336f2dd" providerId="ADAL" clId="{88C89422-1838-494F-AEE6-472139F7E5D1}" dt="2024-07-24T21:23:02.959" v="4576"/>
          <ac:grpSpMkLst>
            <pc:docMk/>
            <pc:sldMk cId="3052389892" sldId="2147473252"/>
            <ac:grpSpMk id="45" creationId="{996A7546-80D9-9EE9-2DA0-088BB525C900}"/>
          </ac:grpSpMkLst>
        </pc:grpChg>
        <pc:grpChg chg="mod">
          <ac:chgData name="Nathan Farquharson" userId="d312bfc7-4201-48a3-a9df-83186336f2dd" providerId="ADAL" clId="{88C89422-1838-494F-AEE6-472139F7E5D1}" dt="2024-07-24T21:35:06.200" v="4852" actId="1035"/>
          <ac:grpSpMkLst>
            <pc:docMk/>
            <pc:sldMk cId="3052389892" sldId="2147473252"/>
            <ac:grpSpMk id="51" creationId="{E1E26842-4702-6662-4C93-2A76D97A6D01}"/>
          </ac:grpSpMkLst>
        </pc:grpChg>
        <pc:grpChg chg="del">
          <ac:chgData name="Nathan Farquharson" userId="d312bfc7-4201-48a3-a9df-83186336f2dd" providerId="ADAL" clId="{88C89422-1838-494F-AEE6-472139F7E5D1}" dt="2024-07-24T21:22:15.783" v="4341" actId="478"/>
          <ac:grpSpMkLst>
            <pc:docMk/>
            <pc:sldMk cId="3052389892" sldId="2147473252"/>
            <ac:grpSpMk id="56" creationId="{F3B77E5D-AD3A-F731-3AFA-34D78070163F}"/>
          </ac:grpSpMkLst>
        </pc:grpChg>
        <pc:grpChg chg="del">
          <ac:chgData name="Nathan Farquharson" userId="d312bfc7-4201-48a3-a9df-83186336f2dd" providerId="ADAL" clId="{88C89422-1838-494F-AEE6-472139F7E5D1}" dt="2024-07-24T21:22:15.783" v="4341" actId="478"/>
          <ac:grpSpMkLst>
            <pc:docMk/>
            <pc:sldMk cId="3052389892" sldId="2147473252"/>
            <ac:grpSpMk id="61" creationId="{89A72311-71CA-3B90-185D-942EFCF8C647}"/>
          </ac:grpSpMkLst>
        </pc:grpChg>
        <pc:grpChg chg="del">
          <ac:chgData name="Nathan Farquharson" userId="d312bfc7-4201-48a3-a9df-83186336f2dd" providerId="ADAL" clId="{88C89422-1838-494F-AEE6-472139F7E5D1}" dt="2024-07-24T21:22:15.783" v="4341" actId="478"/>
          <ac:grpSpMkLst>
            <pc:docMk/>
            <pc:sldMk cId="3052389892" sldId="2147473252"/>
            <ac:grpSpMk id="66" creationId="{0108B9B9-C03E-AC87-916D-9E0EFCCCF72B}"/>
          </ac:grpSpMkLst>
        </pc:grpChg>
        <pc:grpChg chg="del">
          <ac:chgData name="Nathan Farquharson" userId="d312bfc7-4201-48a3-a9df-83186336f2dd" providerId="ADAL" clId="{88C89422-1838-494F-AEE6-472139F7E5D1}" dt="2024-07-24T21:22:15.783" v="4341" actId="478"/>
          <ac:grpSpMkLst>
            <pc:docMk/>
            <pc:sldMk cId="3052389892" sldId="2147473252"/>
            <ac:grpSpMk id="72" creationId="{A6FAD745-08ED-FDB3-AC8C-35EFBAE7CA90}"/>
          </ac:grpSpMkLst>
        </pc:grpChg>
        <pc:grpChg chg="mod">
          <ac:chgData name="Nathan Farquharson" userId="d312bfc7-4201-48a3-a9df-83186336f2dd" providerId="ADAL" clId="{88C89422-1838-494F-AEE6-472139F7E5D1}" dt="2024-07-24T21:35:06.200" v="4852" actId="1035"/>
          <ac:grpSpMkLst>
            <pc:docMk/>
            <pc:sldMk cId="3052389892" sldId="2147473252"/>
            <ac:grpSpMk id="80" creationId="{674B8FB3-6214-46B9-AEA2-7F9CA28E07AB}"/>
          </ac:grpSpMkLst>
        </pc:grpChg>
        <pc:grpChg chg="mod">
          <ac:chgData name="Nathan Farquharson" userId="d312bfc7-4201-48a3-a9df-83186336f2dd" providerId="ADAL" clId="{88C89422-1838-494F-AEE6-472139F7E5D1}" dt="2024-07-24T21:35:06.200" v="4852" actId="1035"/>
          <ac:grpSpMkLst>
            <pc:docMk/>
            <pc:sldMk cId="3052389892" sldId="2147473252"/>
            <ac:grpSpMk id="85" creationId="{7E797594-2D81-0996-D892-C8C90A4AB434}"/>
          </ac:grpSpMkLst>
        </pc:grpChg>
        <pc:grpChg chg="mod">
          <ac:chgData name="Nathan Farquharson" userId="d312bfc7-4201-48a3-a9df-83186336f2dd" providerId="ADAL" clId="{88C89422-1838-494F-AEE6-472139F7E5D1}" dt="2024-07-24T21:35:06.200" v="4852" actId="1035"/>
          <ac:grpSpMkLst>
            <pc:docMk/>
            <pc:sldMk cId="3052389892" sldId="2147473252"/>
            <ac:grpSpMk id="90" creationId="{CBC33AD9-74E8-F956-7D6A-39992E0C4E1E}"/>
          </ac:grpSpMkLst>
        </pc:grpChg>
        <pc:grpChg chg="mod">
          <ac:chgData name="Nathan Farquharson" userId="d312bfc7-4201-48a3-a9df-83186336f2dd" providerId="ADAL" clId="{88C89422-1838-494F-AEE6-472139F7E5D1}" dt="2024-07-24T21:35:06.200" v="4852" actId="1035"/>
          <ac:grpSpMkLst>
            <pc:docMk/>
            <pc:sldMk cId="3052389892" sldId="2147473252"/>
            <ac:grpSpMk id="95" creationId="{E5B7E87C-0229-89A7-E14C-070B5087158C}"/>
          </ac:grpSpMkLst>
        </pc:grpChg>
        <pc:grpChg chg="mod">
          <ac:chgData name="Nathan Farquharson" userId="d312bfc7-4201-48a3-a9df-83186336f2dd" providerId="ADAL" clId="{88C89422-1838-494F-AEE6-472139F7E5D1}" dt="2024-07-24T21:35:06.200" v="4852" actId="1035"/>
          <ac:grpSpMkLst>
            <pc:docMk/>
            <pc:sldMk cId="3052389892" sldId="2147473252"/>
            <ac:grpSpMk id="100" creationId="{76B50AAA-BE4F-7C9D-AC13-54C6927DB9AF}"/>
          </ac:grpSpMkLst>
        </pc:grpChg>
        <pc:cxnChg chg="mod">
          <ac:chgData name="Nathan Farquharson" userId="d312bfc7-4201-48a3-a9df-83186336f2dd" providerId="ADAL" clId="{88C89422-1838-494F-AEE6-472139F7E5D1}" dt="2024-07-24T21:24:43.877" v="4712" actId="208"/>
          <ac:cxnSpMkLst>
            <pc:docMk/>
            <pc:sldMk cId="3052389892" sldId="2147473252"/>
            <ac:cxnSpMk id="9" creationId="{9C4FD6F0-638E-7493-D2E4-968903D00C3E}"/>
          </ac:cxnSpMkLst>
        </pc:cxnChg>
        <pc:cxnChg chg="mod">
          <ac:chgData name="Nathan Farquharson" userId="d312bfc7-4201-48a3-a9df-83186336f2dd" providerId="ADAL" clId="{88C89422-1838-494F-AEE6-472139F7E5D1}" dt="2024-07-24T21:24:43.877" v="4712" actId="208"/>
          <ac:cxnSpMkLst>
            <pc:docMk/>
            <pc:sldMk cId="3052389892" sldId="2147473252"/>
            <ac:cxnSpMk id="12" creationId="{B876B9DB-CA3C-3329-835A-223637118B9B}"/>
          </ac:cxnSpMkLst>
        </pc:cxnChg>
        <pc:cxnChg chg="mod">
          <ac:chgData name="Nathan Farquharson" userId="d312bfc7-4201-48a3-a9df-83186336f2dd" providerId="ADAL" clId="{88C89422-1838-494F-AEE6-472139F7E5D1}" dt="2024-07-24T21:22:26.269" v="4343"/>
          <ac:cxnSpMkLst>
            <pc:docMk/>
            <pc:sldMk cId="3052389892" sldId="2147473252"/>
            <ac:cxnSpMk id="16" creationId="{2A1FB3AC-63A4-0C79-D089-CB07649983A8}"/>
          </ac:cxnSpMkLst>
        </pc:cxnChg>
        <pc:cxnChg chg="mod">
          <ac:chgData name="Nathan Farquharson" userId="d312bfc7-4201-48a3-a9df-83186336f2dd" providerId="ADAL" clId="{88C89422-1838-494F-AEE6-472139F7E5D1}" dt="2024-07-24T21:22:26.269" v="4343"/>
          <ac:cxnSpMkLst>
            <pc:docMk/>
            <pc:sldMk cId="3052389892" sldId="2147473252"/>
            <ac:cxnSpMk id="17" creationId="{7669F421-6FDA-C7B0-BEC7-94D216DA16D1}"/>
          </ac:cxnSpMkLst>
        </pc:cxnChg>
        <pc:cxnChg chg="mod">
          <ac:chgData name="Nathan Farquharson" userId="d312bfc7-4201-48a3-a9df-83186336f2dd" providerId="ADAL" clId="{88C89422-1838-494F-AEE6-472139F7E5D1}" dt="2024-07-24T21:22:26.269" v="4343"/>
          <ac:cxnSpMkLst>
            <pc:docMk/>
            <pc:sldMk cId="3052389892" sldId="2147473252"/>
            <ac:cxnSpMk id="18" creationId="{0E40A828-2333-11C1-7FA5-07C1E866BCFD}"/>
          </ac:cxnSpMkLst>
        </pc:cxnChg>
        <pc:cxnChg chg="mod">
          <ac:chgData name="Nathan Farquharson" userId="d312bfc7-4201-48a3-a9df-83186336f2dd" providerId="ADAL" clId="{88C89422-1838-494F-AEE6-472139F7E5D1}" dt="2024-07-24T21:22:46.570" v="4439"/>
          <ac:cxnSpMkLst>
            <pc:docMk/>
            <pc:sldMk cId="3052389892" sldId="2147473252"/>
            <ac:cxnSpMk id="25" creationId="{AF726EDA-5542-7378-2B5D-0BB7620D4335}"/>
          </ac:cxnSpMkLst>
        </pc:cxnChg>
        <pc:cxnChg chg="mod">
          <ac:chgData name="Nathan Farquharson" userId="d312bfc7-4201-48a3-a9df-83186336f2dd" providerId="ADAL" clId="{88C89422-1838-494F-AEE6-472139F7E5D1}" dt="2024-07-24T21:22:46.570" v="4439"/>
          <ac:cxnSpMkLst>
            <pc:docMk/>
            <pc:sldMk cId="3052389892" sldId="2147473252"/>
            <ac:cxnSpMk id="26" creationId="{9BF3B953-D13D-9DB5-F241-0E14554EADA6}"/>
          </ac:cxnSpMkLst>
        </pc:cxnChg>
        <pc:cxnChg chg="mod">
          <ac:chgData name="Nathan Farquharson" userId="d312bfc7-4201-48a3-a9df-83186336f2dd" providerId="ADAL" clId="{88C89422-1838-494F-AEE6-472139F7E5D1}" dt="2024-07-24T21:22:46.570" v="4439"/>
          <ac:cxnSpMkLst>
            <pc:docMk/>
            <pc:sldMk cId="3052389892" sldId="2147473252"/>
            <ac:cxnSpMk id="27" creationId="{4E6650D1-7C65-D538-2B89-74507BBC1E73}"/>
          </ac:cxnSpMkLst>
        </pc:cxnChg>
        <pc:cxnChg chg="mod">
          <ac:chgData name="Nathan Farquharson" userId="d312bfc7-4201-48a3-a9df-83186336f2dd" providerId="ADAL" clId="{88C89422-1838-494F-AEE6-472139F7E5D1}" dt="2024-07-24T21:22:54.556" v="4504"/>
          <ac:cxnSpMkLst>
            <pc:docMk/>
            <pc:sldMk cId="3052389892" sldId="2147473252"/>
            <ac:cxnSpMk id="32" creationId="{163968AD-882A-D12F-9E93-0344E9EA13AE}"/>
          </ac:cxnSpMkLst>
        </pc:cxnChg>
        <pc:cxnChg chg="mod">
          <ac:chgData name="Nathan Farquharson" userId="d312bfc7-4201-48a3-a9df-83186336f2dd" providerId="ADAL" clId="{88C89422-1838-494F-AEE6-472139F7E5D1}" dt="2024-07-24T21:22:54.556" v="4504"/>
          <ac:cxnSpMkLst>
            <pc:docMk/>
            <pc:sldMk cId="3052389892" sldId="2147473252"/>
            <ac:cxnSpMk id="35" creationId="{F7233207-564E-DA8D-CC7A-ABD845100293}"/>
          </ac:cxnSpMkLst>
        </pc:cxnChg>
        <pc:cxnChg chg="mod">
          <ac:chgData name="Nathan Farquharson" userId="d312bfc7-4201-48a3-a9df-83186336f2dd" providerId="ADAL" clId="{88C89422-1838-494F-AEE6-472139F7E5D1}" dt="2024-07-24T21:22:54.556" v="4504"/>
          <ac:cxnSpMkLst>
            <pc:docMk/>
            <pc:sldMk cId="3052389892" sldId="2147473252"/>
            <ac:cxnSpMk id="37" creationId="{9F9C194F-B437-9F7A-E9BE-82A139C6926F}"/>
          </ac:cxnSpMkLst>
        </pc:cxnChg>
        <pc:cxnChg chg="mod">
          <ac:chgData name="Nathan Farquharson" userId="d312bfc7-4201-48a3-a9df-83186336f2dd" providerId="ADAL" clId="{88C89422-1838-494F-AEE6-472139F7E5D1}" dt="2024-07-24T21:23:02.959" v="4576"/>
          <ac:cxnSpMkLst>
            <pc:docMk/>
            <pc:sldMk cId="3052389892" sldId="2147473252"/>
            <ac:cxnSpMk id="48" creationId="{98D39359-4E2D-D14A-C5AD-89C2F2EE6D2F}"/>
          </ac:cxnSpMkLst>
        </pc:cxnChg>
        <pc:cxnChg chg="mod">
          <ac:chgData name="Nathan Farquharson" userId="d312bfc7-4201-48a3-a9df-83186336f2dd" providerId="ADAL" clId="{88C89422-1838-494F-AEE6-472139F7E5D1}" dt="2024-07-24T21:23:02.959" v="4576"/>
          <ac:cxnSpMkLst>
            <pc:docMk/>
            <pc:sldMk cId="3052389892" sldId="2147473252"/>
            <ac:cxnSpMk id="50" creationId="{4AEF60E6-2066-815F-615F-C92253B33988}"/>
          </ac:cxnSpMkLst>
        </pc:cxnChg>
        <pc:cxnChg chg="mod">
          <ac:chgData name="Nathan Farquharson" userId="d312bfc7-4201-48a3-a9df-83186336f2dd" providerId="ADAL" clId="{88C89422-1838-494F-AEE6-472139F7E5D1}" dt="2024-07-24T21:21:05.698" v="4265" actId="208"/>
          <ac:cxnSpMkLst>
            <pc:docMk/>
            <pc:sldMk cId="3052389892" sldId="2147473252"/>
            <ac:cxnSpMk id="53" creationId="{FB8A55DF-8512-6E05-5DAD-7AC77CA8EB6F}"/>
          </ac:cxnSpMkLst>
        </pc:cxnChg>
        <pc:cxnChg chg="mod">
          <ac:chgData name="Nathan Farquharson" userId="d312bfc7-4201-48a3-a9df-83186336f2dd" providerId="ADAL" clId="{88C89422-1838-494F-AEE6-472139F7E5D1}" dt="2024-07-24T21:21:05.698" v="4265" actId="208"/>
          <ac:cxnSpMkLst>
            <pc:docMk/>
            <pc:sldMk cId="3052389892" sldId="2147473252"/>
            <ac:cxnSpMk id="54" creationId="{CC6E4D88-B40C-B897-6EA7-D228142E0E62}"/>
          </ac:cxnSpMkLst>
        </pc:cxnChg>
        <pc:cxnChg chg="mod">
          <ac:chgData name="Nathan Farquharson" userId="d312bfc7-4201-48a3-a9df-83186336f2dd" providerId="ADAL" clId="{88C89422-1838-494F-AEE6-472139F7E5D1}" dt="2024-07-24T21:21:05.698" v="4265" actId="208"/>
          <ac:cxnSpMkLst>
            <pc:docMk/>
            <pc:sldMk cId="3052389892" sldId="2147473252"/>
            <ac:cxnSpMk id="55" creationId="{25B12FED-B70F-BC37-4AF3-57538EBDFE08}"/>
          </ac:cxnSpMkLst>
        </pc:cxnChg>
        <pc:cxnChg chg="mod">
          <ac:chgData name="Nathan Farquharson" userId="d312bfc7-4201-48a3-a9df-83186336f2dd" providerId="ADAL" clId="{88C89422-1838-494F-AEE6-472139F7E5D1}" dt="2024-07-24T21:23:02.959" v="4576"/>
          <ac:cxnSpMkLst>
            <pc:docMk/>
            <pc:sldMk cId="3052389892" sldId="2147473252"/>
            <ac:cxnSpMk id="71" creationId="{67EF5355-D09A-8F39-4302-7D365D8DD3F5}"/>
          </ac:cxnSpMkLst>
        </pc:cxnChg>
        <pc:cxnChg chg="del">
          <ac:chgData name="Nathan Farquharson" userId="d312bfc7-4201-48a3-a9df-83186336f2dd" providerId="ADAL" clId="{88C89422-1838-494F-AEE6-472139F7E5D1}" dt="2024-07-24T21:22:15.783" v="4341" actId="478"/>
          <ac:cxnSpMkLst>
            <pc:docMk/>
            <pc:sldMk cId="3052389892" sldId="2147473252"/>
            <ac:cxnSpMk id="73" creationId="{F0B78446-ADA9-AB56-CD53-0054B518BC96}"/>
          </ac:cxnSpMkLst>
        </pc:cxnChg>
      </pc:sldChg>
      <pc:sldChg chg="modSp mod">
        <pc:chgData name="Nathan Farquharson" userId="d312bfc7-4201-48a3-a9df-83186336f2dd" providerId="ADAL" clId="{88C89422-1838-494F-AEE6-472139F7E5D1}" dt="2024-07-25T17:31:51.355" v="6284" actId="1076"/>
        <pc:sldMkLst>
          <pc:docMk/>
          <pc:sldMk cId="2948495453" sldId="2147473253"/>
        </pc:sldMkLst>
        <pc:picChg chg="mod">
          <ac:chgData name="Nathan Farquharson" userId="d312bfc7-4201-48a3-a9df-83186336f2dd" providerId="ADAL" clId="{88C89422-1838-494F-AEE6-472139F7E5D1}" dt="2024-07-25T17:31:51.355" v="6284" actId="1076"/>
          <ac:picMkLst>
            <pc:docMk/>
            <pc:sldMk cId="2948495453" sldId="2147473253"/>
            <ac:picMk id="5" creationId="{80BB244B-80C9-A168-295B-02DD020AC32E}"/>
          </ac:picMkLst>
        </pc:picChg>
      </pc:sldChg>
      <pc:sldChg chg="modSp mod addCm">
        <pc:chgData name="Nathan Farquharson" userId="d312bfc7-4201-48a3-a9df-83186336f2dd" providerId="ADAL" clId="{88C89422-1838-494F-AEE6-472139F7E5D1}" dt="2024-07-25T19:36:23.570" v="6458" actId="6549"/>
        <pc:sldMkLst>
          <pc:docMk/>
          <pc:sldMk cId="1374375214" sldId="2147473255"/>
        </pc:sldMkLst>
        <pc:graphicFrameChg chg="modGraphic">
          <ac:chgData name="Nathan Farquharson" userId="d312bfc7-4201-48a3-a9df-83186336f2dd" providerId="ADAL" clId="{88C89422-1838-494F-AEE6-472139F7E5D1}" dt="2024-07-25T19:36:23.570" v="6458" actId="6549"/>
          <ac:graphicFrameMkLst>
            <pc:docMk/>
            <pc:sldMk cId="1374375214" sldId="2147473255"/>
            <ac:graphicFrameMk id="4" creationId="{878955A9-CBF7-9AE8-026E-6A1BBC35C28A}"/>
          </ac:graphicFrameMkLst>
        </pc:graphicFrameChg>
        <pc:extLst>
          <p:ext xmlns:p="http://schemas.openxmlformats.org/presentationml/2006/main" uri="{D6D511B9-2390-475A-947B-AFAB55BFBCF1}">
            <pc226:cmChg xmlns:pc226="http://schemas.microsoft.com/office/powerpoint/2022/06/main/command" chg="add">
              <pc226:chgData name="Nathan Farquharson" userId="d312bfc7-4201-48a3-a9df-83186336f2dd" providerId="ADAL" clId="{88C89422-1838-494F-AEE6-472139F7E5D1}" dt="2024-07-25T14:46:05.141" v="6069"/>
              <pc2:cmMkLst xmlns:pc2="http://schemas.microsoft.com/office/powerpoint/2019/9/main/command">
                <pc:docMk/>
                <pc:sldMk cId="1374375214" sldId="2147473255"/>
                <pc2:cmMk id="{AA2437CA-B64F-4169-996C-7FDE7C8B000D}"/>
              </pc2:cmMkLst>
            </pc226:cmChg>
          </p:ext>
        </pc:extLst>
      </pc:sldChg>
    </pc:docChg>
  </pc:docChgLst>
  <pc:docChgLst>
    <pc:chgData name="Nathan" userId="d312bfc7-4201-48a3-a9df-83186336f2dd" providerId="ADAL" clId="{88C89422-1838-494F-AEE6-472139F7E5D1}"/>
    <pc:docChg chg="undo custSel delSld modSld delSection modSection">
      <pc:chgData name="Nathan" userId="d312bfc7-4201-48a3-a9df-83186336f2dd" providerId="ADAL" clId="{88C89422-1838-494F-AEE6-472139F7E5D1}" dt="2024-07-25T19:52:16.996" v="86" actId="1076"/>
      <pc:docMkLst>
        <pc:docMk/>
      </pc:docMkLst>
      <pc:sldChg chg="del">
        <pc:chgData name="Nathan" userId="d312bfc7-4201-48a3-a9df-83186336f2dd" providerId="ADAL" clId="{88C89422-1838-494F-AEE6-472139F7E5D1}" dt="2024-07-25T19:41:06.592" v="0" actId="18676"/>
        <pc:sldMkLst>
          <pc:docMk/>
          <pc:sldMk cId="2204798024" sldId="433"/>
        </pc:sldMkLst>
      </pc:sldChg>
      <pc:sldChg chg="del">
        <pc:chgData name="Nathan" userId="d312bfc7-4201-48a3-a9df-83186336f2dd" providerId="ADAL" clId="{88C89422-1838-494F-AEE6-472139F7E5D1}" dt="2024-07-25T19:41:06.592" v="0" actId="18676"/>
        <pc:sldMkLst>
          <pc:docMk/>
          <pc:sldMk cId="3556499228" sldId="489"/>
        </pc:sldMkLst>
      </pc:sldChg>
      <pc:sldChg chg="del">
        <pc:chgData name="Nathan" userId="d312bfc7-4201-48a3-a9df-83186336f2dd" providerId="ADAL" clId="{88C89422-1838-494F-AEE6-472139F7E5D1}" dt="2024-07-25T19:41:06.592" v="0" actId="18676"/>
        <pc:sldMkLst>
          <pc:docMk/>
          <pc:sldMk cId="615124764" sldId="2147472673"/>
        </pc:sldMkLst>
      </pc:sldChg>
      <pc:sldChg chg="del">
        <pc:chgData name="Nathan" userId="d312bfc7-4201-48a3-a9df-83186336f2dd" providerId="ADAL" clId="{88C89422-1838-494F-AEE6-472139F7E5D1}" dt="2024-07-25T19:41:06.592" v="0" actId="18676"/>
        <pc:sldMkLst>
          <pc:docMk/>
          <pc:sldMk cId="3139942358" sldId="2147472675"/>
        </pc:sldMkLst>
      </pc:sldChg>
      <pc:sldChg chg="del">
        <pc:chgData name="Nathan" userId="d312bfc7-4201-48a3-a9df-83186336f2dd" providerId="ADAL" clId="{88C89422-1838-494F-AEE6-472139F7E5D1}" dt="2024-07-25T19:41:06.592" v="0" actId="18676"/>
        <pc:sldMkLst>
          <pc:docMk/>
          <pc:sldMk cId="857661641" sldId="2147472676"/>
        </pc:sldMkLst>
      </pc:sldChg>
      <pc:sldChg chg="del">
        <pc:chgData name="Nathan" userId="d312bfc7-4201-48a3-a9df-83186336f2dd" providerId="ADAL" clId="{88C89422-1838-494F-AEE6-472139F7E5D1}" dt="2024-07-25T19:41:06.592" v="0" actId="18676"/>
        <pc:sldMkLst>
          <pc:docMk/>
          <pc:sldMk cId="3025520493" sldId="2147472677"/>
        </pc:sldMkLst>
      </pc:sldChg>
      <pc:sldChg chg="del">
        <pc:chgData name="Nathan" userId="d312bfc7-4201-48a3-a9df-83186336f2dd" providerId="ADAL" clId="{88C89422-1838-494F-AEE6-472139F7E5D1}" dt="2024-07-25T19:41:06.592" v="0" actId="18676"/>
        <pc:sldMkLst>
          <pc:docMk/>
          <pc:sldMk cId="1249303887" sldId="2147472678"/>
        </pc:sldMkLst>
      </pc:sldChg>
      <pc:sldChg chg="del">
        <pc:chgData name="Nathan" userId="d312bfc7-4201-48a3-a9df-83186336f2dd" providerId="ADAL" clId="{88C89422-1838-494F-AEE6-472139F7E5D1}" dt="2024-07-25T19:41:06.592" v="0" actId="18676"/>
        <pc:sldMkLst>
          <pc:docMk/>
          <pc:sldMk cId="3278897065" sldId="2147472679"/>
        </pc:sldMkLst>
      </pc:sldChg>
      <pc:sldChg chg="del">
        <pc:chgData name="Nathan" userId="d312bfc7-4201-48a3-a9df-83186336f2dd" providerId="ADAL" clId="{88C89422-1838-494F-AEE6-472139F7E5D1}" dt="2024-07-25T19:41:06.592" v="0" actId="18676"/>
        <pc:sldMkLst>
          <pc:docMk/>
          <pc:sldMk cId="365325658" sldId="2147472680"/>
        </pc:sldMkLst>
      </pc:sldChg>
      <pc:sldChg chg="del">
        <pc:chgData name="Nathan" userId="d312bfc7-4201-48a3-a9df-83186336f2dd" providerId="ADAL" clId="{88C89422-1838-494F-AEE6-472139F7E5D1}" dt="2024-07-25T19:41:06.592" v="0" actId="18676"/>
        <pc:sldMkLst>
          <pc:docMk/>
          <pc:sldMk cId="3145706935" sldId="2147472681"/>
        </pc:sldMkLst>
      </pc:sldChg>
      <pc:sldChg chg="del">
        <pc:chgData name="Nathan" userId="d312bfc7-4201-48a3-a9df-83186336f2dd" providerId="ADAL" clId="{88C89422-1838-494F-AEE6-472139F7E5D1}" dt="2024-07-25T19:41:06.592" v="0" actId="18676"/>
        <pc:sldMkLst>
          <pc:docMk/>
          <pc:sldMk cId="814166382" sldId="2147472683"/>
        </pc:sldMkLst>
      </pc:sldChg>
      <pc:sldChg chg="del">
        <pc:chgData name="Nathan" userId="d312bfc7-4201-48a3-a9df-83186336f2dd" providerId="ADAL" clId="{88C89422-1838-494F-AEE6-472139F7E5D1}" dt="2024-07-25T19:41:06.592" v="0" actId="18676"/>
        <pc:sldMkLst>
          <pc:docMk/>
          <pc:sldMk cId="1610629923" sldId="2147472686"/>
        </pc:sldMkLst>
      </pc:sldChg>
      <pc:sldChg chg="del">
        <pc:chgData name="Nathan" userId="d312bfc7-4201-48a3-a9df-83186336f2dd" providerId="ADAL" clId="{88C89422-1838-494F-AEE6-472139F7E5D1}" dt="2024-07-25T19:41:06.592" v="0" actId="18676"/>
        <pc:sldMkLst>
          <pc:docMk/>
          <pc:sldMk cId="966821574" sldId="2147472687"/>
        </pc:sldMkLst>
      </pc:sldChg>
      <pc:sldChg chg="del">
        <pc:chgData name="Nathan" userId="d312bfc7-4201-48a3-a9df-83186336f2dd" providerId="ADAL" clId="{88C89422-1838-494F-AEE6-472139F7E5D1}" dt="2024-07-25T19:41:06.592" v="0" actId="18676"/>
        <pc:sldMkLst>
          <pc:docMk/>
          <pc:sldMk cId="790803164" sldId="2147472688"/>
        </pc:sldMkLst>
      </pc:sldChg>
      <pc:sldChg chg="del">
        <pc:chgData name="Nathan" userId="d312bfc7-4201-48a3-a9df-83186336f2dd" providerId="ADAL" clId="{88C89422-1838-494F-AEE6-472139F7E5D1}" dt="2024-07-25T19:41:06.592" v="0" actId="18676"/>
        <pc:sldMkLst>
          <pc:docMk/>
          <pc:sldMk cId="4217402752" sldId="2147472689"/>
        </pc:sldMkLst>
      </pc:sldChg>
      <pc:sldChg chg="del">
        <pc:chgData name="Nathan" userId="d312bfc7-4201-48a3-a9df-83186336f2dd" providerId="ADAL" clId="{88C89422-1838-494F-AEE6-472139F7E5D1}" dt="2024-07-25T19:41:06.592" v="0" actId="18676"/>
        <pc:sldMkLst>
          <pc:docMk/>
          <pc:sldMk cId="38976361" sldId="2147472690"/>
        </pc:sldMkLst>
      </pc:sldChg>
      <pc:sldChg chg="del">
        <pc:chgData name="Nathan" userId="d312bfc7-4201-48a3-a9df-83186336f2dd" providerId="ADAL" clId="{88C89422-1838-494F-AEE6-472139F7E5D1}" dt="2024-07-25T19:41:06.592" v="0" actId="18676"/>
        <pc:sldMkLst>
          <pc:docMk/>
          <pc:sldMk cId="4210382873" sldId="2147472691"/>
        </pc:sldMkLst>
      </pc:sldChg>
      <pc:sldChg chg="del">
        <pc:chgData name="Nathan" userId="d312bfc7-4201-48a3-a9df-83186336f2dd" providerId="ADAL" clId="{88C89422-1838-494F-AEE6-472139F7E5D1}" dt="2024-07-25T19:41:06.592" v="0" actId="18676"/>
        <pc:sldMkLst>
          <pc:docMk/>
          <pc:sldMk cId="3623539390" sldId="2147472692"/>
        </pc:sldMkLst>
      </pc:sldChg>
      <pc:sldChg chg="del">
        <pc:chgData name="Nathan" userId="d312bfc7-4201-48a3-a9df-83186336f2dd" providerId="ADAL" clId="{88C89422-1838-494F-AEE6-472139F7E5D1}" dt="2024-07-25T19:41:06.592" v="0" actId="18676"/>
        <pc:sldMkLst>
          <pc:docMk/>
          <pc:sldMk cId="1807136608" sldId="2147472693"/>
        </pc:sldMkLst>
      </pc:sldChg>
      <pc:sldChg chg="del">
        <pc:chgData name="Nathan" userId="d312bfc7-4201-48a3-a9df-83186336f2dd" providerId="ADAL" clId="{88C89422-1838-494F-AEE6-472139F7E5D1}" dt="2024-07-25T19:41:06.592" v="0" actId="18676"/>
        <pc:sldMkLst>
          <pc:docMk/>
          <pc:sldMk cId="669193148" sldId="2147472694"/>
        </pc:sldMkLst>
      </pc:sldChg>
      <pc:sldChg chg="del">
        <pc:chgData name="Nathan" userId="d312bfc7-4201-48a3-a9df-83186336f2dd" providerId="ADAL" clId="{88C89422-1838-494F-AEE6-472139F7E5D1}" dt="2024-07-25T19:41:06.592" v="0" actId="18676"/>
        <pc:sldMkLst>
          <pc:docMk/>
          <pc:sldMk cId="1398748997" sldId="2147472695"/>
        </pc:sldMkLst>
      </pc:sldChg>
      <pc:sldChg chg="del">
        <pc:chgData name="Nathan" userId="d312bfc7-4201-48a3-a9df-83186336f2dd" providerId="ADAL" clId="{88C89422-1838-494F-AEE6-472139F7E5D1}" dt="2024-07-25T19:41:06.592" v="0" actId="18676"/>
        <pc:sldMkLst>
          <pc:docMk/>
          <pc:sldMk cId="3707678293" sldId="2147472696"/>
        </pc:sldMkLst>
      </pc:sldChg>
      <pc:sldChg chg="del">
        <pc:chgData name="Nathan" userId="d312bfc7-4201-48a3-a9df-83186336f2dd" providerId="ADAL" clId="{88C89422-1838-494F-AEE6-472139F7E5D1}" dt="2024-07-25T19:41:06.592" v="0" actId="18676"/>
        <pc:sldMkLst>
          <pc:docMk/>
          <pc:sldMk cId="3322548929" sldId="2147472697"/>
        </pc:sldMkLst>
      </pc:sldChg>
      <pc:sldChg chg="del">
        <pc:chgData name="Nathan" userId="d312bfc7-4201-48a3-a9df-83186336f2dd" providerId="ADAL" clId="{88C89422-1838-494F-AEE6-472139F7E5D1}" dt="2024-07-25T19:41:06.592" v="0" actId="18676"/>
        <pc:sldMkLst>
          <pc:docMk/>
          <pc:sldMk cId="308583979" sldId="2147472698"/>
        </pc:sldMkLst>
      </pc:sldChg>
      <pc:sldChg chg="del">
        <pc:chgData name="Nathan" userId="d312bfc7-4201-48a3-a9df-83186336f2dd" providerId="ADAL" clId="{88C89422-1838-494F-AEE6-472139F7E5D1}" dt="2024-07-25T19:41:06.592" v="0" actId="18676"/>
        <pc:sldMkLst>
          <pc:docMk/>
          <pc:sldMk cId="3487914507" sldId="2147472699"/>
        </pc:sldMkLst>
      </pc:sldChg>
      <pc:sldChg chg="del">
        <pc:chgData name="Nathan" userId="d312bfc7-4201-48a3-a9df-83186336f2dd" providerId="ADAL" clId="{88C89422-1838-494F-AEE6-472139F7E5D1}" dt="2024-07-25T19:41:06.592" v="0" actId="18676"/>
        <pc:sldMkLst>
          <pc:docMk/>
          <pc:sldMk cId="1308090478" sldId="2147472700"/>
        </pc:sldMkLst>
      </pc:sldChg>
      <pc:sldChg chg="del">
        <pc:chgData name="Nathan" userId="d312bfc7-4201-48a3-a9df-83186336f2dd" providerId="ADAL" clId="{88C89422-1838-494F-AEE6-472139F7E5D1}" dt="2024-07-25T19:41:06.592" v="0" actId="18676"/>
        <pc:sldMkLst>
          <pc:docMk/>
          <pc:sldMk cId="3446265529" sldId="2147472701"/>
        </pc:sldMkLst>
      </pc:sldChg>
      <pc:sldChg chg="del">
        <pc:chgData name="Nathan" userId="d312bfc7-4201-48a3-a9df-83186336f2dd" providerId="ADAL" clId="{88C89422-1838-494F-AEE6-472139F7E5D1}" dt="2024-07-25T19:41:06.592" v="0" actId="18676"/>
        <pc:sldMkLst>
          <pc:docMk/>
          <pc:sldMk cId="1698181296" sldId="2147472702"/>
        </pc:sldMkLst>
      </pc:sldChg>
      <pc:sldChg chg="del">
        <pc:chgData name="Nathan" userId="d312bfc7-4201-48a3-a9df-83186336f2dd" providerId="ADAL" clId="{88C89422-1838-494F-AEE6-472139F7E5D1}" dt="2024-07-25T19:41:06.592" v="0" actId="18676"/>
        <pc:sldMkLst>
          <pc:docMk/>
          <pc:sldMk cId="1430833760" sldId="2147472703"/>
        </pc:sldMkLst>
      </pc:sldChg>
      <pc:sldChg chg="del">
        <pc:chgData name="Nathan" userId="d312bfc7-4201-48a3-a9df-83186336f2dd" providerId="ADAL" clId="{88C89422-1838-494F-AEE6-472139F7E5D1}" dt="2024-07-25T19:41:06.592" v="0" actId="18676"/>
        <pc:sldMkLst>
          <pc:docMk/>
          <pc:sldMk cId="816035352" sldId="2147472704"/>
        </pc:sldMkLst>
      </pc:sldChg>
      <pc:sldChg chg="del">
        <pc:chgData name="Nathan" userId="d312bfc7-4201-48a3-a9df-83186336f2dd" providerId="ADAL" clId="{88C89422-1838-494F-AEE6-472139F7E5D1}" dt="2024-07-25T19:41:06.592" v="0" actId="18676"/>
        <pc:sldMkLst>
          <pc:docMk/>
          <pc:sldMk cId="2557585212" sldId="2147472707"/>
        </pc:sldMkLst>
      </pc:sldChg>
      <pc:sldChg chg="del">
        <pc:chgData name="Nathan" userId="d312bfc7-4201-48a3-a9df-83186336f2dd" providerId="ADAL" clId="{88C89422-1838-494F-AEE6-472139F7E5D1}" dt="2024-07-25T19:41:06.592" v="0" actId="18676"/>
        <pc:sldMkLst>
          <pc:docMk/>
          <pc:sldMk cId="3101965438" sldId="2147472708"/>
        </pc:sldMkLst>
      </pc:sldChg>
      <pc:sldChg chg="del">
        <pc:chgData name="Nathan" userId="d312bfc7-4201-48a3-a9df-83186336f2dd" providerId="ADAL" clId="{88C89422-1838-494F-AEE6-472139F7E5D1}" dt="2024-07-25T19:41:06.592" v="0" actId="18676"/>
        <pc:sldMkLst>
          <pc:docMk/>
          <pc:sldMk cId="2478251414" sldId="2147472709"/>
        </pc:sldMkLst>
      </pc:sldChg>
      <pc:sldChg chg="del">
        <pc:chgData name="Nathan" userId="d312bfc7-4201-48a3-a9df-83186336f2dd" providerId="ADAL" clId="{88C89422-1838-494F-AEE6-472139F7E5D1}" dt="2024-07-25T19:41:06.592" v="0" actId="18676"/>
        <pc:sldMkLst>
          <pc:docMk/>
          <pc:sldMk cId="956946254" sldId="2147472710"/>
        </pc:sldMkLst>
      </pc:sldChg>
      <pc:sldChg chg="del">
        <pc:chgData name="Nathan" userId="d312bfc7-4201-48a3-a9df-83186336f2dd" providerId="ADAL" clId="{88C89422-1838-494F-AEE6-472139F7E5D1}" dt="2024-07-25T19:41:06.592" v="0" actId="18676"/>
        <pc:sldMkLst>
          <pc:docMk/>
          <pc:sldMk cId="2601297687" sldId="2147472711"/>
        </pc:sldMkLst>
      </pc:sldChg>
      <pc:sldChg chg="del">
        <pc:chgData name="Nathan" userId="d312bfc7-4201-48a3-a9df-83186336f2dd" providerId="ADAL" clId="{88C89422-1838-494F-AEE6-472139F7E5D1}" dt="2024-07-25T19:41:06.592" v="0" actId="18676"/>
        <pc:sldMkLst>
          <pc:docMk/>
          <pc:sldMk cId="1891085999" sldId="2147472712"/>
        </pc:sldMkLst>
      </pc:sldChg>
      <pc:sldChg chg="del">
        <pc:chgData name="Nathan" userId="d312bfc7-4201-48a3-a9df-83186336f2dd" providerId="ADAL" clId="{88C89422-1838-494F-AEE6-472139F7E5D1}" dt="2024-07-25T19:41:06.592" v="0" actId="18676"/>
        <pc:sldMkLst>
          <pc:docMk/>
          <pc:sldMk cId="618819442" sldId="2147472713"/>
        </pc:sldMkLst>
      </pc:sldChg>
      <pc:sldChg chg="del">
        <pc:chgData name="Nathan" userId="d312bfc7-4201-48a3-a9df-83186336f2dd" providerId="ADAL" clId="{88C89422-1838-494F-AEE6-472139F7E5D1}" dt="2024-07-25T19:41:06.592" v="0" actId="18676"/>
        <pc:sldMkLst>
          <pc:docMk/>
          <pc:sldMk cId="1048938869" sldId="2147472714"/>
        </pc:sldMkLst>
      </pc:sldChg>
      <pc:sldChg chg="del">
        <pc:chgData name="Nathan" userId="d312bfc7-4201-48a3-a9df-83186336f2dd" providerId="ADAL" clId="{88C89422-1838-494F-AEE6-472139F7E5D1}" dt="2024-07-25T19:41:06.592" v="0" actId="18676"/>
        <pc:sldMkLst>
          <pc:docMk/>
          <pc:sldMk cId="2723343425" sldId="2147472715"/>
        </pc:sldMkLst>
      </pc:sldChg>
      <pc:sldChg chg="del">
        <pc:chgData name="Nathan" userId="d312bfc7-4201-48a3-a9df-83186336f2dd" providerId="ADAL" clId="{88C89422-1838-494F-AEE6-472139F7E5D1}" dt="2024-07-25T19:41:06.592" v="0" actId="18676"/>
        <pc:sldMkLst>
          <pc:docMk/>
          <pc:sldMk cId="2269238805" sldId="2147472716"/>
        </pc:sldMkLst>
      </pc:sldChg>
      <pc:sldChg chg="del">
        <pc:chgData name="Nathan" userId="d312bfc7-4201-48a3-a9df-83186336f2dd" providerId="ADAL" clId="{88C89422-1838-494F-AEE6-472139F7E5D1}" dt="2024-07-25T19:41:06.592" v="0" actId="18676"/>
        <pc:sldMkLst>
          <pc:docMk/>
          <pc:sldMk cId="3199404258" sldId="2147472718"/>
        </pc:sldMkLst>
      </pc:sldChg>
      <pc:sldChg chg="del">
        <pc:chgData name="Nathan" userId="d312bfc7-4201-48a3-a9df-83186336f2dd" providerId="ADAL" clId="{88C89422-1838-494F-AEE6-472139F7E5D1}" dt="2024-07-25T19:41:06.592" v="0" actId="18676"/>
        <pc:sldMkLst>
          <pc:docMk/>
          <pc:sldMk cId="1616140385" sldId="2147472719"/>
        </pc:sldMkLst>
      </pc:sldChg>
      <pc:sldChg chg="del">
        <pc:chgData name="Nathan" userId="d312bfc7-4201-48a3-a9df-83186336f2dd" providerId="ADAL" clId="{88C89422-1838-494F-AEE6-472139F7E5D1}" dt="2024-07-25T19:41:06.592" v="0" actId="18676"/>
        <pc:sldMkLst>
          <pc:docMk/>
          <pc:sldMk cId="3588507833" sldId="2147472720"/>
        </pc:sldMkLst>
      </pc:sldChg>
      <pc:sldChg chg="del">
        <pc:chgData name="Nathan" userId="d312bfc7-4201-48a3-a9df-83186336f2dd" providerId="ADAL" clId="{88C89422-1838-494F-AEE6-472139F7E5D1}" dt="2024-07-25T19:41:06.592" v="0" actId="18676"/>
        <pc:sldMkLst>
          <pc:docMk/>
          <pc:sldMk cId="1075869077" sldId="2147472721"/>
        </pc:sldMkLst>
      </pc:sldChg>
      <pc:sldChg chg="del">
        <pc:chgData name="Nathan" userId="d312bfc7-4201-48a3-a9df-83186336f2dd" providerId="ADAL" clId="{88C89422-1838-494F-AEE6-472139F7E5D1}" dt="2024-07-25T19:41:06.592" v="0" actId="18676"/>
        <pc:sldMkLst>
          <pc:docMk/>
          <pc:sldMk cId="1544255668" sldId="2147472722"/>
        </pc:sldMkLst>
      </pc:sldChg>
      <pc:sldChg chg="del">
        <pc:chgData name="Nathan" userId="d312bfc7-4201-48a3-a9df-83186336f2dd" providerId="ADAL" clId="{88C89422-1838-494F-AEE6-472139F7E5D1}" dt="2024-07-25T19:41:06.592" v="0" actId="18676"/>
        <pc:sldMkLst>
          <pc:docMk/>
          <pc:sldMk cId="2159724710" sldId="2147472724"/>
        </pc:sldMkLst>
      </pc:sldChg>
      <pc:sldChg chg="del">
        <pc:chgData name="Nathan" userId="d312bfc7-4201-48a3-a9df-83186336f2dd" providerId="ADAL" clId="{88C89422-1838-494F-AEE6-472139F7E5D1}" dt="2024-07-25T19:41:06.592" v="0" actId="18676"/>
        <pc:sldMkLst>
          <pc:docMk/>
          <pc:sldMk cId="1947449309" sldId="2147472725"/>
        </pc:sldMkLst>
      </pc:sldChg>
      <pc:sldChg chg="del">
        <pc:chgData name="Nathan" userId="d312bfc7-4201-48a3-a9df-83186336f2dd" providerId="ADAL" clId="{88C89422-1838-494F-AEE6-472139F7E5D1}" dt="2024-07-25T19:41:06.592" v="0" actId="18676"/>
        <pc:sldMkLst>
          <pc:docMk/>
          <pc:sldMk cId="1169954160" sldId="2147472726"/>
        </pc:sldMkLst>
      </pc:sldChg>
      <pc:sldChg chg="del">
        <pc:chgData name="Nathan" userId="d312bfc7-4201-48a3-a9df-83186336f2dd" providerId="ADAL" clId="{88C89422-1838-494F-AEE6-472139F7E5D1}" dt="2024-07-25T19:41:06.592" v="0" actId="18676"/>
        <pc:sldMkLst>
          <pc:docMk/>
          <pc:sldMk cId="1152192732" sldId="2147472727"/>
        </pc:sldMkLst>
      </pc:sldChg>
      <pc:sldChg chg="del">
        <pc:chgData name="Nathan" userId="d312bfc7-4201-48a3-a9df-83186336f2dd" providerId="ADAL" clId="{88C89422-1838-494F-AEE6-472139F7E5D1}" dt="2024-07-25T19:41:06.592" v="0" actId="18676"/>
        <pc:sldMkLst>
          <pc:docMk/>
          <pc:sldMk cId="532441229" sldId="2147472728"/>
        </pc:sldMkLst>
      </pc:sldChg>
      <pc:sldChg chg="del">
        <pc:chgData name="Nathan" userId="d312bfc7-4201-48a3-a9df-83186336f2dd" providerId="ADAL" clId="{88C89422-1838-494F-AEE6-472139F7E5D1}" dt="2024-07-25T19:41:06.592" v="0" actId="18676"/>
        <pc:sldMkLst>
          <pc:docMk/>
          <pc:sldMk cId="1527663286" sldId="2147472729"/>
        </pc:sldMkLst>
      </pc:sldChg>
      <pc:sldChg chg="del">
        <pc:chgData name="Nathan" userId="d312bfc7-4201-48a3-a9df-83186336f2dd" providerId="ADAL" clId="{88C89422-1838-494F-AEE6-472139F7E5D1}" dt="2024-07-25T19:41:06.592" v="0" actId="18676"/>
        <pc:sldMkLst>
          <pc:docMk/>
          <pc:sldMk cId="27075066" sldId="2147472730"/>
        </pc:sldMkLst>
      </pc:sldChg>
      <pc:sldChg chg="del">
        <pc:chgData name="Nathan" userId="d312bfc7-4201-48a3-a9df-83186336f2dd" providerId="ADAL" clId="{88C89422-1838-494F-AEE6-472139F7E5D1}" dt="2024-07-25T19:41:06.592" v="0" actId="18676"/>
        <pc:sldMkLst>
          <pc:docMk/>
          <pc:sldMk cId="539368248" sldId="2147472731"/>
        </pc:sldMkLst>
      </pc:sldChg>
      <pc:sldChg chg="del">
        <pc:chgData name="Nathan" userId="d312bfc7-4201-48a3-a9df-83186336f2dd" providerId="ADAL" clId="{88C89422-1838-494F-AEE6-472139F7E5D1}" dt="2024-07-25T19:41:06.592" v="0" actId="18676"/>
        <pc:sldMkLst>
          <pc:docMk/>
          <pc:sldMk cId="2946808610" sldId="2147472732"/>
        </pc:sldMkLst>
      </pc:sldChg>
      <pc:sldChg chg="del">
        <pc:chgData name="Nathan" userId="d312bfc7-4201-48a3-a9df-83186336f2dd" providerId="ADAL" clId="{88C89422-1838-494F-AEE6-472139F7E5D1}" dt="2024-07-25T19:41:06.592" v="0" actId="18676"/>
        <pc:sldMkLst>
          <pc:docMk/>
          <pc:sldMk cId="3882927627" sldId="2147472733"/>
        </pc:sldMkLst>
      </pc:sldChg>
      <pc:sldChg chg="del">
        <pc:chgData name="Nathan" userId="d312bfc7-4201-48a3-a9df-83186336f2dd" providerId="ADAL" clId="{88C89422-1838-494F-AEE6-472139F7E5D1}" dt="2024-07-25T19:41:06.592" v="0" actId="18676"/>
        <pc:sldMkLst>
          <pc:docMk/>
          <pc:sldMk cId="845116782" sldId="2147472734"/>
        </pc:sldMkLst>
      </pc:sldChg>
      <pc:sldChg chg="del">
        <pc:chgData name="Nathan" userId="d312bfc7-4201-48a3-a9df-83186336f2dd" providerId="ADAL" clId="{88C89422-1838-494F-AEE6-472139F7E5D1}" dt="2024-07-25T19:41:06.592" v="0" actId="18676"/>
        <pc:sldMkLst>
          <pc:docMk/>
          <pc:sldMk cId="4040231597" sldId="2147472735"/>
        </pc:sldMkLst>
      </pc:sldChg>
      <pc:sldChg chg="del">
        <pc:chgData name="Nathan" userId="d312bfc7-4201-48a3-a9df-83186336f2dd" providerId="ADAL" clId="{88C89422-1838-494F-AEE6-472139F7E5D1}" dt="2024-07-25T19:41:06.592" v="0" actId="18676"/>
        <pc:sldMkLst>
          <pc:docMk/>
          <pc:sldMk cId="1286510828" sldId="2147472737"/>
        </pc:sldMkLst>
      </pc:sldChg>
      <pc:sldChg chg="del">
        <pc:chgData name="Nathan" userId="d312bfc7-4201-48a3-a9df-83186336f2dd" providerId="ADAL" clId="{88C89422-1838-494F-AEE6-472139F7E5D1}" dt="2024-07-25T19:41:06.592" v="0" actId="18676"/>
        <pc:sldMkLst>
          <pc:docMk/>
          <pc:sldMk cId="1373781793" sldId="2147472739"/>
        </pc:sldMkLst>
      </pc:sldChg>
      <pc:sldChg chg="del">
        <pc:chgData name="Nathan" userId="d312bfc7-4201-48a3-a9df-83186336f2dd" providerId="ADAL" clId="{88C89422-1838-494F-AEE6-472139F7E5D1}" dt="2024-07-25T19:41:06.592" v="0" actId="18676"/>
        <pc:sldMkLst>
          <pc:docMk/>
          <pc:sldMk cId="1842681758" sldId="2147472740"/>
        </pc:sldMkLst>
      </pc:sldChg>
      <pc:sldChg chg="del">
        <pc:chgData name="Nathan" userId="d312bfc7-4201-48a3-a9df-83186336f2dd" providerId="ADAL" clId="{88C89422-1838-494F-AEE6-472139F7E5D1}" dt="2024-07-25T19:41:06.592" v="0" actId="18676"/>
        <pc:sldMkLst>
          <pc:docMk/>
          <pc:sldMk cId="3900715563" sldId="2147472741"/>
        </pc:sldMkLst>
      </pc:sldChg>
      <pc:sldChg chg="del">
        <pc:chgData name="Nathan" userId="d312bfc7-4201-48a3-a9df-83186336f2dd" providerId="ADAL" clId="{88C89422-1838-494F-AEE6-472139F7E5D1}" dt="2024-07-25T19:41:06.592" v="0" actId="18676"/>
        <pc:sldMkLst>
          <pc:docMk/>
          <pc:sldMk cId="170284838" sldId="2147472742"/>
        </pc:sldMkLst>
      </pc:sldChg>
      <pc:sldChg chg="del">
        <pc:chgData name="Nathan" userId="d312bfc7-4201-48a3-a9df-83186336f2dd" providerId="ADAL" clId="{88C89422-1838-494F-AEE6-472139F7E5D1}" dt="2024-07-25T19:41:06.592" v="0" actId="18676"/>
        <pc:sldMkLst>
          <pc:docMk/>
          <pc:sldMk cId="4156959475" sldId="2147472743"/>
        </pc:sldMkLst>
      </pc:sldChg>
      <pc:sldChg chg="del">
        <pc:chgData name="Nathan" userId="d312bfc7-4201-48a3-a9df-83186336f2dd" providerId="ADAL" clId="{88C89422-1838-494F-AEE6-472139F7E5D1}" dt="2024-07-25T19:41:06.592" v="0" actId="18676"/>
        <pc:sldMkLst>
          <pc:docMk/>
          <pc:sldMk cId="347286297" sldId="2147472744"/>
        </pc:sldMkLst>
      </pc:sldChg>
      <pc:sldChg chg="del">
        <pc:chgData name="Nathan" userId="d312bfc7-4201-48a3-a9df-83186336f2dd" providerId="ADAL" clId="{88C89422-1838-494F-AEE6-472139F7E5D1}" dt="2024-07-25T19:41:06.592" v="0" actId="18676"/>
        <pc:sldMkLst>
          <pc:docMk/>
          <pc:sldMk cId="3129106895" sldId="2147472745"/>
        </pc:sldMkLst>
      </pc:sldChg>
      <pc:sldChg chg="del">
        <pc:chgData name="Nathan" userId="d312bfc7-4201-48a3-a9df-83186336f2dd" providerId="ADAL" clId="{88C89422-1838-494F-AEE6-472139F7E5D1}" dt="2024-07-25T19:41:06.592" v="0" actId="18676"/>
        <pc:sldMkLst>
          <pc:docMk/>
          <pc:sldMk cId="2019062669" sldId="2147472746"/>
        </pc:sldMkLst>
      </pc:sldChg>
      <pc:sldChg chg="del">
        <pc:chgData name="Nathan" userId="d312bfc7-4201-48a3-a9df-83186336f2dd" providerId="ADAL" clId="{88C89422-1838-494F-AEE6-472139F7E5D1}" dt="2024-07-25T19:41:06.592" v="0" actId="18676"/>
        <pc:sldMkLst>
          <pc:docMk/>
          <pc:sldMk cId="595290574" sldId="2147472747"/>
        </pc:sldMkLst>
      </pc:sldChg>
      <pc:sldChg chg="del">
        <pc:chgData name="Nathan" userId="d312bfc7-4201-48a3-a9df-83186336f2dd" providerId="ADAL" clId="{88C89422-1838-494F-AEE6-472139F7E5D1}" dt="2024-07-25T19:41:06.592" v="0" actId="18676"/>
        <pc:sldMkLst>
          <pc:docMk/>
          <pc:sldMk cId="1539690813" sldId="2147472748"/>
        </pc:sldMkLst>
      </pc:sldChg>
      <pc:sldChg chg="del">
        <pc:chgData name="Nathan" userId="d312bfc7-4201-48a3-a9df-83186336f2dd" providerId="ADAL" clId="{88C89422-1838-494F-AEE6-472139F7E5D1}" dt="2024-07-25T19:41:06.592" v="0" actId="18676"/>
        <pc:sldMkLst>
          <pc:docMk/>
          <pc:sldMk cId="371431901" sldId="2147472749"/>
        </pc:sldMkLst>
      </pc:sldChg>
      <pc:sldChg chg="del">
        <pc:chgData name="Nathan" userId="d312bfc7-4201-48a3-a9df-83186336f2dd" providerId="ADAL" clId="{88C89422-1838-494F-AEE6-472139F7E5D1}" dt="2024-07-25T19:41:06.592" v="0" actId="18676"/>
        <pc:sldMkLst>
          <pc:docMk/>
          <pc:sldMk cId="4010435088" sldId="2147472750"/>
        </pc:sldMkLst>
      </pc:sldChg>
      <pc:sldChg chg="del">
        <pc:chgData name="Nathan" userId="d312bfc7-4201-48a3-a9df-83186336f2dd" providerId="ADAL" clId="{88C89422-1838-494F-AEE6-472139F7E5D1}" dt="2024-07-25T19:41:06.592" v="0" actId="18676"/>
        <pc:sldMkLst>
          <pc:docMk/>
          <pc:sldMk cId="126491875" sldId="2147472751"/>
        </pc:sldMkLst>
      </pc:sldChg>
      <pc:sldChg chg="del">
        <pc:chgData name="Nathan" userId="d312bfc7-4201-48a3-a9df-83186336f2dd" providerId="ADAL" clId="{88C89422-1838-494F-AEE6-472139F7E5D1}" dt="2024-07-25T19:41:06.592" v="0" actId="18676"/>
        <pc:sldMkLst>
          <pc:docMk/>
          <pc:sldMk cId="1227968403" sldId="2147472752"/>
        </pc:sldMkLst>
      </pc:sldChg>
      <pc:sldChg chg="del">
        <pc:chgData name="Nathan" userId="d312bfc7-4201-48a3-a9df-83186336f2dd" providerId="ADAL" clId="{88C89422-1838-494F-AEE6-472139F7E5D1}" dt="2024-07-25T19:41:06.592" v="0" actId="18676"/>
        <pc:sldMkLst>
          <pc:docMk/>
          <pc:sldMk cId="1640055030" sldId="2147472753"/>
        </pc:sldMkLst>
      </pc:sldChg>
      <pc:sldChg chg="del">
        <pc:chgData name="Nathan" userId="d312bfc7-4201-48a3-a9df-83186336f2dd" providerId="ADAL" clId="{88C89422-1838-494F-AEE6-472139F7E5D1}" dt="2024-07-25T19:41:06.592" v="0" actId="18676"/>
        <pc:sldMkLst>
          <pc:docMk/>
          <pc:sldMk cId="3665907423" sldId="2147472755"/>
        </pc:sldMkLst>
      </pc:sldChg>
      <pc:sldChg chg="del">
        <pc:chgData name="Nathan" userId="d312bfc7-4201-48a3-a9df-83186336f2dd" providerId="ADAL" clId="{88C89422-1838-494F-AEE6-472139F7E5D1}" dt="2024-07-25T19:41:06.592" v="0" actId="18676"/>
        <pc:sldMkLst>
          <pc:docMk/>
          <pc:sldMk cId="668542738" sldId="2147472756"/>
        </pc:sldMkLst>
      </pc:sldChg>
      <pc:sldChg chg="del">
        <pc:chgData name="Nathan" userId="d312bfc7-4201-48a3-a9df-83186336f2dd" providerId="ADAL" clId="{88C89422-1838-494F-AEE6-472139F7E5D1}" dt="2024-07-25T19:41:06.592" v="0" actId="18676"/>
        <pc:sldMkLst>
          <pc:docMk/>
          <pc:sldMk cId="2999753558" sldId="2147472757"/>
        </pc:sldMkLst>
      </pc:sldChg>
      <pc:sldChg chg="del">
        <pc:chgData name="Nathan" userId="d312bfc7-4201-48a3-a9df-83186336f2dd" providerId="ADAL" clId="{88C89422-1838-494F-AEE6-472139F7E5D1}" dt="2024-07-25T19:41:06.592" v="0" actId="18676"/>
        <pc:sldMkLst>
          <pc:docMk/>
          <pc:sldMk cId="4016404137" sldId="2147472759"/>
        </pc:sldMkLst>
      </pc:sldChg>
      <pc:sldChg chg="del">
        <pc:chgData name="Nathan" userId="d312bfc7-4201-48a3-a9df-83186336f2dd" providerId="ADAL" clId="{88C89422-1838-494F-AEE6-472139F7E5D1}" dt="2024-07-25T19:41:06.592" v="0" actId="18676"/>
        <pc:sldMkLst>
          <pc:docMk/>
          <pc:sldMk cId="1914777380" sldId="2147472760"/>
        </pc:sldMkLst>
      </pc:sldChg>
      <pc:sldChg chg="del">
        <pc:chgData name="Nathan" userId="d312bfc7-4201-48a3-a9df-83186336f2dd" providerId="ADAL" clId="{88C89422-1838-494F-AEE6-472139F7E5D1}" dt="2024-07-25T19:41:06.592" v="0" actId="18676"/>
        <pc:sldMkLst>
          <pc:docMk/>
          <pc:sldMk cId="3685536865" sldId="2147472761"/>
        </pc:sldMkLst>
      </pc:sldChg>
      <pc:sldChg chg="del">
        <pc:chgData name="Nathan" userId="d312bfc7-4201-48a3-a9df-83186336f2dd" providerId="ADAL" clId="{88C89422-1838-494F-AEE6-472139F7E5D1}" dt="2024-07-25T19:41:06.592" v="0" actId="18676"/>
        <pc:sldMkLst>
          <pc:docMk/>
          <pc:sldMk cId="661800676" sldId="2147472805"/>
        </pc:sldMkLst>
      </pc:sldChg>
      <pc:sldChg chg="del">
        <pc:chgData name="Nathan" userId="d312bfc7-4201-48a3-a9df-83186336f2dd" providerId="ADAL" clId="{88C89422-1838-494F-AEE6-472139F7E5D1}" dt="2024-07-25T19:41:06.592" v="0" actId="18676"/>
        <pc:sldMkLst>
          <pc:docMk/>
          <pc:sldMk cId="4069584659" sldId="2147472806"/>
        </pc:sldMkLst>
      </pc:sldChg>
      <pc:sldChg chg="del">
        <pc:chgData name="Nathan" userId="d312bfc7-4201-48a3-a9df-83186336f2dd" providerId="ADAL" clId="{88C89422-1838-494F-AEE6-472139F7E5D1}" dt="2024-07-25T19:41:06.592" v="0" actId="18676"/>
        <pc:sldMkLst>
          <pc:docMk/>
          <pc:sldMk cId="610701832" sldId="2147472807"/>
        </pc:sldMkLst>
      </pc:sldChg>
      <pc:sldChg chg="del">
        <pc:chgData name="Nathan" userId="d312bfc7-4201-48a3-a9df-83186336f2dd" providerId="ADAL" clId="{88C89422-1838-494F-AEE6-472139F7E5D1}" dt="2024-07-25T19:41:06.592" v="0" actId="18676"/>
        <pc:sldMkLst>
          <pc:docMk/>
          <pc:sldMk cId="3720770530" sldId="2147472808"/>
        </pc:sldMkLst>
      </pc:sldChg>
      <pc:sldChg chg="del">
        <pc:chgData name="Nathan" userId="d312bfc7-4201-48a3-a9df-83186336f2dd" providerId="ADAL" clId="{88C89422-1838-494F-AEE6-472139F7E5D1}" dt="2024-07-25T19:41:06.592" v="0" actId="18676"/>
        <pc:sldMkLst>
          <pc:docMk/>
          <pc:sldMk cId="1402674273" sldId="2147472822"/>
        </pc:sldMkLst>
      </pc:sldChg>
      <pc:sldChg chg="del">
        <pc:chgData name="Nathan" userId="d312bfc7-4201-48a3-a9df-83186336f2dd" providerId="ADAL" clId="{88C89422-1838-494F-AEE6-472139F7E5D1}" dt="2024-07-25T19:41:06.592" v="0" actId="18676"/>
        <pc:sldMkLst>
          <pc:docMk/>
          <pc:sldMk cId="3947373707" sldId="2147472836"/>
        </pc:sldMkLst>
      </pc:sldChg>
      <pc:sldChg chg="del">
        <pc:chgData name="Nathan" userId="d312bfc7-4201-48a3-a9df-83186336f2dd" providerId="ADAL" clId="{88C89422-1838-494F-AEE6-472139F7E5D1}" dt="2024-07-25T19:41:06.592" v="0" actId="18676"/>
        <pc:sldMkLst>
          <pc:docMk/>
          <pc:sldMk cId="3089910921" sldId="2147472837"/>
        </pc:sldMkLst>
      </pc:sldChg>
      <pc:sldChg chg="del">
        <pc:chgData name="Nathan" userId="d312bfc7-4201-48a3-a9df-83186336f2dd" providerId="ADAL" clId="{88C89422-1838-494F-AEE6-472139F7E5D1}" dt="2024-07-25T19:41:06.592" v="0" actId="18676"/>
        <pc:sldMkLst>
          <pc:docMk/>
          <pc:sldMk cId="1417460227" sldId="2147472838"/>
        </pc:sldMkLst>
      </pc:sldChg>
      <pc:sldChg chg="del">
        <pc:chgData name="Nathan" userId="d312bfc7-4201-48a3-a9df-83186336f2dd" providerId="ADAL" clId="{88C89422-1838-494F-AEE6-472139F7E5D1}" dt="2024-07-25T19:41:06.592" v="0" actId="18676"/>
        <pc:sldMkLst>
          <pc:docMk/>
          <pc:sldMk cId="478729885" sldId="2147472839"/>
        </pc:sldMkLst>
      </pc:sldChg>
      <pc:sldChg chg="del">
        <pc:chgData name="Nathan" userId="d312bfc7-4201-48a3-a9df-83186336f2dd" providerId="ADAL" clId="{88C89422-1838-494F-AEE6-472139F7E5D1}" dt="2024-07-25T19:41:06.592" v="0" actId="18676"/>
        <pc:sldMkLst>
          <pc:docMk/>
          <pc:sldMk cId="953984540" sldId="2147472840"/>
        </pc:sldMkLst>
      </pc:sldChg>
      <pc:sldChg chg="del">
        <pc:chgData name="Nathan" userId="d312bfc7-4201-48a3-a9df-83186336f2dd" providerId="ADAL" clId="{88C89422-1838-494F-AEE6-472139F7E5D1}" dt="2024-07-25T19:41:06.592" v="0" actId="18676"/>
        <pc:sldMkLst>
          <pc:docMk/>
          <pc:sldMk cId="2402528913" sldId="2147472841"/>
        </pc:sldMkLst>
      </pc:sldChg>
      <pc:sldChg chg="del">
        <pc:chgData name="Nathan" userId="d312bfc7-4201-48a3-a9df-83186336f2dd" providerId="ADAL" clId="{88C89422-1838-494F-AEE6-472139F7E5D1}" dt="2024-07-25T19:41:06.592" v="0" actId="18676"/>
        <pc:sldMkLst>
          <pc:docMk/>
          <pc:sldMk cId="1673655629" sldId="2147472842"/>
        </pc:sldMkLst>
      </pc:sldChg>
      <pc:sldChg chg="del">
        <pc:chgData name="Nathan" userId="d312bfc7-4201-48a3-a9df-83186336f2dd" providerId="ADAL" clId="{88C89422-1838-494F-AEE6-472139F7E5D1}" dt="2024-07-25T19:41:06.592" v="0" actId="18676"/>
        <pc:sldMkLst>
          <pc:docMk/>
          <pc:sldMk cId="1472518431" sldId="2147472843"/>
        </pc:sldMkLst>
      </pc:sldChg>
      <pc:sldChg chg="del">
        <pc:chgData name="Nathan" userId="d312bfc7-4201-48a3-a9df-83186336f2dd" providerId="ADAL" clId="{88C89422-1838-494F-AEE6-472139F7E5D1}" dt="2024-07-25T19:41:06.592" v="0" actId="18676"/>
        <pc:sldMkLst>
          <pc:docMk/>
          <pc:sldMk cId="1719827273" sldId="2147472844"/>
        </pc:sldMkLst>
      </pc:sldChg>
      <pc:sldChg chg="del">
        <pc:chgData name="Nathan" userId="d312bfc7-4201-48a3-a9df-83186336f2dd" providerId="ADAL" clId="{88C89422-1838-494F-AEE6-472139F7E5D1}" dt="2024-07-25T19:41:06.592" v="0" actId="18676"/>
        <pc:sldMkLst>
          <pc:docMk/>
          <pc:sldMk cId="4256193681" sldId="2147472845"/>
        </pc:sldMkLst>
      </pc:sldChg>
      <pc:sldChg chg="del">
        <pc:chgData name="Nathan" userId="d312bfc7-4201-48a3-a9df-83186336f2dd" providerId="ADAL" clId="{88C89422-1838-494F-AEE6-472139F7E5D1}" dt="2024-07-25T19:41:06.592" v="0" actId="18676"/>
        <pc:sldMkLst>
          <pc:docMk/>
          <pc:sldMk cId="1632232156" sldId="2147472846"/>
        </pc:sldMkLst>
      </pc:sldChg>
      <pc:sldChg chg="del">
        <pc:chgData name="Nathan" userId="d312bfc7-4201-48a3-a9df-83186336f2dd" providerId="ADAL" clId="{88C89422-1838-494F-AEE6-472139F7E5D1}" dt="2024-07-25T19:41:06.592" v="0" actId="18676"/>
        <pc:sldMkLst>
          <pc:docMk/>
          <pc:sldMk cId="506394124" sldId="2147472847"/>
        </pc:sldMkLst>
      </pc:sldChg>
      <pc:sldChg chg="del">
        <pc:chgData name="Nathan" userId="d312bfc7-4201-48a3-a9df-83186336f2dd" providerId="ADAL" clId="{88C89422-1838-494F-AEE6-472139F7E5D1}" dt="2024-07-25T19:41:06.592" v="0" actId="18676"/>
        <pc:sldMkLst>
          <pc:docMk/>
          <pc:sldMk cId="3237557316" sldId="2147472848"/>
        </pc:sldMkLst>
      </pc:sldChg>
      <pc:sldChg chg="del">
        <pc:chgData name="Nathan" userId="d312bfc7-4201-48a3-a9df-83186336f2dd" providerId="ADAL" clId="{88C89422-1838-494F-AEE6-472139F7E5D1}" dt="2024-07-25T19:41:06.592" v="0" actId="18676"/>
        <pc:sldMkLst>
          <pc:docMk/>
          <pc:sldMk cId="3602276975" sldId="2147472849"/>
        </pc:sldMkLst>
      </pc:sldChg>
      <pc:sldChg chg="del">
        <pc:chgData name="Nathan" userId="d312bfc7-4201-48a3-a9df-83186336f2dd" providerId="ADAL" clId="{88C89422-1838-494F-AEE6-472139F7E5D1}" dt="2024-07-25T19:41:06.592" v="0" actId="18676"/>
        <pc:sldMkLst>
          <pc:docMk/>
          <pc:sldMk cId="1108564704" sldId="2147472850"/>
        </pc:sldMkLst>
      </pc:sldChg>
      <pc:sldChg chg="del">
        <pc:chgData name="Nathan" userId="d312bfc7-4201-48a3-a9df-83186336f2dd" providerId="ADAL" clId="{88C89422-1838-494F-AEE6-472139F7E5D1}" dt="2024-07-25T19:41:06.592" v="0" actId="18676"/>
        <pc:sldMkLst>
          <pc:docMk/>
          <pc:sldMk cId="3994521142" sldId="2147472851"/>
        </pc:sldMkLst>
      </pc:sldChg>
      <pc:sldChg chg="del">
        <pc:chgData name="Nathan" userId="d312bfc7-4201-48a3-a9df-83186336f2dd" providerId="ADAL" clId="{88C89422-1838-494F-AEE6-472139F7E5D1}" dt="2024-07-25T19:41:06.592" v="0" actId="18676"/>
        <pc:sldMkLst>
          <pc:docMk/>
          <pc:sldMk cId="2599160821" sldId="2147472864"/>
        </pc:sldMkLst>
      </pc:sldChg>
      <pc:sldChg chg="del">
        <pc:chgData name="Nathan" userId="d312bfc7-4201-48a3-a9df-83186336f2dd" providerId="ADAL" clId="{88C89422-1838-494F-AEE6-472139F7E5D1}" dt="2024-07-25T19:41:06.592" v="0" actId="18676"/>
        <pc:sldMkLst>
          <pc:docMk/>
          <pc:sldMk cId="1055669750" sldId="2147472867"/>
        </pc:sldMkLst>
      </pc:sldChg>
      <pc:sldChg chg="del">
        <pc:chgData name="Nathan" userId="d312bfc7-4201-48a3-a9df-83186336f2dd" providerId="ADAL" clId="{88C89422-1838-494F-AEE6-472139F7E5D1}" dt="2024-07-25T19:41:06.592" v="0" actId="18676"/>
        <pc:sldMkLst>
          <pc:docMk/>
          <pc:sldMk cId="2067165676" sldId="2147472869"/>
        </pc:sldMkLst>
      </pc:sldChg>
      <pc:sldChg chg="del">
        <pc:chgData name="Nathan" userId="d312bfc7-4201-48a3-a9df-83186336f2dd" providerId="ADAL" clId="{88C89422-1838-494F-AEE6-472139F7E5D1}" dt="2024-07-25T19:41:06.592" v="0" actId="18676"/>
        <pc:sldMkLst>
          <pc:docMk/>
          <pc:sldMk cId="725013666" sldId="2147472871"/>
        </pc:sldMkLst>
      </pc:sldChg>
      <pc:sldChg chg="del">
        <pc:chgData name="Nathan" userId="d312bfc7-4201-48a3-a9df-83186336f2dd" providerId="ADAL" clId="{88C89422-1838-494F-AEE6-472139F7E5D1}" dt="2024-07-25T19:41:06.592" v="0" actId="18676"/>
        <pc:sldMkLst>
          <pc:docMk/>
          <pc:sldMk cId="1224036598" sldId="2147472872"/>
        </pc:sldMkLst>
      </pc:sldChg>
      <pc:sldChg chg="del">
        <pc:chgData name="Nathan" userId="d312bfc7-4201-48a3-a9df-83186336f2dd" providerId="ADAL" clId="{88C89422-1838-494F-AEE6-472139F7E5D1}" dt="2024-07-25T19:41:06.592" v="0" actId="18676"/>
        <pc:sldMkLst>
          <pc:docMk/>
          <pc:sldMk cId="2147449525" sldId="2147472873"/>
        </pc:sldMkLst>
      </pc:sldChg>
      <pc:sldChg chg="del">
        <pc:chgData name="Nathan" userId="d312bfc7-4201-48a3-a9df-83186336f2dd" providerId="ADAL" clId="{88C89422-1838-494F-AEE6-472139F7E5D1}" dt="2024-07-25T19:41:06.592" v="0" actId="18676"/>
        <pc:sldMkLst>
          <pc:docMk/>
          <pc:sldMk cId="1040496161" sldId="2147472874"/>
        </pc:sldMkLst>
      </pc:sldChg>
      <pc:sldChg chg="del">
        <pc:chgData name="Nathan" userId="d312bfc7-4201-48a3-a9df-83186336f2dd" providerId="ADAL" clId="{88C89422-1838-494F-AEE6-472139F7E5D1}" dt="2024-07-25T19:41:06.592" v="0" actId="18676"/>
        <pc:sldMkLst>
          <pc:docMk/>
          <pc:sldMk cId="3840255659" sldId="2147472876"/>
        </pc:sldMkLst>
      </pc:sldChg>
      <pc:sldChg chg="del">
        <pc:chgData name="Nathan" userId="d312bfc7-4201-48a3-a9df-83186336f2dd" providerId="ADAL" clId="{88C89422-1838-494F-AEE6-472139F7E5D1}" dt="2024-07-25T19:41:06.592" v="0" actId="18676"/>
        <pc:sldMkLst>
          <pc:docMk/>
          <pc:sldMk cId="3600087969" sldId="2147472877"/>
        </pc:sldMkLst>
      </pc:sldChg>
      <pc:sldChg chg="del">
        <pc:chgData name="Nathan" userId="d312bfc7-4201-48a3-a9df-83186336f2dd" providerId="ADAL" clId="{88C89422-1838-494F-AEE6-472139F7E5D1}" dt="2024-07-25T19:41:06.592" v="0" actId="18676"/>
        <pc:sldMkLst>
          <pc:docMk/>
          <pc:sldMk cId="796864345" sldId="2147472878"/>
        </pc:sldMkLst>
      </pc:sldChg>
      <pc:sldChg chg="del">
        <pc:chgData name="Nathan" userId="d312bfc7-4201-48a3-a9df-83186336f2dd" providerId="ADAL" clId="{88C89422-1838-494F-AEE6-472139F7E5D1}" dt="2024-07-25T19:41:06.592" v="0" actId="18676"/>
        <pc:sldMkLst>
          <pc:docMk/>
          <pc:sldMk cId="1924594170" sldId="2147472879"/>
        </pc:sldMkLst>
      </pc:sldChg>
      <pc:sldChg chg="del">
        <pc:chgData name="Nathan" userId="d312bfc7-4201-48a3-a9df-83186336f2dd" providerId="ADAL" clId="{88C89422-1838-494F-AEE6-472139F7E5D1}" dt="2024-07-25T19:41:06.592" v="0" actId="18676"/>
        <pc:sldMkLst>
          <pc:docMk/>
          <pc:sldMk cId="1917853220" sldId="2147472880"/>
        </pc:sldMkLst>
      </pc:sldChg>
      <pc:sldChg chg="del">
        <pc:chgData name="Nathan" userId="d312bfc7-4201-48a3-a9df-83186336f2dd" providerId="ADAL" clId="{88C89422-1838-494F-AEE6-472139F7E5D1}" dt="2024-07-25T19:41:06.592" v="0" actId="18676"/>
        <pc:sldMkLst>
          <pc:docMk/>
          <pc:sldMk cId="2365264419" sldId="2147472881"/>
        </pc:sldMkLst>
      </pc:sldChg>
      <pc:sldChg chg="del">
        <pc:chgData name="Nathan" userId="d312bfc7-4201-48a3-a9df-83186336f2dd" providerId="ADAL" clId="{88C89422-1838-494F-AEE6-472139F7E5D1}" dt="2024-07-25T19:41:06.592" v="0" actId="18676"/>
        <pc:sldMkLst>
          <pc:docMk/>
          <pc:sldMk cId="397309361" sldId="2147472884"/>
        </pc:sldMkLst>
      </pc:sldChg>
      <pc:sldChg chg="del">
        <pc:chgData name="Nathan" userId="d312bfc7-4201-48a3-a9df-83186336f2dd" providerId="ADAL" clId="{88C89422-1838-494F-AEE6-472139F7E5D1}" dt="2024-07-25T19:41:06.592" v="0" actId="18676"/>
        <pc:sldMkLst>
          <pc:docMk/>
          <pc:sldMk cId="2946087532" sldId="2147472885"/>
        </pc:sldMkLst>
      </pc:sldChg>
      <pc:sldChg chg="del">
        <pc:chgData name="Nathan" userId="d312bfc7-4201-48a3-a9df-83186336f2dd" providerId="ADAL" clId="{88C89422-1838-494F-AEE6-472139F7E5D1}" dt="2024-07-25T19:41:06.592" v="0" actId="18676"/>
        <pc:sldMkLst>
          <pc:docMk/>
          <pc:sldMk cId="377816056" sldId="2147472886"/>
        </pc:sldMkLst>
      </pc:sldChg>
      <pc:sldChg chg="del">
        <pc:chgData name="Nathan" userId="d312bfc7-4201-48a3-a9df-83186336f2dd" providerId="ADAL" clId="{88C89422-1838-494F-AEE6-472139F7E5D1}" dt="2024-07-25T19:41:06.592" v="0" actId="18676"/>
        <pc:sldMkLst>
          <pc:docMk/>
          <pc:sldMk cId="3846709720" sldId="2147472888"/>
        </pc:sldMkLst>
      </pc:sldChg>
      <pc:sldChg chg="del">
        <pc:chgData name="Nathan" userId="d312bfc7-4201-48a3-a9df-83186336f2dd" providerId="ADAL" clId="{88C89422-1838-494F-AEE6-472139F7E5D1}" dt="2024-07-25T19:41:06.592" v="0" actId="18676"/>
        <pc:sldMkLst>
          <pc:docMk/>
          <pc:sldMk cId="1185292194" sldId="2147472889"/>
        </pc:sldMkLst>
      </pc:sldChg>
      <pc:sldChg chg="del">
        <pc:chgData name="Nathan" userId="d312bfc7-4201-48a3-a9df-83186336f2dd" providerId="ADAL" clId="{88C89422-1838-494F-AEE6-472139F7E5D1}" dt="2024-07-25T19:41:06.592" v="0" actId="18676"/>
        <pc:sldMkLst>
          <pc:docMk/>
          <pc:sldMk cId="3895590991" sldId="2147472890"/>
        </pc:sldMkLst>
      </pc:sldChg>
      <pc:sldChg chg="del">
        <pc:chgData name="Nathan" userId="d312bfc7-4201-48a3-a9df-83186336f2dd" providerId="ADAL" clId="{88C89422-1838-494F-AEE6-472139F7E5D1}" dt="2024-07-25T19:41:06.592" v="0" actId="18676"/>
        <pc:sldMkLst>
          <pc:docMk/>
          <pc:sldMk cId="3355033165" sldId="2147472891"/>
        </pc:sldMkLst>
      </pc:sldChg>
      <pc:sldChg chg="del">
        <pc:chgData name="Nathan" userId="d312bfc7-4201-48a3-a9df-83186336f2dd" providerId="ADAL" clId="{88C89422-1838-494F-AEE6-472139F7E5D1}" dt="2024-07-25T19:41:06.592" v="0" actId="18676"/>
        <pc:sldMkLst>
          <pc:docMk/>
          <pc:sldMk cId="149834426" sldId="2147472892"/>
        </pc:sldMkLst>
      </pc:sldChg>
      <pc:sldChg chg="del">
        <pc:chgData name="Nathan" userId="d312bfc7-4201-48a3-a9df-83186336f2dd" providerId="ADAL" clId="{88C89422-1838-494F-AEE6-472139F7E5D1}" dt="2024-07-25T19:41:06.592" v="0" actId="18676"/>
        <pc:sldMkLst>
          <pc:docMk/>
          <pc:sldMk cId="1047701309" sldId="2147472893"/>
        </pc:sldMkLst>
      </pc:sldChg>
      <pc:sldChg chg="del">
        <pc:chgData name="Nathan" userId="d312bfc7-4201-48a3-a9df-83186336f2dd" providerId="ADAL" clId="{88C89422-1838-494F-AEE6-472139F7E5D1}" dt="2024-07-25T19:41:06.592" v="0" actId="18676"/>
        <pc:sldMkLst>
          <pc:docMk/>
          <pc:sldMk cId="71710738" sldId="2147472894"/>
        </pc:sldMkLst>
      </pc:sldChg>
      <pc:sldChg chg="del">
        <pc:chgData name="Nathan" userId="d312bfc7-4201-48a3-a9df-83186336f2dd" providerId="ADAL" clId="{88C89422-1838-494F-AEE6-472139F7E5D1}" dt="2024-07-25T19:41:06.592" v="0" actId="18676"/>
        <pc:sldMkLst>
          <pc:docMk/>
          <pc:sldMk cId="3176354354" sldId="2147472896"/>
        </pc:sldMkLst>
      </pc:sldChg>
      <pc:sldChg chg="del">
        <pc:chgData name="Nathan" userId="d312bfc7-4201-48a3-a9df-83186336f2dd" providerId="ADAL" clId="{88C89422-1838-494F-AEE6-472139F7E5D1}" dt="2024-07-25T19:41:06.592" v="0" actId="18676"/>
        <pc:sldMkLst>
          <pc:docMk/>
          <pc:sldMk cId="3942662393" sldId="2147472897"/>
        </pc:sldMkLst>
      </pc:sldChg>
      <pc:sldChg chg="del">
        <pc:chgData name="Nathan" userId="d312bfc7-4201-48a3-a9df-83186336f2dd" providerId="ADAL" clId="{88C89422-1838-494F-AEE6-472139F7E5D1}" dt="2024-07-25T19:41:06.592" v="0" actId="18676"/>
        <pc:sldMkLst>
          <pc:docMk/>
          <pc:sldMk cId="3791784155" sldId="2147472898"/>
        </pc:sldMkLst>
      </pc:sldChg>
      <pc:sldChg chg="del">
        <pc:chgData name="Nathan" userId="d312bfc7-4201-48a3-a9df-83186336f2dd" providerId="ADAL" clId="{88C89422-1838-494F-AEE6-472139F7E5D1}" dt="2024-07-25T19:41:06.592" v="0" actId="18676"/>
        <pc:sldMkLst>
          <pc:docMk/>
          <pc:sldMk cId="2553952506" sldId="2147472899"/>
        </pc:sldMkLst>
      </pc:sldChg>
      <pc:sldChg chg="del">
        <pc:chgData name="Nathan" userId="d312bfc7-4201-48a3-a9df-83186336f2dd" providerId="ADAL" clId="{88C89422-1838-494F-AEE6-472139F7E5D1}" dt="2024-07-25T19:41:06.592" v="0" actId="18676"/>
        <pc:sldMkLst>
          <pc:docMk/>
          <pc:sldMk cId="778802060" sldId="2147472900"/>
        </pc:sldMkLst>
      </pc:sldChg>
      <pc:sldChg chg="del">
        <pc:chgData name="Nathan" userId="d312bfc7-4201-48a3-a9df-83186336f2dd" providerId="ADAL" clId="{88C89422-1838-494F-AEE6-472139F7E5D1}" dt="2024-07-25T19:41:06.592" v="0" actId="18676"/>
        <pc:sldMkLst>
          <pc:docMk/>
          <pc:sldMk cId="952606052" sldId="2147472902"/>
        </pc:sldMkLst>
      </pc:sldChg>
      <pc:sldChg chg="del">
        <pc:chgData name="Nathan" userId="d312bfc7-4201-48a3-a9df-83186336f2dd" providerId="ADAL" clId="{88C89422-1838-494F-AEE6-472139F7E5D1}" dt="2024-07-25T19:41:06.592" v="0" actId="18676"/>
        <pc:sldMkLst>
          <pc:docMk/>
          <pc:sldMk cId="3764594541" sldId="2147472903"/>
        </pc:sldMkLst>
      </pc:sldChg>
      <pc:sldChg chg="del">
        <pc:chgData name="Nathan" userId="d312bfc7-4201-48a3-a9df-83186336f2dd" providerId="ADAL" clId="{88C89422-1838-494F-AEE6-472139F7E5D1}" dt="2024-07-25T19:41:06.592" v="0" actId="18676"/>
        <pc:sldMkLst>
          <pc:docMk/>
          <pc:sldMk cId="1051189201" sldId="2147472904"/>
        </pc:sldMkLst>
      </pc:sldChg>
      <pc:sldChg chg="del">
        <pc:chgData name="Nathan" userId="d312bfc7-4201-48a3-a9df-83186336f2dd" providerId="ADAL" clId="{88C89422-1838-494F-AEE6-472139F7E5D1}" dt="2024-07-25T19:41:06.592" v="0" actId="18676"/>
        <pc:sldMkLst>
          <pc:docMk/>
          <pc:sldMk cId="1079668420" sldId="2147472906"/>
        </pc:sldMkLst>
      </pc:sldChg>
      <pc:sldChg chg="del">
        <pc:chgData name="Nathan" userId="d312bfc7-4201-48a3-a9df-83186336f2dd" providerId="ADAL" clId="{88C89422-1838-494F-AEE6-472139F7E5D1}" dt="2024-07-25T19:41:06.592" v="0" actId="18676"/>
        <pc:sldMkLst>
          <pc:docMk/>
          <pc:sldMk cId="1019140495" sldId="2147472907"/>
        </pc:sldMkLst>
      </pc:sldChg>
      <pc:sldChg chg="del">
        <pc:chgData name="Nathan" userId="d312bfc7-4201-48a3-a9df-83186336f2dd" providerId="ADAL" clId="{88C89422-1838-494F-AEE6-472139F7E5D1}" dt="2024-07-25T19:41:06.592" v="0" actId="18676"/>
        <pc:sldMkLst>
          <pc:docMk/>
          <pc:sldMk cId="460913055" sldId="2147472908"/>
        </pc:sldMkLst>
      </pc:sldChg>
      <pc:sldChg chg="del">
        <pc:chgData name="Nathan" userId="d312bfc7-4201-48a3-a9df-83186336f2dd" providerId="ADAL" clId="{88C89422-1838-494F-AEE6-472139F7E5D1}" dt="2024-07-25T19:41:06.592" v="0" actId="18676"/>
        <pc:sldMkLst>
          <pc:docMk/>
          <pc:sldMk cId="3711361435" sldId="2147472910"/>
        </pc:sldMkLst>
      </pc:sldChg>
      <pc:sldChg chg="del">
        <pc:chgData name="Nathan" userId="d312bfc7-4201-48a3-a9df-83186336f2dd" providerId="ADAL" clId="{88C89422-1838-494F-AEE6-472139F7E5D1}" dt="2024-07-25T19:41:06.592" v="0" actId="18676"/>
        <pc:sldMkLst>
          <pc:docMk/>
          <pc:sldMk cId="1648712238" sldId="2147472911"/>
        </pc:sldMkLst>
      </pc:sldChg>
      <pc:sldChg chg="del">
        <pc:chgData name="Nathan" userId="d312bfc7-4201-48a3-a9df-83186336f2dd" providerId="ADAL" clId="{88C89422-1838-494F-AEE6-472139F7E5D1}" dt="2024-07-25T19:41:06.592" v="0" actId="18676"/>
        <pc:sldMkLst>
          <pc:docMk/>
          <pc:sldMk cId="2794610951" sldId="2147472912"/>
        </pc:sldMkLst>
      </pc:sldChg>
      <pc:sldChg chg="del">
        <pc:chgData name="Nathan" userId="d312bfc7-4201-48a3-a9df-83186336f2dd" providerId="ADAL" clId="{88C89422-1838-494F-AEE6-472139F7E5D1}" dt="2024-07-25T19:41:06.592" v="0" actId="18676"/>
        <pc:sldMkLst>
          <pc:docMk/>
          <pc:sldMk cId="253011647" sldId="2147472913"/>
        </pc:sldMkLst>
      </pc:sldChg>
      <pc:sldChg chg="del">
        <pc:chgData name="Nathan" userId="d312bfc7-4201-48a3-a9df-83186336f2dd" providerId="ADAL" clId="{88C89422-1838-494F-AEE6-472139F7E5D1}" dt="2024-07-25T19:41:06.592" v="0" actId="18676"/>
        <pc:sldMkLst>
          <pc:docMk/>
          <pc:sldMk cId="756401848" sldId="2147472914"/>
        </pc:sldMkLst>
      </pc:sldChg>
      <pc:sldChg chg="del">
        <pc:chgData name="Nathan" userId="d312bfc7-4201-48a3-a9df-83186336f2dd" providerId="ADAL" clId="{88C89422-1838-494F-AEE6-472139F7E5D1}" dt="2024-07-25T19:41:06.592" v="0" actId="18676"/>
        <pc:sldMkLst>
          <pc:docMk/>
          <pc:sldMk cId="2689537692" sldId="2147472915"/>
        </pc:sldMkLst>
      </pc:sldChg>
      <pc:sldChg chg="del">
        <pc:chgData name="Nathan" userId="d312bfc7-4201-48a3-a9df-83186336f2dd" providerId="ADAL" clId="{88C89422-1838-494F-AEE6-472139F7E5D1}" dt="2024-07-25T19:41:06.592" v="0" actId="18676"/>
        <pc:sldMkLst>
          <pc:docMk/>
          <pc:sldMk cId="1797093580" sldId="2147472916"/>
        </pc:sldMkLst>
      </pc:sldChg>
      <pc:sldChg chg="del">
        <pc:chgData name="Nathan" userId="d312bfc7-4201-48a3-a9df-83186336f2dd" providerId="ADAL" clId="{88C89422-1838-494F-AEE6-472139F7E5D1}" dt="2024-07-25T19:41:06.592" v="0" actId="18676"/>
        <pc:sldMkLst>
          <pc:docMk/>
          <pc:sldMk cId="2296503271" sldId="2147472917"/>
        </pc:sldMkLst>
      </pc:sldChg>
      <pc:sldChg chg="del">
        <pc:chgData name="Nathan" userId="d312bfc7-4201-48a3-a9df-83186336f2dd" providerId="ADAL" clId="{88C89422-1838-494F-AEE6-472139F7E5D1}" dt="2024-07-25T19:41:06.592" v="0" actId="18676"/>
        <pc:sldMkLst>
          <pc:docMk/>
          <pc:sldMk cId="1142881882" sldId="2147472918"/>
        </pc:sldMkLst>
      </pc:sldChg>
      <pc:sldChg chg="del">
        <pc:chgData name="Nathan" userId="d312bfc7-4201-48a3-a9df-83186336f2dd" providerId="ADAL" clId="{88C89422-1838-494F-AEE6-472139F7E5D1}" dt="2024-07-25T19:41:06.592" v="0" actId="18676"/>
        <pc:sldMkLst>
          <pc:docMk/>
          <pc:sldMk cId="1000753837" sldId="2147472919"/>
        </pc:sldMkLst>
      </pc:sldChg>
      <pc:sldChg chg="del">
        <pc:chgData name="Nathan" userId="d312bfc7-4201-48a3-a9df-83186336f2dd" providerId="ADAL" clId="{88C89422-1838-494F-AEE6-472139F7E5D1}" dt="2024-07-25T19:41:06.592" v="0" actId="18676"/>
        <pc:sldMkLst>
          <pc:docMk/>
          <pc:sldMk cId="349556807" sldId="2147472920"/>
        </pc:sldMkLst>
      </pc:sldChg>
      <pc:sldChg chg="del">
        <pc:chgData name="Nathan" userId="d312bfc7-4201-48a3-a9df-83186336f2dd" providerId="ADAL" clId="{88C89422-1838-494F-AEE6-472139F7E5D1}" dt="2024-07-25T19:41:06.592" v="0" actId="18676"/>
        <pc:sldMkLst>
          <pc:docMk/>
          <pc:sldMk cId="1447887591" sldId="2147472921"/>
        </pc:sldMkLst>
      </pc:sldChg>
      <pc:sldChg chg="del">
        <pc:chgData name="Nathan" userId="d312bfc7-4201-48a3-a9df-83186336f2dd" providerId="ADAL" clId="{88C89422-1838-494F-AEE6-472139F7E5D1}" dt="2024-07-25T19:41:06.592" v="0" actId="18676"/>
        <pc:sldMkLst>
          <pc:docMk/>
          <pc:sldMk cId="1846309750" sldId="2147472922"/>
        </pc:sldMkLst>
      </pc:sldChg>
      <pc:sldChg chg="del">
        <pc:chgData name="Nathan" userId="d312bfc7-4201-48a3-a9df-83186336f2dd" providerId="ADAL" clId="{88C89422-1838-494F-AEE6-472139F7E5D1}" dt="2024-07-25T19:41:06.592" v="0" actId="18676"/>
        <pc:sldMkLst>
          <pc:docMk/>
          <pc:sldMk cId="3720543949" sldId="2147472923"/>
        </pc:sldMkLst>
      </pc:sldChg>
      <pc:sldChg chg="modSp mod">
        <pc:chgData name="Nathan" userId="d312bfc7-4201-48a3-a9df-83186336f2dd" providerId="ADAL" clId="{88C89422-1838-494F-AEE6-472139F7E5D1}" dt="2024-07-25T19:46:04.940" v="32" actId="404"/>
        <pc:sldMkLst>
          <pc:docMk/>
          <pc:sldMk cId="102905530" sldId="2147472924"/>
        </pc:sldMkLst>
        <pc:spChg chg="mod">
          <ac:chgData name="Nathan" userId="d312bfc7-4201-48a3-a9df-83186336f2dd" providerId="ADAL" clId="{88C89422-1838-494F-AEE6-472139F7E5D1}" dt="2024-07-25T19:45:40.046" v="30" actId="404"/>
          <ac:spMkLst>
            <pc:docMk/>
            <pc:sldMk cId="102905530" sldId="2147472924"/>
            <ac:spMk id="20" creationId="{1D8829D1-3DB3-A8F5-8BC6-D8FB0C144BA8}"/>
          </ac:spMkLst>
        </pc:spChg>
        <pc:spChg chg="mod">
          <ac:chgData name="Nathan" userId="d312bfc7-4201-48a3-a9df-83186336f2dd" providerId="ADAL" clId="{88C89422-1838-494F-AEE6-472139F7E5D1}" dt="2024-07-25T19:45:40.046" v="30" actId="404"/>
          <ac:spMkLst>
            <pc:docMk/>
            <pc:sldMk cId="102905530" sldId="2147472924"/>
            <ac:spMk id="21" creationId="{8BD7AEB7-67FE-574A-AC15-AD9E8C219504}"/>
          </ac:spMkLst>
        </pc:spChg>
        <pc:spChg chg="mod">
          <ac:chgData name="Nathan" userId="d312bfc7-4201-48a3-a9df-83186336f2dd" providerId="ADAL" clId="{88C89422-1838-494F-AEE6-472139F7E5D1}" dt="2024-07-25T19:45:40.046" v="30" actId="404"/>
          <ac:spMkLst>
            <pc:docMk/>
            <pc:sldMk cId="102905530" sldId="2147472924"/>
            <ac:spMk id="22" creationId="{F46F68D7-B917-D8A6-BD1B-B41FC63084A6}"/>
          </ac:spMkLst>
        </pc:spChg>
        <pc:spChg chg="mod">
          <ac:chgData name="Nathan" userId="d312bfc7-4201-48a3-a9df-83186336f2dd" providerId="ADAL" clId="{88C89422-1838-494F-AEE6-472139F7E5D1}" dt="2024-07-25T19:45:40.046" v="30" actId="404"/>
          <ac:spMkLst>
            <pc:docMk/>
            <pc:sldMk cId="102905530" sldId="2147472924"/>
            <ac:spMk id="23" creationId="{0BF2BB63-6323-41A9-BC0A-0B70BC4E7363}"/>
          </ac:spMkLst>
        </pc:spChg>
        <pc:spChg chg="mod">
          <ac:chgData name="Nathan" userId="d312bfc7-4201-48a3-a9df-83186336f2dd" providerId="ADAL" clId="{88C89422-1838-494F-AEE6-472139F7E5D1}" dt="2024-07-25T19:45:40.046" v="30" actId="404"/>
          <ac:spMkLst>
            <pc:docMk/>
            <pc:sldMk cId="102905530" sldId="2147472924"/>
            <ac:spMk id="30" creationId="{6E1C51F4-85D2-D55A-A5F2-F114CB6ADE6E}"/>
          </ac:spMkLst>
        </pc:spChg>
        <pc:spChg chg="mod">
          <ac:chgData name="Nathan" userId="d312bfc7-4201-48a3-a9df-83186336f2dd" providerId="ADAL" clId="{88C89422-1838-494F-AEE6-472139F7E5D1}" dt="2024-07-25T19:45:40.046" v="30" actId="404"/>
          <ac:spMkLst>
            <pc:docMk/>
            <pc:sldMk cId="102905530" sldId="2147472924"/>
            <ac:spMk id="32" creationId="{EFD1AB5A-D2A5-5E97-0AE9-1E1A31B04D41}"/>
          </ac:spMkLst>
        </pc:spChg>
        <pc:spChg chg="mod">
          <ac:chgData name="Nathan" userId="d312bfc7-4201-48a3-a9df-83186336f2dd" providerId="ADAL" clId="{88C89422-1838-494F-AEE6-472139F7E5D1}" dt="2024-07-25T19:45:40.046" v="30" actId="404"/>
          <ac:spMkLst>
            <pc:docMk/>
            <pc:sldMk cId="102905530" sldId="2147472924"/>
            <ac:spMk id="35" creationId="{5E22B58C-AC19-FE49-3A53-7D73FF077D28}"/>
          </ac:spMkLst>
        </pc:spChg>
        <pc:spChg chg="mod">
          <ac:chgData name="Nathan" userId="d312bfc7-4201-48a3-a9df-83186336f2dd" providerId="ADAL" clId="{88C89422-1838-494F-AEE6-472139F7E5D1}" dt="2024-07-25T19:45:40.046" v="30" actId="404"/>
          <ac:spMkLst>
            <pc:docMk/>
            <pc:sldMk cId="102905530" sldId="2147472924"/>
            <ac:spMk id="37" creationId="{98E31E5B-4CEF-ECFB-F7ED-958FEFD45AEC}"/>
          </ac:spMkLst>
        </pc:spChg>
        <pc:spChg chg="mod">
          <ac:chgData name="Nathan" userId="d312bfc7-4201-48a3-a9df-83186336f2dd" providerId="ADAL" clId="{88C89422-1838-494F-AEE6-472139F7E5D1}" dt="2024-07-25T19:45:40.046" v="30" actId="404"/>
          <ac:spMkLst>
            <pc:docMk/>
            <pc:sldMk cId="102905530" sldId="2147472924"/>
            <ac:spMk id="39" creationId="{B5583952-6911-F970-CC06-A06E89745590}"/>
          </ac:spMkLst>
        </pc:spChg>
        <pc:spChg chg="mod">
          <ac:chgData name="Nathan" userId="d312bfc7-4201-48a3-a9df-83186336f2dd" providerId="ADAL" clId="{88C89422-1838-494F-AEE6-472139F7E5D1}" dt="2024-07-25T19:46:04.940" v="32" actId="404"/>
          <ac:spMkLst>
            <pc:docMk/>
            <pc:sldMk cId="102905530" sldId="2147472924"/>
            <ac:spMk id="42" creationId="{7FAD56A6-F918-CD4F-94D0-27ED55C4D6C1}"/>
          </ac:spMkLst>
        </pc:spChg>
        <pc:spChg chg="mod">
          <ac:chgData name="Nathan" userId="d312bfc7-4201-48a3-a9df-83186336f2dd" providerId="ADAL" clId="{88C89422-1838-494F-AEE6-472139F7E5D1}" dt="2024-07-25T19:46:04.940" v="32" actId="404"/>
          <ac:spMkLst>
            <pc:docMk/>
            <pc:sldMk cId="102905530" sldId="2147472924"/>
            <ac:spMk id="48" creationId="{306F8C38-D71D-BEE3-0220-D6094FE69622}"/>
          </ac:spMkLst>
        </pc:spChg>
      </pc:sldChg>
      <pc:sldChg chg="modSp mod">
        <pc:chgData name="Nathan" userId="d312bfc7-4201-48a3-a9df-83186336f2dd" providerId="ADAL" clId="{88C89422-1838-494F-AEE6-472139F7E5D1}" dt="2024-07-25T19:50:46.037" v="73" actId="1076"/>
        <pc:sldMkLst>
          <pc:docMk/>
          <pc:sldMk cId="838135831" sldId="2147472936"/>
        </pc:sldMkLst>
        <pc:spChg chg="mod">
          <ac:chgData name="Nathan" userId="d312bfc7-4201-48a3-a9df-83186336f2dd" providerId="ADAL" clId="{88C89422-1838-494F-AEE6-472139F7E5D1}" dt="2024-07-25T19:50:46.037" v="73" actId="1076"/>
          <ac:spMkLst>
            <pc:docMk/>
            <pc:sldMk cId="838135831" sldId="2147472936"/>
            <ac:spMk id="22" creationId="{126EB4E3-6290-C579-619D-41396A7FF463}"/>
          </ac:spMkLst>
        </pc:spChg>
        <pc:spChg chg="mod">
          <ac:chgData name="Nathan" userId="d312bfc7-4201-48a3-a9df-83186336f2dd" providerId="ADAL" clId="{88C89422-1838-494F-AEE6-472139F7E5D1}" dt="2024-07-25T19:50:18.382" v="69" actId="404"/>
          <ac:spMkLst>
            <pc:docMk/>
            <pc:sldMk cId="838135831" sldId="2147472936"/>
            <ac:spMk id="25" creationId="{9F152E9D-2DA4-73A2-A615-4EC26E47538A}"/>
          </ac:spMkLst>
        </pc:spChg>
        <pc:graphicFrameChg chg="modGraphic">
          <ac:chgData name="Nathan" userId="d312bfc7-4201-48a3-a9df-83186336f2dd" providerId="ADAL" clId="{88C89422-1838-494F-AEE6-472139F7E5D1}" dt="2024-07-25T19:50:01.995" v="64" actId="404"/>
          <ac:graphicFrameMkLst>
            <pc:docMk/>
            <pc:sldMk cId="838135831" sldId="2147472936"/>
            <ac:graphicFrameMk id="7" creationId="{4FC8121B-5999-3EF3-3DF6-C44B1A456703}"/>
          </ac:graphicFrameMkLst>
        </pc:graphicFrameChg>
        <pc:picChg chg="mod">
          <ac:chgData name="Nathan" userId="d312bfc7-4201-48a3-a9df-83186336f2dd" providerId="ADAL" clId="{88C89422-1838-494F-AEE6-472139F7E5D1}" dt="2024-07-25T19:50:43.083" v="72" actId="1076"/>
          <ac:picMkLst>
            <pc:docMk/>
            <pc:sldMk cId="838135831" sldId="2147472936"/>
            <ac:picMk id="21" creationId="{CAA0D395-4C03-9B70-6E44-77F0D4E75D2A}"/>
          </ac:picMkLst>
        </pc:picChg>
        <pc:picChg chg="mod">
          <ac:chgData name="Nathan" userId="d312bfc7-4201-48a3-a9df-83186336f2dd" providerId="ADAL" clId="{88C89422-1838-494F-AEE6-472139F7E5D1}" dt="2024-07-25T19:50:40.917" v="71" actId="1076"/>
          <ac:picMkLst>
            <pc:docMk/>
            <pc:sldMk cId="838135831" sldId="2147472936"/>
            <ac:picMk id="24" creationId="{6848F009-4F3A-1058-8AE4-00A8F1F4E41E}"/>
          </ac:picMkLst>
        </pc:picChg>
      </pc:sldChg>
      <pc:sldChg chg="del">
        <pc:chgData name="Nathan" userId="d312bfc7-4201-48a3-a9df-83186336f2dd" providerId="ADAL" clId="{88C89422-1838-494F-AEE6-472139F7E5D1}" dt="2024-07-25T19:41:06.592" v="0" actId="18676"/>
        <pc:sldMkLst>
          <pc:docMk/>
          <pc:sldMk cId="1712235555" sldId="2147472938"/>
        </pc:sldMkLst>
      </pc:sldChg>
      <pc:sldChg chg="del">
        <pc:chgData name="Nathan" userId="d312bfc7-4201-48a3-a9df-83186336f2dd" providerId="ADAL" clId="{88C89422-1838-494F-AEE6-472139F7E5D1}" dt="2024-07-25T19:41:06.592" v="0" actId="18676"/>
        <pc:sldMkLst>
          <pc:docMk/>
          <pc:sldMk cId="2597581022" sldId="2147472940"/>
        </pc:sldMkLst>
      </pc:sldChg>
      <pc:sldChg chg="del">
        <pc:chgData name="Nathan" userId="d312bfc7-4201-48a3-a9df-83186336f2dd" providerId="ADAL" clId="{88C89422-1838-494F-AEE6-472139F7E5D1}" dt="2024-07-25T19:41:06.592" v="0" actId="18676"/>
        <pc:sldMkLst>
          <pc:docMk/>
          <pc:sldMk cId="1872523517" sldId="2147472941"/>
        </pc:sldMkLst>
      </pc:sldChg>
      <pc:sldChg chg="del">
        <pc:chgData name="Nathan" userId="d312bfc7-4201-48a3-a9df-83186336f2dd" providerId="ADAL" clId="{88C89422-1838-494F-AEE6-472139F7E5D1}" dt="2024-07-25T19:41:06.592" v="0" actId="18676"/>
        <pc:sldMkLst>
          <pc:docMk/>
          <pc:sldMk cId="1245092160" sldId="2147472948"/>
        </pc:sldMkLst>
      </pc:sldChg>
      <pc:sldChg chg="del">
        <pc:chgData name="Nathan" userId="d312bfc7-4201-48a3-a9df-83186336f2dd" providerId="ADAL" clId="{88C89422-1838-494F-AEE6-472139F7E5D1}" dt="2024-07-25T19:41:06.592" v="0" actId="18676"/>
        <pc:sldMkLst>
          <pc:docMk/>
          <pc:sldMk cId="132658004" sldId="2147472949"/>
        </pc:sldMkLst>
      </pc:sldChg>
      <pc:sldChg chg="del">
        <pc:chgData name="Nathan" userId="d312bfc7-4201-48a3-a9df-83186336f2dd" providerId="ADAL" clId="{88C89422-1838-494F-AEE6-472139F7E5D1}" dt="2024-07-25T19:41:06.592" v="0" actId="18676"/>
        <pc:sldMkLst>
          <pc:docMk/>
          <pc:sldMk cId="3969380594" sldId="2147472950"/>
        </pc:sldMkLst>
      </pc:sldChg>
      <pc:sldChg chg="del">
        <pc:chgData name="Nathan" userId="d312bfc7-4201-48a3-a9df-83186336f2dd" providerId="ADAL" clId="{88C89422-1838-494F-AEE6-472139F7E5D1}" dt="2024-07-25T19:41:06.592" v="0" actId="18676"/>
        <pc:sldMkLst>
          <pc:docMk/>
          <pc:sldMk cId="2332156085" sldId="2147472953"/>
        </pc:sldMkLst>
      </pc:sldChg>
      <pc:sldChg chg="del">
        <pc:chgData name="Nathan" userId="d312bfc7-4201-48a3-a9df-83186336f2dd" providerId="ADAL" clId="{88C89422-1838-494F-AEE6-472139F7E5D1}" dt="2024-07-25T19:41:06.592" v="0" actId="18676"/>
        <pc:sldMkLst>
          <pc:docMk/>
          <pc:sldMk cId="3950024925" sldId="2147472954"/>
        </pc:sldMkLst>
      </pc:sldChg>
      <pc:sldChg chg="del">
        <pc:chgData name="Nathan" userId="d312bfc7-4201-48a3-a9df-83186336f2dd" providerId="ADAL" clId="{88C89422-1838-494F-AEE6-472139F7E5D1}" dt="2024-07-25T19:41:06.592" v="0" actId="18676"/>
        <pc:sldMkLst>
          <pc:docMk/>
          <pc:sldMk cId="3385829644" sldId="2147472955"/>
        </pc:sldMkLst>
      </pc:sldChg>
      <pc:sldChg chg="del">
        <pc:chgData name="Nathan" userId="d312bfc7-4201-48a3-a9df-83186336f2dd" providerId="ADAL" clId="{88C89422-1838-494F-AEE6-472139F7E5D1}" dt="2024-07-25T19:41:06.592" v="0" actId="18676"/>
        <pc:sldMkLst>
          <pc:docMk/>
          <pc:sldMk cId="80527749" sldId="2147472956"/>
        </pc:sldMkLst>
      </pc:sldChg>
      <pc:sldChg chg="del">
        <pc:chgData name="Nathan" userId="d312bfc7-4201-48a3-a9df-83186336f2dd" providerId="ADAL" clId="{88C89422-1838-494F-AEE6-472139F7E5D1}" dt="2024-07-25T19:41:06.592" v="0" actId="18676"/>
        <pc:sldMkLst>
          <pc:docMk/>
          <pc:sldMk cId="2559864179" sldId="2147472959"/>
        </pc:sldMkLst>
      </pc:sldChg>
      <pc:sldChg chg="del">
        <pc:chgData name="Nathan" userId="d312bfc7-4201-48a3-a9df-83186336f2dd" providerId="ADAL" clId="{88C89422-1838-494F-AEE6-472139F7E5D1}" dt="2024-07-25T19:41:06.592" v="0" actId="18676"/>
        <pc:sldMkLst>
          <pc:docMk/>
          <pc:sldMk cId="2861292107" sldId="2147472974"/>
        </pc:sldMkLst>
      </pc:sldChg>
      <pc:sldChg chg="del">
        <pc:chgData name="Nathan" userId="d312bfc7-4201-48a3-a9df-83186336f2dd" providerId="ADAL" clId="{88C89422-1838-494F-AEE6-472139F7E5D1}" dt="2024-07-25T19:41:06.592" v="0" actId="18676"/>
        <pc:sldMkLst>
          <pc:docMk/>
          <pc:sldMk cId="474924884" sldId="2147472983"/>
        </pc:sldMkLst>
      </pc:sldChg>
      <pc:sldChg chg="del">
        <pc:chgData name="Nathan" userId="d312bfc7-4201-48a3-a9df-83186336f2dd" providerId="ADAL" clId="{88C89422-1838-494F-AEE6-472139F7E5D1}" dt="2024-07-25T19:41:06.592" v="0" actId="18676"/>
        <pc:sldMkLst>
          <pc:docMk/>
          <pc:sldMk cId="3438008250" sldId="2147472990"/>
        </pc:sldMkLst>
      </pc:sldChg>
      <pc:sldChg chg="del">
        <pc:chgData name="Nathan" userId="d312bfc7-4201-48a3-a9df-83186336f2dd" providerId="ADAL" clId="{88C89422-1838-494F-AEE6-472139F7E5D1}" dt="2024-07-25T19:41:06.592" v="0" actId="18676"/>
        <pc:sldMkLst>
          <pc:docMk/>
          <pc:sldMk cId="162174686" sldId="2147472993"/>
        </pc:sldMkLst>
      </pc:sldChg>
      <pc:sldChg chg="del">
        <pc:chgData name="Nathan" userId="d312bfc7-4201-48a3-a9df-83186336f2dd" providerId="ADAL" clId="{88C89422-1838-494F-AEE6-472139F7E5D1}" dt="2024-07-25T19:41:06.592" v="0" actId="18676"/>
        <pc:sldMkLst>
          <pc:docMk/>
          <pc:sldMk cId="514454337" sldId="2147473002"/>
        </pc:sldMkLst>
      </pc:sldChg>
      <pc:sldChg chg="del">
        <pc:chgData name="Nathan" userId="d312bfc7-4201-48a3-a9df-83186336f2dd" providerId="ADAL" clId="{88C89422-1838-494F-AEE6-472139F7E5D1}" dt="2024-07-25T19:41:06.592" v="0" actId="18676"/>
        <pc:sldMkLst>
          <pc:docMk/>
          <pc:sldMk cId="3260890077" sldId="2147473029"/>
        </pc:sldMkLst>
      </pc:sldChg>
      <pc:sldChg chg="del">
        <pc:chgData name="Nathan" userId="d312bfc7-4201-48a3-a9df-83186336f2dd" providerId="ADAL" clId="{88C89422-1838-494F-AEE6-472139F7E5D1}" dt="2024-07-25T19:41:06.592" v="0" actId="18676"/>
        <pc:sldMkLst>
          <pc:docMk/>
          <pc:sldMk cId="2640845532" sldId="2147473039"/>
        </pc:sldMkLst>
      </pc:sldChg>
      <pc:sldChg chg="del">
        <pc:chgData name="Nathan" userId="d312bfc7-4201-48a3-a9df-83186336f2dd" providerId="ADAL" clId="{88C89422-1838-494F-AEE6-472139F7E5D1}" dt="2024-07-25T19:41:06.592" v="0" actId="18676"/>
        <pc:sldMkLst>
          <pc:docMk/>
          <pc:sldMk cId="2742904152" sldId="2147473043"/>
        </pc:sldMkLst>
      </pc:sldChg>
      <pc:sldChg chg="del">
        <pc:chgData name="Nathan" userId="d312bfc7-4201-48a3-a9df-83186336f2dd" providerId="ADAL" clId="{88C89422-1838-494F-AEE6-472139F7E5D1}" dt="2024-07-25T19:41:06.592" v="0" actId="18676"/>
        <pc:sldMkLst>
          <pc:docMk/>
          <pc:sldMk cId="3507543976" sldId="2147473053"/>
        </pc:sldMkLst>
      </pc:sldChg>
      <pc:sldChg chg="del">
        <pc:chgData name="Nathan" userId="d312bfc7-4201-48a3-a9df-83186336f2dd" providerId="ADAL" clId="{88C89422-1838-494F-AEE6-472139F7E5D1}" dt="2024-07-25T19:41:06.592" v="0" actId="18676"/>
        <pc:sldMkLst>
          <pc:docMk/>
          <pc:sldMk cId="3452124661" sldId="2147473056"/>
        </pc:sldMkLst>
      </pc:sldChg>
      <pc:sldChg chg="del">
        <pc:chgData name="Nathan" userId="d312bfc7-4201-48a3-a9df-83186336f2dd" providerId="ADAL" clId="{88C89422-1838-494F-AEE6-472139F7E5D1}" dt="2024-07-25T19:41:06.592" v="0" actId="18676"/>
        <pc:sldMkLst>
          <pc:docMk/>
          <pc:sldMk cId="3491643077" sldId="2147473062"/>
        </pc:sldMkLst>
      </pc:sldChg>
      <pc:sldChg chg="del">
        <pc:chgData name="Nathan" userId="d312bfc7-4201-48a3-a9df-83186336f2dd" providerId="ADAL" clId="{88C89422-1838-494F-AEE6-472139F7E5D1}" dt="2024-07-25T19:41:06.592" v="0" actId="18676"/>
        <pc:sldMkLst>
          <pc:docMk/>
          <pc:sldMk cId="4129543048" sldId="2147473063"/>
        </pc:sldMkLst>
      </pc:sldChg>
      <pc:sldChg chg="del">
        <pc:chgData name="Nathan" userId="d312bfc7-4201-48a3-a9df-83186336f2dd" providerId="ADAL" clId="{88C89422-1838-494F-AEE6-472139F7E5D1}" dt="2024-07-25T19:41:06.592" v="0" actId="18676"/>
        <pc:sldMkLst>
          <pc:docMk/>
          <pc:sldMk cId="4044808247" sldId="2147473064"/>
        </pc:sldMkLst>
      </pc:sldChg>
      <pc:sldChg chg="del">
        <pc:chgData name="Nathan" userId="d312bfc7-4201-48a3-a9df-83186336f2dd" providerId="ADAL" clId="{88C89422-1838-494F-AEE6-472139F7E5D1}" dt="2024-07-25T19:41:06.592" v="0" actId="18676"/>
        <pc:sldMkLst>
          <pc:docMk/>
          <pc:sldMk cId="2962774363" sldId="2147473065"/>
        </pc:sldMkLst>
      </pc:sldChg>
      <pc:sldChg chg="del">
        <pc:chgData name="Nathan" userId="d312bfc7-4201-48a3-a9df-83186336f2dd" providerId="ADAL" clId="{88C89422-1838-494F-AEE6-472139F7E5D1}" dt="2024-07-25T19:41:06.592" v="0" actId="18676"/>
        <pc:sldMkLst>
          <pc:docMk/>
          <pc:sldMk cId="3103220247" sldId="2147473066"/>
        </pc:sldMkLst>
      </pc:sldChg>
      <pc:sldChg chg="del">
        <pc:chgData name="Nathan" userId="d312bfc7-4201-48a3-a9df-83186336f2dd" providerId="ADAL" clId="{88C89422-1838-494F-AEE6-472139F7E5D1}" dt="2024-07-25T19:41:06.592" v="0" actId="18676"/>
        <pc:sldMkLst>
          <pc:docMk/>
          <pc:sldMk cId="371370401" sldId="2147473067"/>
        </pc:sldMkLst>
      </pc:sldChg>
      <pc:sldChg chg="del">
        <pc:chgData name="Nathan" userId="d312bfc7-4201-48a3-a9df-83186336f2dd" providerId="ADAL" clId="{88C89422-1838-494F-AEE6-472139F7E5D1}" dt="2024-07-25T19:41:06.592" v="0" actId="18676"/>
        <pc:sldMkLst>
          <pc:docMk/>
          <pc:sldMk cId="1117183935" sldId="2147473072"/>
        </pc:sldMkLst>
      </pc:sldChg>
      <pc:sldChg chg="del">
        <pc:chgData name="Nathan" userId="d312bfc7-4201-48a3-a9df-83186336f2dd" providerId="ADAL" clId="{88C89422-1838-494F-AEE6-472139F7E5D1}" dt="2024-07-25T19:41:06.592" v="0" actId="18676"/>
        <pc:sldMkLst>
          <pc:docMk/>
          <pc:sldMk cId="3386559360" sldId="2147473073"/>
        </pc:sldMkLst>
      </pc:sldChg>
      <pc:sldChg chg="del">
        <pc:chgData name="Nathan" userId="d312bfc7-4201-48a3-a9df-83186336f2dd" providerId="ADAL" clId="{88C89422-1838-494F-AEE6-472139F7E5D1}" dt="2024-07-25T19:41:06.592" v="0" actId="18676"/>
        <pc:sldMkLst>
          <pc:docMk/>
          <pc:sldMk cId="293271213" sldId="2147473099"/>
        </pc:sldMkLst>
      </pc:sldChg>
      <pc:sldChg chg="del">
        <pc:chgData name="Nathan" userId="d312bfc7-4201-48a3-a9df-83186336f2dd" providerId="ADAL" clId="{88C89422-1838-494F-AEE6-472139F7E5D1}" dt="2024-07-25T19:41:06.592" v="0" actId="18676"/>
        <pc:sldMkLst>
          <pc:docMk/>
          <pc:sldMk cId="3249340134" sldId="2147473100"/>
        </pc:sldMkLst>
      </pc:sldChg>
      <pc:sldChg chg="del">
        <pc:chgData name="Nathan" userId="d312bfc7-4201-48a3-a9df-83186336f2dd" providerId="ADAL" clId="{88C89422-1838-494F-AEE6-472139F7E5D1}" dt="2024-07-25T19:41:06.592" v="0" actId="18676"/>
        <pc:sldMkLst>
          <pc:docMk/>
          <pc:sldMk cId="3738585383" sldId="2147473105"/>
        </pc:sldMkLst>
      </pc:sldChg>
      <pc:sldChg chg="del">
        <pc:chgData name="Nathan" userId="d312bfc7-4201-48a3-a9df-83186336f2dd" providerId="ADAL" clId="{88C89422-1838-494F-AEE6-472139F7E5D1}" dt="2024-07-25T19:41:06.592" v="0" actId="18676"/>
        <pc:sldMkLst>
          <pc:docMk/>
          <pc:sldMk cId="4186814069" sldId="2147473106"/>
        </pc:sldMkLst>
      </pc:sldChg>
      <pc:sldChg chg="del">
        <pc:chgData name="Nathan" userId="d312bfc7-4201-48a3-a9df-83186336f2dd" providerId="ADAL" clId="{88C89422-1838-494F-AEE6-472139F7E5D1}" dt="2024-07-25T19:41:06.592" v="0" actId="18676"/>
        <pc:sldMkLst>
          <pc:docMk/>
          <pc:sldMk cId="1913488923" sldId="2147473107"/>
        </pc:sldMkLst>
      </pc:sldChg>
      <pc:sldChg chg="del">
        <pc:chgData name="Nathan" userId="d312bfc7-4201-48a3-a9df-83186336f2dd" providerId="ADAL" clId="{88C89422-1838-494F-AEE6-472139F7E5D1}" dt="2024-07-25T19:41:06.592" v="0" actId="18676"/>
        <pc:sldMkLst>
          <pc:docMk/>
          <pc:sldMk cId="1693252113" sldId="2147473108"/>
        </pc:sldMkLst>
      </pc:sldChg>
      <pc:sldChg chg="del">
        <pc:chgData name="Nathan" userId="d312bfc7-4201-48a3-a9df-83186336f2dd" providerId="ADAL" clId="{88C89422-1838-494F-AEE6-472139F7E5D1}" dt="2024-07-25T19:41:06.592" v="0" actId="18676"/>
        <pc:sldMkLst>
          <pc:docMk/>
          <pc:sldMk cId="1352536863" sldId="2147473109"/>
        </pc:sldMkLst>
      </pc:sldChg>
      <pc:sldChg chg="del">
        <pc:chgData name="Nathan" userId="d312bfc7-4201-48a3-a9df-83186336f2dd" providerId="ADAL" clId="{88C89422-1838-494F-AEE6-472139F7E5D1}" dt="2024-07-25T19:41:06.592" v="0" actId="18676"/>
        <pc:sldMkLst>
          <pc:docMk/>
          <pc:sldMk cId="907016206" sldId="2147473110"/>
        </pc:sldMkLst>
      </pc:sldChg>
      <pc:sldChg chg="del">
        <pc:chgData name="Nathan" userId="d312bfc7-4201-48a3-a9df-83186336f2dd" providerId="ADAL" clId="{88C89422-1838-494F-AEE6-472139F7E5D1}" dt="2024-07-25T19:41:06.592" v="0" actId="18676"/>
        <pc:sldMkLst>
          <pc:docMk/>
          <pc:sldMk cId="1315474742" sldId="2147473111"/>
        </pc:sldMkLst>
      </pc:sldChg>
      <pc:sldChg chg="del">
        <pc:chgData name="Nathan" userId="d312bfc7-4201-48a3-a9df-83186336f2dd" providerId="ADAL" clId="{88C89422-1838-494F-AEE6-472139F7E5D1}" dt="2024-07-25T19:41:06.592" v="0" actId="18676"/>
        <pc:sldMkLst>
          <pc:docMk/>
          <pc:sldMk cId="3244293376" sldId="2147473112"/>
        </pc:sldMkLst>
      </pc:sldChg>
      <pc:sldChg chg="del">
        <pc:chgData name="Nathan" userId="d312bfc7-4201-48a3-a9df-83186336f2dd" providerId="ADAL" clId="{88C89422-1838-494F-AEE6-472139F7E5D1}" dt="2024-07-25T19:41:06.592" v="0" actId="18676"/>
        <pc:sldMkLst>
          <pc:docMk/>
          <pc:sldMk cId="843984798" sldId="2147473113"/>
        </pc:sldMkLst>
      </pc:sldChg>
      <pc:sldChg chg="del">
        <pc:chgData name="Nathan" userId="d312bfc7-4201-48a3-a9df-83186336f2dd" providerId="ADAL" clId="{88C89422-1838-494F-AEE6-472139F7E5D1}" dt="2024-07-25T19:41:06.592" v="0" actId="18676"/>
        <pc:sldMkLst>
          <pc:docMk/>
          <pc:sldMk cId="1205602613" sldId="2147473114"/>
        </pc:sldMkLst>
      </pc:sldChg>
      <pc:sldChg chg="del">
        <pc:chgData name="Nathan" userId="d312bfc7-4201-48a3-a9df-83186336f2dd" providerId="ADAL" clId="{88C89422-1838-494F-AEE6-472139F7E5D1}" dt="2024-07-25T19:41:06.592" v="0" actId="18676"/>
        <pc:sldMkLst>
          <pc:docMk/>
          <pc:sldMk cId="2037094036" sldId="2147473117"/>
        </pc:sldMkLst>
      </pc:sldChg>
      <pc:sldChg chg="del">
        <pc:chgData name="Nathan" userId="d312bfc7-4201-48a3-a9df-83186336f2dd" providerId="ADAL" clId="{88C89422-1838-494F-AEE6-472139F7E5D1}" dt="2024-07-25T19:41:06.592" v="0" actId="18676"/>
        <pc:sldMkLst>
          <pc:docMk/>
          <pc:sldMk cId="991692972" sldId="2147473118"/>
        </pc:sldMkLst>
      </pc:sldChg>
      <pc:sldChg chg="del">
        <pc:chgData name="Nathan" userId="d312bfc7-4201-48a3-a9df-83186336f2dd" providerId="ADAL" clId="{88C89422-1838-494F-AEE6-472139F7E5D1}" dt="2024-07-25T19:41:06.592" v="0" actId="18676"/>
        <pc:sldMkLst>
          <pc:docMk/>
          <pc:sldMk cId="886524493" sldId="2147473119"/>
        </pc:sldMkLst>
      </pc:sldChg>
      <pc:sldChg chg="del">
        <pc:chgData name="Nathan" userId="d312bfc7-4201-48a3-a9df-83186336f2dd" providerId="ADAL" clId="{88C89422-1838-494F-AEE6-472139F7E5D1}" dt="2024-07-25T19:41:06.592" v="0" actId="18676"/>
        <pc:sldMkLst>
          <pc:docMk/>
          <pc:sldMk cId="3687607578" sldId="2147473120"/>
        </pc:sldMkLst>
      </pc:sldChg>
      <pc:sldChg chg="del">
        <pc:chgData name="Nathan" userId="d312bfc7-4201-48a3-a9df-83186336f2dd" providerId="ADAL" clId="{88C89422-1838-494F-AEE6-472139F7E5D1}" dt="2024-07-25T19:41:06.592" v="0" actId="18676"/>
        <pc:sldMkLst>
          <pc:docMk/>
          <pc:sldMk cId="1696588957" sldId="2147473121"/>
        </pc:sldMkLst>
      </pc:sldChg>
      <pc:sldChg chg="del">
        <pc:chgData name="Nathan" userId="d312bfc7-4201-48a3-a9df-83186336f2dd" providerId="ADAL" clId="{88C89422-1838-494F-AEE6-472139F7E5D1}" dt="2024-07-25T19:41:06.592" v="0" actId="18676"/>
        <pc:sldMkLst>
          <pc:docMk/>
          <pc:sldMk cId="246538412" sldId="2147473122"/>
        </pc:sldMkLst>
      </pc:sldChg>
      <pc:sldChg chg="del">
        <pc:chgData name="Nathan" userId="d312bfc7-4201-48a3-a9df-83186336f2dd" providerId="ADAL" clId="{88C89422-1838-494F-AEE6-472139F7E5D1}" dt="2024-07-25T19:41:06.592" v="0" actId="18676"/>
        <pc:sldMkLst>
          <pc:docMk/>
          <pc:sldMk cId="2823099610" sldId="2147473123"/>
        </pc:sldMkLst>
      </pc:sldChg>
      <pc:sldChg chg="del">
        <pc:chgData name="Nathan" userId="d312bfc7-4201-48a3-a9df-83186336f2dd" providerId="ADAL" clId="{88C89422-1838-494F-AEE6-472139F7E5D1}" dt="2024-07-25T19:41:06.592" v="0" actId="18676"/>
        <pc:sldMkLst>
          <pc:docMk/>
          <pc:sldMk cId="430442806" sldId="2147473124"/>
        </pc:sldMkLst>
      </pc:sldChg>
      <pc:sldChg chg="del">
        <pc:chgData name="Nathan" userId="d312bfc7-4201-48a3-a9df-83186336f2dd" providerId="ADAL" clId="{88C89422-1838-494F-AEE6-472139F7E5D1}" dt="2024-07-25T19:41:06.592" v="0" actId="18676"/>
        <pc:sldMkLst>
          <pc:docMk/>
          <pc:sldMk cId="37733692" sldId="2147473125"/>
        </pc:sldMkLst>
      </pc:sldChg>
      <pc:sldChg chg="del">
        <pc:chgData name="Nathan" userId="d312bfc7-4201-48a3-a9df-83186336f2dd" providerId="ADAL" clId="{88C89422-1838-494F-AEE6-472139F7E5D1}" dt="2024-07-25T19:41:06.592" v="0" actId="18676"/>
        <pc:sldMkLst>
          <pc:docMk/>
          <pc:sldMk cId="557757358" sldId="2147473162"/>
        </pc:sldMkLst>
      </pc:sldChg>
      <pc:sldChg chg="del">
        <pc:chgData name="Nathan" userId="d312bfc7-4201-48a3-a9df-83186336f2dd" providerId="ADAL" clId="{88C89422-1838-494F-AEE6-472139F7E5D1}" dt="2024-07-25T19:41:06.592" v="0" actId="18676"/>
        <pc:sldMkLst>
          <pc:docMk/>
          <pc:sldMk cId="244770117" sldId="2147473163"/>
        </pc:sldMkLst>
      </pc:sldChg>
      <pc:sldChg chg="del">
        <pc:chgData name="Nathan" userId="d312bfc7-4201-48a3-a9df-83186336f2dd" providerId="ADAL" clId="{88C89422-1838-494F-AEE6-472139F7E5D1}" dt="2024-07-25T19:41:06.592" v="0" actId="18676"/>
        <pc:sldMkLst>
          <pc:docMk/>
          <pc:sldMk cId="775215232" sldId="2147473165"/>
        </pc:sldMkLst>
      </pc:sldChg>
      <pc:sldChg chg="del">
        <pc:chgData name="Nathan" userId="d312bfc7-4201-48a3-a9df-83186336f2dd" providerId="ADAL" clId="{88C89422-1838-494F-AEE6-472139F7E5D1}" dt="2024-07-25T19:41:06.592" v="0" actId="18676"/>
        <pc:sldMkLst>
          <pc:docMk/>
          <pc:sldMk cId="2849692132" sldId="2147473173"/>
        </pc:sldMkLst>
      </pc:sldChg>
      <pc:sldChg chg="del">
        <pc:chgData name="Nathan" userId="d312bfc7-4201-48a3-a9df-83186336f2dd" providerId="ADAL" clId="{88C89422-1838-494F-AEE6-472139F7E5D1}" dt="2024-07-25T19:41:06.592" v="0" actId="18676"/>
        <pc:sldMkLst>
          <pc:docMk/>
          <pc:sldMk cId="760122063" sldId="2147473176"/>
        </pc:sldMkLst>
      </pc:sldChg>
      <pc:sldChg chg="del">
        <pc:chgData name="Nathan" userId="d312bfc7-4201-48a3-a9df-83186336f2dd" providerId="ADAL" clId="{88C89422-1838-494F-AEE6-472139F7E5D1}" dt="2024-07-25T19:41:06.592" v="0" actId="18676"/>
        <pc:sldMkLst>
          <pc:docMk/>
          <pc:sldMk cId="2585787368" sldId="2147473177"/>
        </pc:sldMkLst>
      </pc:sldChg>
      <pc:sldChg chg="del">
        <pc:chgData name="Nathan" userId="d312bfc7-4201-48a3-a9df-83186336f2dd" providerId="ADAL" clId="{88C89422-1838-494F-AEE6-472139F7E5D1}" dt="2024-07-25T19:41:06.592" v="0" actId="18676"/>
        <pc:sldMkLst>
          <pc:docMk/>
          <pc:sldMk cId="1769833586" sldId="2147473181"/>
        </pc:sldMkLst>
      </pc:sldChg>
      <pc:sldChg chg="del">
        <pc:chgData name="Nathan" userId="d312bfc7-4201-48a3-a9df-83186336f2dd" providerId="ADAL" clId="{88C89422-1838-494F-AEE6-472139F7E5D1}" dt="2024-07-25T19:41:06.592" v="0" actId="18676"/>
        <pc:sldMkLst>
          <pc:docMk/>
          <pc:sldMk cId="3035809584" sldId="2147473182"/>
        </pc:sldMkLst>
      </pc:sldChg>
      <pc:sldChg chg="del">
        <pc:chgData name="Nathan" userId="d312bfc7-4201-48a3-a9df-83186336f2dd" providerId="ADAL" clId="{88C89422-1838-494F-AEE6-472139F7E5D1}" dt="2024-07-25T19:41:06.592" v="0" actId="18676"/>
        <pc:sldMkLst>
          <pc:docMk/>
          <pc:sldMk cId="2511152630" sldId="2147473183"/>
        </pc:sldMkLst>
      </pc:sldChg>
      <pc:sldChg chg="del">
        <pc:chgData name="Nathan" userId="d312bfc7-4201-48a3-a9df-83186336f2dd" providerId="ADAL" clId="{88C89422-1838-494F-AEE6-472139F7E5D1}" dt="2024-07-25T19:41:06.592" v="0" actId="18676"/>
        <pc:sldMkLst>
          <pc:docMk/>
          <pc:sldMk cId="2618931662" sldId="2147473184"/>
        </pc:sldMkLst>
      </pc:sldChg>
      <pc:sldChg chg="del">
        <pc:chgData name="Nathan" userId="d312bfc7-4201-48a3-a9df-83186336f2dd" providerId="ADAL" clId="{88C89422-1838-494F-AEE6-472139F7E5D1}" dt="2024-07-25T19:41:06.592" v="0" actId="18676"/>
        <pc:sldMkLst>
          <pc:docMk/>
          <pc:sldMk cId="2846698720" sldId="2147473186"/>
        </pc:sldMkLst>
      </pc:sldChg>
      <pc:sldChg chg="del">
        <pc:chgData name="Nathan" userId="d312bfc7-4201-48a3-a9df-83186336f2dd" providerId="ADAL" clId="{88C89422-1838-494F-AEE6-472139F7E5D1}" dt="2024-07-25T19:41:06.592" v="0" actId="18676"/>
        <pc:sldMkLst>
          <pc:docMk/>
          <pc:sldMk cId="3768081320" sldId="2147473187"/>
        </pc:sldMkLst>
      </pc:sldChg>
      <pc:sldChg chg="del">
        <pc:chgData name="Nathan" userId="d312bfc7-4201-48a3-a9df-83186336f2dd" providerId="ADAL" clId="{88C89422-1838-494F-AEE6-472139F7E5D1}" dt="2024-07-25T19:41:06.592" v="0" actId="18676"/>
        <pc:sldMkLst>
          <pc:docMk/>
          <pc:sldMk cId="3250411780" sldId="2147473188"/>
        </pc:sldMkLst>
      </pc:sldChg>
      <pc:sldChg chg="del">
        <pc:chgData name="Nathan" userId="d312bfc7-4201-48a3-a9df-83186336f2dd" providerId="ADAL" clId="{88C89422-1838-494F-AEE6-472139F7E5D1}" dt="2024-07-25T19:41:06.592" v="0" actId="18676"/>
        <pc:sldMkLst>
          <pc:docMk/>
          <pc:sldMk cId="1954105118" sldId="2147473200"/>
        </pc:sldMkLst>
      </pc:sldChg>
      <pc:sldChg chg="del">
        <pc:chgData name="Nathan" userId="d312bfc7-4201-48a3-a9df-83186336f2dd" providerId="ADAL" clId="{88C89422-1838-494F-AEE6-472139F7E5D1}" dt="2024-07-25T19:41:06.592" v="0" actId="18676"/>
        <pc:sldMkLst>
          <pc:docMk/>
          <pc:sldMk cId="3115945454" sldId="2147473201"/>
        </pc:sldMkLst>
      </pc:sldChg>
      <pc:sldChg chg="del">
        <pc:chgData name="Nathan" userId="d312bfc7-4201-48a3-a9df-83186336f2dd" providerId="ADAL" clId="{88C89422-1838-494F-AEE6-472139F7E5D1}" dt="2024-07-25T19:41:06.592" v="0" actId="18676"/>
        <pc:sldMkLst>
          <pc:docMk/>
          <pc:sldMk cId="1997262340" sldId="2147473202"/>
        </pc:sldMkLst>
      </pc:sldChg>
      <pc:sldChg chg="del">
        <pc:chgData name="Nathan" userId="d312bfc7-4201-48a3-a9df-83186336f2dd" providerId="ADAL" clId="{88C89422-1838-494F-AEE6-472139F7E5D1}" dt="2024-07-25T19:41:06.592" v="0" actId="18676"/>
        <pc:sldMkLst>
          <pc:docMk/>
          <pc:sldMk cId="1901190265" sldId="2147473203"/>
        </pc:sldMkLst>
      </pc:sldChg>
      <pc:sldChg chg="del">
        <pc:chgData name="Nathan" userId="d312bfc7-4201-48a3-a9df-83186336f2dd" providerId="ADAL" clId="{88C89422-1838-494F-AEE6-472139F7E5D1}" dt="2024-07-25T19:41:06.592" v="0" actId="18676"/>
        <pc:sldMkLst>
          <pc:docMk/>
          <pc:sldMk cId="2543686114" sldId="2147473204"/>
        </pc:sldMkLst>
      </pc:sldChg>
      <pc:sldChg chg="del">
        <pc:chgData name="Nathan" userId="d312bfc7-4201-48a3-a9df-83186336f2dd" providerId="ADAL" clId="{88C89422-1838-494F-AEE6-472139F7E5D1}" dt="2024-07-25T19:41:06.592" v="0" actId="18676"/>
        <pc:sldMkLst>
          <pc:docMk/>
          <pc:sldMk cId="4053507728" sldId="2147473205"/>
        </pc:sldMkLst>
      </pc:sldChg>
      <pc:sldChg chg="del">
        <pc:chgData name="Nathan" userId="d312bfc7-4201-48a3-a9df-83186336f2dd" providerId="ADAL" clId="{88C89422-1838-494F-AEE6-472139F7E5D1}" dt="2024-07-25T19:41:06.592" v="0" actId="18676"/>
        <pc:sldMkLst>
          <pc:docMk/>
          <pc:sldMk cId="1805199185" sldId="2147473206"/>
        </pc:sldMkLst>
      </pc:sldChg>
      <pc:sldChg chg="del">
        <pc:chgData name="Nathan" userId="d312bfc7-4201-48a3-a9df-83186336f2dd" providerId="ADAL" clId="{88C89422-1838-494F-AEE6-472139F7E5D1}" dt="2024-07-25T19:41:06.592" v="0" actId="18676"/>
        <pc:sldMkLst>
          <pc:docMk/>
          <pc:sldMk cId="2574686633" sldId="2147473207"/>
        </pc:sldMkLst>
      </pc:sldChg>
      <pc:sldChg chg="del">
        <pc:chgData name="Nathan" userId="d312bfc7-4201-48a3-a9df-83186336f2dd" providerId="ADAL" clId="{88C89422-1838-494F-AEE6-472139F7E5D1}" dt="2024-07-25T19:41:06.592" v="0" actId="18676"/>
        <pc:sldMkLst>
          <pc:docMk/>
          <pc:sldMk cId="3924784470" sldId="2147473208"/>
        </pc:sldMkLst>
      </pc:sldChg>
      <pc:sldChg chg="del">
        <pc:chgData name="Nathan" userId="d312bfc7-4201-48a3-a9df-83186336f2dd" providerId="ADAL" clId="{88C89422-1838-494F-AEE6-472139F7E5D1}" dt="2024-07-25T19:41:06.592" v="0" actId="18676"/>
        <pc:sldMkLst>
          <pc:docMk/>
          <pc:sldMk cId="3223582470" sldId="2147473209"/>
        </pc:sldMkLst>
      </pc:sldChg>
      <pc:sldChg chg="del">
        <pc:chgData name="Nathan" userId="d312bfc7-4201-48a3-a9df-83186336f2dd" providerId="ADAL" clId="{88C89422-1838-494F-AEE6-472139F7E5D1}" dt="2024-07-25T19:41:06.592" v="0" actId="18676"/>
        <pc:sldMkLst>
          <pc:docMk/>
          <pc:sldMk cId="1973450922" sldId="2147473210"/>
        </pc:sldMkLst>
      </pc:sldChg>
      <pc:sldChg chg="del">
        <pc:chgData name="Nathan" userId="d312bfc7-4201-48a3-a9df-83186336f2dd" providerId="ADAL" clId="{88C89422-1838-494F-AEE6-472139F7E5D1}" dt="2024-07-25T19:41:06.592" v="0" actId="18676"/>
        <pc:sldMkLst>
          <pc:docMk/>
          <pc:sldMk cId="3968995076" sldId="2147473211"/>
        </pc:sldMkLst>
      </pc:sldChg>
      <pc:sldChg chg="del">
        <pc:chgData name="Nathan" userId="d312bfc7-4201-48a3-a9df-83186336f2dd" providerId="ADAL" clId="{88C89422-1838-494F-AEE6-472139F7E5D1}" dt="2024-07-25T19:41:06.592" v="0" actId="18676"/>
        <pc:sldMkLst>
          <pc:docMk/>
          <pc:sldMk cId="3772554151" sldId="2147473212"/>
        </pc:sldMkLst>
      </pc:sldChg>
      <pc:sldChg chg="del">
        <pc:chgData name="Nathan" userId="d312bfc7-4201-48a3-a9df-83186336f2dd" providerId="ADAL" clId="{88C89422-1838-494F-AEE6-472139F7E5D1}" dt="2024-07-25T19:41:06.592" v="0" actId="18676"/>
        <pc:sldMkLst>
          <pc:docMk/>
          <pc:sldMk cId="306475889" sldId="2147473213"/>
        </pc:sldMkLst>
      </pc:sldChg>
      <pc:sldChg chg="modSp mod">
        <pc:chgData name="Nathan" userId="d312bfc7-4201-48a3-a9df-83186336f2dd" providerId="ADAL" clId="{88C89422-1838-494F-AEE6-472139F7E5D1}" dt="2024-07-25T19:47:01.749" v="35" actId="404"/>
        <pc:sldMkLst>
          <pc:docMk/>
          <pc:sldMk cId="3738188456" sldId="2147473214"/>
        </pc:sldMkLst>
        <pc:spChg chg="mod">
          <ac:chgData name="Nathan" userId="d312bfc7-4201-48a3-a9df-83186336f2dd" providerId="ADAL" clId="{88C89422-1838-494F-AEE6-472139F7E5D1}" dt="2024-07-25T19:47:01.749" v="35" actId="404"/>
          <ac:spMkLst>
            <pc:docMk/>
            <pc:sldMk cId="3738188456" sldId="2147473214"/>
            <ac:spMk id="25" creationId="{A518A140-3447-288D-589C-0383D5A0959D}"/>
          </ac:spMkLst>
        </pc:spChg>
        <pc:spChg chg="mod">
          <ac:chgData name="Nathan" userId="d312bfc7-4201-48a3-a9df-83186336f2dd" providerId="ADAL" clId="{88C89422-1838-494F-AEE6-472139F7E5D1}" dt="2024-07-25T19:47:01.749" v="35" actId="404"/>
          <ac:spMkLst>
            <pc:docMk/>
            <pc:sldMk cId="3738188456" sldId="2147473214"/>
            <ac:spMk id="40" creationId="{AA04A3AF-A63B-B3B7-EF17-8BAC0978FCBC}"/>
          </ac:spMkLst>
        </pc:spChg>
        <pc:spChg chg="mod">
          <ac:chgData name="Nathan" userId="d312bfc7-4201-48a3-a9df-83186336f2dd" providerId="ADAL" clId="{88C89422-1838-494F-AEE6-472139F7E5D1}" dt="2024-07-25T19:47:01.749" v="35" actId="404"/>
          <ac:spMkLst>
            <pc:docMk/>
            <pc:sldMk cId="3738188456" sldId="2147473214"/>
            <ac:spMk id="44" creationId="{28F29215-232F-6B9C-B8CD-1696E5FA7D2C}"/>
          </ac:spMkLst>
        </pc:spChg>
        <pc:spChg chg="mod">
          <ac:chgData name="Nathan" userId="d312bfc7-4201-48a3-a9df-83186336f2dd" providerId="ADAL" clId="{88C89422-1838-494F-AEE6-472139F7E5D1}" dt="2024-07-25T19:47:01.749" v="35" actId="404"/>
          <ac:spMkLst>
            <pc:docMk/>
            <pc:sldMk cId="3738188456" sldId="2147473214"/>
            <ac:spMk id="46" creationId="{D4BA379D-FEC5-7671-E270-7B95C5009951}"/>
          </ac:spMkLst>
        </pc:spChg>
        <pc:spChg chg="mod">
          <ac:chgData name="Nathan" userId="d312bfc7-4201-48a3-a9df-83186336f2dd" providerId="ADAL" clId="{88C89422-1838-494F-AEE6-472139F7E5D1}" dt="2024-07-25T19:47:01.749" v="35" actId="404"/>
          <ac:spMkLst>
            <pc:docMk/>
            <pc:sldMk cId="3738188456" sldId="2147473214"/>
            <ac:spMk id="49" creationId="{2A871FC3-623C-F4AE-4394-221F94894124}"/>
          </ac:spMkLst>
        </pc:spChg>
        <pc:spChg chg="mod">
          <ac:chgData name="Nathan" userId="d312bfc7-4201-48a3-a9df-83186336f2dd" providerId="ADAL" clId="{88C89422-1838-494F-AEE6-472139F7E5D1}" dt="2024-07-25T19:47:01.749" v="35" actId="404"/>
          <ac:spMkLst>
            <pc:docMk/>
            <pc:sldMk cId="3738188456" sldId="2147473214"/>
            <ac:spMk id="50" creationId="{CD7BD0C2-8906-64AA-0265-18A0B5E011FF}"/>
          </ac:spMkLst>
        </pc:spChg>
      </pc:sldChg>
      <pc:sldChg chg="modSp mod delCm">
        <pc:chgData name="Nathan" userId="d312bfc7-4201-48a3-a9df-83186336f2dd" providerId="ADAL" clId="{88C89422-1838-494F-AEE6-472139F7E5D1}" dt="2024-07-25T19:51:08.557" v="77" actId="403"/>
        <pc:sldMkLst>
          <pc:docMk/>
          <pc:sldMk cId="3690196985" sldId="2147473216"/>
        </pc:sldMkLst>
        <pc:graphicFrameChg chg="modGraphic">
          <ac:chgData name="Nathan" userId="d312bfc7-4201-48a3-a9df-83186336f2dd" providerId="ADAL" clId="{88C89422-1838-494F-AEE6-472139F7E5D1}" dt="2024-07-25T19:51:08.557" v="77" actId="403"/>
          <ac:graphicFrameMkLst>
            <pc:docMk/>
            <pc:sldMk cId="3690196985" sldId="2147473216"/>
            <ac:graphicFrameMk id="5" creationId="{88A6E1A8-0F88-A24F-67A1-49CB7F0C297A}"/>
          </ac:graphicFrameMkLst>
        </pc:graphicFrameChg>
        <pc:extLst>
          <p:ext xmlns:p="http://schemas.openxmlformats.org/presentationml/2006/main" uri="{D6D511B9-2390-475A-947B-AFAB55BFBCF1}">
            <pc226:cmChg xmlns:pc226="http://schemas.microsoft.com/office/powerpoint/2022/06/main/command" chg="del">
              <pc226:chgData name="Nathan" userId="d312bfc7-4201-48a3-a9df-83186336f2dd" providerId="ADAL" clId="{88C89422-1838-494F-AEE6-472139F7E5D1}" dt="2024-07-25T19:41:24.223" v="1"/>
              <pc2:cmMkLst xmlns:pc2="http://schemas.microsoft.com/office/powerpoint/2019/9/main/command">
                <pc:docMk/>
                <pc:sldMk cId="3690196985" sldId="2147473216"/>
                <pc2:cmMk id="{4C5ECFD0-782E-4F93-B482-842B60020214}"/>
              </pc2:cmMkLst>
            </pc226:cmChg>
          </p:ext>
        </pc:extLst>
      </pc:sldChg>
      <pc:sldChg chg="modSp mod">
        <pc:chgData name="Nathan" userId="d312bfc7-4201-48a3-a9df-83186336f2dd" providerId="ADAL" clId="{88C89422-1838-494F-AEE6-472139F7E5D1}" dt="2024-07-25T19:49:50.355" v="61" actId="404"/>
        <pc:sldMkLst>
          <pc:docMk/>
          <pc:sldMk cId="948064643" sldId="2147473218"/>
        </pc:sldMkLst>
        <pc:spChg chg="mod">
          <ac:chgData name="Nathan" userId="d312bfc7-4201-48a3-a9df-83186336f2dd" providerId="ADAL" clId="{88C89422-1838-494F-AEE6-472139F7E5D1}" dt="2024-07-25T19:49:50.355" v="61" actId="404"/>
          <ac:spMkLst>
            <pc:docMk/>
            <pc:sldMk cId="948064643" sldId="2147473218"/>
            <ac:spMk id="5" creationId="{200883B1-3AFF-2E68-632C-842E687C7A0C}"/>
          </ac:spMkLst>
        </pc:spChg>
        <pc:spChg chg="mod">
          <ac:chgData name="Nathan" userId="d312bfc7-4201-48a3-a9df-83186336f2dd" providerId="ADAL" clId="{88C89422-1838-494F-AEE6-472139F7E5D1}" dt="2024-07-25T19:49:50.355" v="61" actId="404"/>
          <ac:spMkLst>
            <pc:docMk/>
            <pc:sldMk cId="948064643" sldId="2147473218"/>
            <ac:spMk id="9" creationId="{DC97904E-5153-131E-88D4-A1108C6E2387}"/>
          </ac:spMkLst>
        </pc:spChg>
        <pc:spChg chg="mod">
          <ac:chgData name="Nathan" userId="d312bfc7-4201-48a3-a9df-83186336f2dd" providerId="ADAL" clId="{88C89422-1838-494F-AEE6-472139F7E5D1}" dt="2024-07-25T19:49:50.355" v="61" actId="404"/>
          <ac:spMkLst>
            <pc:docMk/>
            <pc:sldMk cId="948064643" sldId="2147473218"/>
            <ac:spMk id="13" creationId="{663ED3C5-D3BA-EF19-3F10-CF86149A3250}"/>
          </ac:spMkLst>
        </pc:spChg>
        <pc:spChg chg="mod">
          <ac:chgData name="Nathan" userId="d312bfc7-4201-48a3-a9df-83186336f2dd" providerId="ADAL" clId="{88C89422-1838-494F-AEE6-472139F7E5D1}" dt="2024-07-25T19:49:50.355" v="61" actId="404"/>
          <ac:spMkLst>
            <pc:docMk/>
            <pc:sldMk cId="948064643" sldId="2147473218"/>
            <ac:spMk id="15" creationId="{EC2E5243-B10C-997A-C250-F3ECA2E69CE3}"/>
          </ac:spMkLst>
        </pc:spChg>
        <pc:spChg chg="mod">
          <ac:chgData name="Nathan" userId="d312bfc7-4201-48a3-a9df-83186336f2dd" providerId="ADAL" clId="{88C89422-1838-494F-AEE6-472139F7E5D1}" dt="2024-07-25T19:49:50.355" v="61" actId="404"/>
          <ac:spMkLst>
            <pc:docMk/>
            <pc:sldMk cId="948064643" sldId="2147473218"/>
            <ac:spMk id="19" creationId="{2EDB8817-2B18-B4D8-E4BE-162F2047CB70}"/>
          </ac:spMkLst>
        </pc:spChg>
        <pc:spChg chg="mod">
          <ac:chgData name="Nathan" userId="d312bfc7-4201-48a3-a9df-83186336f2dd" providerId="ADAL" clId="{88C89422-1838-494F-AEE6-472139F7E5D1}" dt="2024-07-25T19:49:50.355" v="61" actId="404"/>
          <ac:spMkLst>
            <pc:docMk/>
            <pc:sldMk cId="948064643" sldId="2147473218"/>
            <ac:spMk id="20" creationId="{7C61BAF5-A91C-A4B4-CDDD-B904EB3E755A}"/>
          </ac:spMkLst>
        </pc:spChg>
      </pc:sldChg>
      <pc:sldChg chg="modSp mod">
        <pc:chgData name="Nathan" userId="d312bfc7-4201-48a3-a9df-83186336f2dd" providerId="ADAL" clId="{88C89422-1838-494F-AEE6-472139F7E5D1}" dt="2024-07-25T19:49:35.470" v="57" actId="404"/>
        <pc:sldMkLst>
          <pc:docMk/>
          <pc:sldMk cId="4043452944" sldId="2147473219"/>
        </pc:sldMkLst>
        <pc:spChg chg="mod">
          <ac:chgData name="Nathan" userId="d312bfc7-4201-48a3-a9df-83186336f2dd" providerId="ADAL" clId="{88C89422-1838-494F-AEE6-472139F7E5D1}" dt="2024-07-25T19:49:35.470" v="57" actId="404"/>
          <ac:spMkLst>
            <pc:docMk/>
            <pc:sldMk cId="4043452944" sldId="2147473219"/>
            <ac:spMk id="5" creationId="{200883B1-3AFF-2E68-632C-842E687C7A0C}"/>
          </ac:spMkLst>
        </pc:spChg>
        <pc:spChg chg="mod">
          <ac:chgData name="Nathan" userId="d312bfc7-4201-48a3-a9df-83186336f2dd" providerId="ADAL" clId="{88C89422-1838-494F-AEE6-472139F7E5D1}" dt="2024-07-25T19:49:35.470" v="57" actId="404"/>
          <ac:spMkLst>
            <pc:docMk/>
            <pc:sldMk cId="4043452944" sldId="2147473219"/>
            <ac:spMk id="9" creationId="{DC97904E-5153-131E-88D4-A1108C6E2387}"/>
          </ac:spMkLst>
        </pc:spChg>
        <pc:spChg chg="mod">
          <ac:chgData name="Nathan" userId="d312bfc7-4201-48a3-a9df-83186336f2dd" providerId="ADAL" clId="{88C89422-1838-494F-AEE6-472139F7E5D1}" dt="2024-07-25T19:49:35.470" v="57" actId="404"/>
          <ac:spMkLst>
            <pc:docMk/>
            <pc:sldMk cId="4043452944" sldId="2147473219"/>
            <ac:spMk id="13" creationId="{663ED3C5-D3BA-EF19-3F10-CF86149A3250}"/>
          </ac:spMkLst>
        </pc:spChg>
        <pc:spChg chg="mod">
          <ac:chgData name="Nathan" userId="d312bfc7-4201-48a3-a9df-83186336f2dd" providerId="ADAL" clId="{88C89422-1838-494F-AEE6-472139F7E5D1}" dt="2024-07-25T19:49:35.470" v="57" actId="404"/>
          <ac:spMkLst>
            <pc:docMk/>
            <pc:sldMk cId="4043452944" sldId="2147473219"/>
            <ac:spMk id="15" creationId="{EC2E5243-B10C-997A-C250-F3ECA2E69CE3}"/>
          </ac:spMkLst>
        </pc:spChg>
        <pc:spChg chg="mod">
          <ac:chgData name="Nathan" userId="d312bfc7-4201-48a3-a9df-83186336f2dd" providerId="ADAL" clId="{88C89422-1838-494F-AEE6-472139F7E5D1}" dt="2024-07-25T19:49:35.470" v="57" actId="404"/>
          <ac:spMkLst>
            <pc:docMk/>
            <pc:sldMk cId="4043452944" sldId="2147473219"/>
            <ac:spMk id="19" creationId="{2EDB8817-2B18-B4D8-E4BE-162F2047CB70}"/>
          </ac:spMkLst>
        </pc:spChg>
        <pc:spChg chg="mod">
          <ac:chgData name="Nathan" userId="d312bfc7-4201-48a3-a9df-83186336f2dd" providerId="ADAL" clId="{88C89422-1838-494F-AEE6-472139F7E5D1}" dt="2024-07-25T19:49:35.470" v="57" actId="404"/>
          <ac:spMkLst>
            <pc:docMk/>
            <pc:sldMk cId="4043452944" sldId="2147473219"/>
            <ac:spMk id="20" creationId="{7C61BAF5-A91C-A4B4-CDDD-B904EB3E755A}"/>
          </ac:spMkLst>
        </pc:spChg>
      </pc:sldChg>
      <pc:sldChg chg="del">
        <pc:chgData name="Nathan" userId="d312bfc7-4201-48a3-a9df-83186336f2dd" providerId="ADAL" clId="{88C89422-1838-494F-AEE6-472139F7E5D1}" dt="2024-07-25T19:41:06.592" v="0" actId="18676"/>
        <pc:sldMkLst>
          <pc:docMk/>
          <pc:sldMk cId="2806225201" sldId="2147473221"/>
        </pc:sldMkLst>
      </pc:sldChg>
      <pc:sldChg chg="modSp mod">
        <pc:chgData name="Nathan" userId="d312bfc7-4201-48a3-a9df-83186336f2dd" providerId="ADAL" clId="{88C89422-1838-494F-AEE6-472139F7E5D1}" dt="2024-07-25T19:43:42.991" v="17" actId="1076"/>
        <pc:sldMkLst>
          <pc:docMk/>
          <pc:sldMk cId="1286167571" sldId="2147473223"/>
        </pc:sldMkLst>
        <pc:spChg chg="mod">
          <ac:chgData name="Nathan" userId="d312bfc7-4201-48a3-a9df-83186336f2dd" providerId="ADAL" clId="{88C89422-1838-494F-AEE6-472139F7E5D1}" dt="2024-07-25T19:43:24.494" v="15" actId="2711"/>
          <ac:spMkLst>
            <pc:docMk/>
            <pc:sldMk cId="1286167571" sldId="2147473223"/>
            <ac:spMk id="40" creationId="{D9523B4A-7D55-EDF7-83BF-B3B8C48893A5}"/>
          </ac:spMkLst>
        </pc:spChg>
        <pc:spChg chg="mod">
          <ac:chgData name="Nathan" userId="d312bfc7-4201-48a3-a9df-83186336f2dd" providerId="ADAL" clId="{88C89422-1838-494F-AEE6-472139F7E5D1}" dt="2024-07-25T19:43:20.143" v="14" actId="2711"/>
          <ac:spMkLst>
            <pc:docMk/>
            <pc:sldMk cId="1286167571" sldId="2147473223"/>
            <ac:spMk id="41" creationId="{9319F9BE-1697-3C00-145F-9B163A906F7B}"/>
          </ac:spMkLst>
        </pc:spChg>
        <pc:spChg chg="mod">
          <ac:chgData name="Nathan" userId="d312bfc7-4201-48a3-a9df-83186336f2dd" providerId="ADAL" clId="{88C89422-1838-494F-AEE6-472139F7E5D1}" dt="2024-07-25T19:43:42.991" v="17" actId="1076"/>
          <ac:spMkLst>
            <pc:docMk/>
            <pc:sldMk cId="1286167571" sldId="2147473223"/>
            <ac:spMk id="48" creationId="{8B8F9A62-A3ED-86CB-B1D0-488A81C7BB25}"/>
          </ac:spMkLst>
        </pc:spChg>
      </pc:sldChg>
      <pc:sldChg chg="modSp mod">
        <pc:chgData name="Nathan" userId="d312bfc7-4201-48a3-a9df-83186336f2dd" providerId="ADAL" clId="{88C89422-1838-494F-AEE6-472139F7E5D1}" dt="2024-07-25T19:45:05.921" v="27" actId="404"/>
        <pc:sldMkLst>
          <pc:docMk/>
          <pc:sldMk cId="537899077" sldId="2147473224"/>
        </pc:sldMkLst>
        <pc:graphicFrameChg chg="mod modGraphic">
          <ac:chgData name="Nathan" userId="d312bfc7-4201-48a3-a9df-83186336f2dd" providerId="ADAL" clId="{88C89422-1838-494F-AEE6-472139F7E5D1}" dt="2024-07-25T19:45:05.921" v="27" actId="404"/>
          <ac:graphicFrameMkLst>
            <pc:docMk/>
            <pc:sldMk cId="537899077" sldId="2147473224"/>
            <ac:graphicFrameMk id="22" creationId="{C6FA7420-15AE-B10B-12A8-181FDBA39972}"/>
          </ac:graphicFrameMkLst>
        </pc:graphicFrameChg>
      </pc:sldChg>
      <pc:sldChg chg="modSp mod">
        <pc:chgData name="Nathan" userId="d312bfc7-4201-48a3-a9df-83186336f2dd" providerId="ADAL" clId="{88C89422-1838-494F-AEE6-472139F7E5D1}" dt="2024-07-25T19:47:15.973" v="36" actId="2711"/>
        <pc:sldMkLst>
          <pc:docMk/>
          <pc:sldMk cId="313628890" sldId="2147473225"/>
        </pc:sldMkLst>
        <pc:spChg chg="mod">
          <ac:chgData name="Nathan" userId="d312bfc7-4201-48a3-a9df-83186336f2dd" providerId="ADAL" clId="{88C89422-1838-494F-AEE6-472139F7E5D1}" dt="2024-07-25T19:47:15.973" v="36" actId="2711"/>
          <ac:spMkLst>
            <pc:docMk/>
            <pc:sldMk cId="313628890" sldId="2147473225"/>
            <ac:spMk id="35" creationId="{9D0A5EFF-207D-A2C8-2132-0AEFB4A8C748}"/>
          </ac:spMkLst>
        </pc:spChg>
        <pc:spChg chg="mod">
          <ac:chgData name="Nathan" userId="d312bfc7-4201-48a3-a9df-83186336f2dd" providerId="ADAL" clId="{88C89422-1838-494F-AEE6-472139F7E5D1}" dt="2024-07-25T19:47:15.973" v="36" actId="2711"/>
          <ac:spMkLst>
            <pc:docMk/>
            <pc:sldMk cId="313628890" sldId="2147473225"/>
            <ac:spMk id="36" creationId="{15538BC6-76E8-839F-8B83-0DC6F3BC5631}"/>
          </ac:spMkLst>
        </pc:spChg>
        <pc:spChg chg="mod">
          <ac:chgData name="Nathan" userId="d312bfc7-4201-48a3-a9df-83186336f2dd" providerId="ADAL" clId="{88C89422-1838-494F-AEE6-472139F7E5D1}" dt="2024-07-25T19:47:15.973" v="36" actId="2711"/>
          <ac:spMkLst>
            <pc:docMk/>
            <pc:sldMk cId="313628890" sldId="2147473225"/>
            <ac:spMk id="37" creationId="{D31361B0-B836-5F2D-E423-D8696C8E9C70}"/>
          </ac:spMkLst>
        </pc:spChg>
        <pc:spChg chg="mod">
          <ac:chgData name="Nathan" userId="d312bfc7-4201-48a3-a9df-83186336f2dd" providerId="ADAL" clId="{88C89422-1838-494F-AEE6-472139F7E5D1}" dt="2024-07-25T19:47:15.973" v="36" actId="2711"/>
          <ac:spMkLst>
            <pc:docMk/>
            <pc:sldMk cId="313628890" sldId="2147473225"/>
            <ac:spMk id="38" creationId="{00CD2A3E-4669-D400-DCBA-0CECEEAB6DE2}"/>
          </ac:spMkLst>
        </pc:spChg>
        <pc:spChg chg="mod">
          <ac:chgData name="Nathan" userId="d312bfc7-4201-48a3-a9df-83186336f2dd" providerId="ADAL" clId="{88C89422-1838-494F-AEE6-472139F7E5D1}" dt="2024-07-25T19:47:15.973" v="36" actId="2711"/>
          <ac:spMkLst>
            <pc:docMk/>
            <pc:sldMk cId="313628890" sldId="2147473225"/>
            <ac:spMk id="39" creationId="{2405944F-D58C-DFAD-9544-15BAF6D6247E}"/>
          </ac:spMkLst>
        </pc:spChg>
        <pc:spChg chg="mod">
          <ac:chgData name="Nathan" userId="d312bfc7-4201-48a3-a9df-83186336f2dd" providerId="ADAL" clId="{88C89422-1838-494F-AEE6-472139F7E5D1}" dt="2024-07-25T19:47:15.973" v="36" actId="2711"/>
          <ac:spMkLst>
            <pc:docMk/>
            <pc:sldMk cId="313628890" sldId="2147473225"/>
            <ac:spMk id="40" creationId="{0BAE67F8-5AC5-9727-5B88-8D492B94A878}"/>
          </ac:spMkLst>
        </pc:spChg>
      </pc:sldChg>
      <pc:sldChg chg="modSp mod">
        <pc:chgData name="Nathan" userId="d312bfc7-4201-48a3-a9df-83186336f2dd" providerId="ADAL" clId="{88C89422-1838-494F-AEE6-472139F7E5D1}" dt="2024-07-25T19:42:58.396" v="12" actId="404"/>
        <pc:sldMkLst>
          <pc:docMk/>
          <pc:sldMk cId="212619309" sldId="2147473228"/>
        </pc:sldMkLst>
        <pc:graphicFrameChg chg="modGraphic">
          <ac:chgData name="Nathan" userId="d312bfc7-4201-48a3-a9df-83186336f2dd" providerId="ADAL" clId="{88C89422-1838-494F-AEE6-472139F7E5D1}" dt="2024-07-25T19:42:58.396" v="12" actId="404"/>
          <ac:graphicFrameMkLst>
            <pc:docMk/>
            <pc:sldMk cId="212619309" sldId="2147473228"/>
            <ac:graphicFrameMk id="19" creationId="{45A3632A-B9A3-D107-1C83-403AEA9340B4}"/>
          </ac:graphicFrameMkLst>
        </pc:graphicFrameChg>
      </pc:sldChg>
      <pc:sldChg chg="modSp mod">
        <pc:chgData name="Nathan" userId="d312bfc7-4201-48a3-a9df-83186336f2dd" providerId="ADAL" clId="{88C89422-1838-494F-AEE6-472139F7E5D1}" dt="2024-07-25T19:47:34.582" v="39" actId="2711"/>
        <pc:sldMkLst>
          <pc:docMk/>
          <pc:sldMk cId="2137981655" sldId="2147473229"/>
        </pc:sldMkLst>
        <pc:spChg chg="mod">
          <ac:chgData name="Nathan" userId="d312bfc7-4201-48a3-a9df-83186336f2dd" providerId="ADAL" clId="{88C89422-1838-494F-AEE6-472139F7E5D1}" dt="2024-07-25T19:47:34.582" v="39" actId="2711"/>
          <ac:spMkLst>
            <pc:docMk/>
            <pc:sldMk cId="2137981655" sldId="2147473229"/>
            <ac:spMk id="13" creationId="{BD9E5D7C-96B9-7EC1-FD7D-030FFF9E793D}"/>
          </ac:spMkLst>
        </pc:spChg>
        <pc:spChg chg="mod">
          <ac:chgData name="Nathan" userId="d312bfc7-4201-48a3-a9df-83186336f2dd" providerId="ADAL" clId="{88C89422-1838-494F-AEE6-472139F7E5D1}" dt="2024-07-25T19:47:34.582" v="39" actId="2711"/>
          <ac:spMkLst>
            <pc:docMk/>
            <pc:sldMk cId="2137981655" sldId="2147473229"/>
            <ac:spMk id="15" creationId="{4B2B4CDC-4579-1108-D0A7-F82D7AB58FF7}"/>
          </ac:spMkLst>
        </pc:spChg>
        <pc:spChg chg="mod">
          <ac:chgData name="Nathan" userId="d312bfc7-4201-48a3-a9df-83186336f2dd" providerId="ADAL" clId="{88C89422-1838-494F-AEE6-472139F7E5D1}" dt="2024-07-25T19:47:34.582" v="39" actId="2711"/>
          <ac:spMkLst>
            <pc:docMk/>
            <pc:sldMk cId="2137981655" sldId="2147473229"/>
            <ac:spMk id="19" creationId="{433FB3C8-AD47-F9CF-D800-FEACED192AAB}"/>
          </ac:spMkLst>
        </pc:spChg>
        <pc:spChg chg="mod">
          <ac:chgData name="Nathan" userId="d312bfc7-4201-48a3-a9df-83186336f2dd" providerId="ADAL" clId="{88C89422-1838-494F-AEE6-472139F7E5D1}" dt="2024-07-25T19:47:34.582" v="39" actId="2711"/>
          <ac:spMkLst>
            <pc:docMk/>
            <pc:sldMk cId="2137981655" sldId="2147473229"/>
            <ac:spMk id="35" creationId="{9D0A5EFF-207D-A2C8-2132-0AEFB4A8C748}"/>
          </ac:spMkLst>
        </pc:spChg>
        <pc:spChg chg="mod">
          <ac:chgData name="Nathan" userId="d312bfc7-4201-48a3-a9df-83186336f2dd" providerId="ADAL" clId="{88C89422-1838-494F-AEE6-472139F7E5D1}" dt="2024-07-25T19:47:34.582" v="39" actId="2711"/>
          <ac:spMkLst>
            <pc:docMk/>
            <pc:sldMk cId="2137981655" sldId="2147473229"/>
            <ac:spMk id="36" creationId="{15538BC6-76E8-839F-8B83-0DC6F3BC5631}"/>
          </ac:spMkLst>
        </pc:spChg>
        <pc:spChg chg="mod">
          <ac:chgData name="Nathan" userId="d312bfc7-4201-48a3-a9df-83186336f2dd" providerId="ADAL" clId="{88C89422-1838-494F-AEE6-472139F7E5D1}" dt="2024-07-25T19:47:34.582" v="39" actId="2711"/>
          <ac:spMkLst>
            <pc:docMk/>
            <pc:sldMk cId="2137981655" sldId="2147473229"/>
            <ac:spMk id="37" creationId="{D31361B0-B836-5F2D-E423-D8696C8E9C70}"/>
          </ac:spMkLst>
        </pc:spChg>
      </pc:sldChg>
      <pc:sldChg chg="modSp mod">
        <pc:chgData name="Nathan" userId="d312bfc7-4201-48a3-a9df-83186336f2dd" providerId="ADAL" clId="{88C89422-1838-494F-AEE6-472139F7E5D1}" dt="2024-07-25T19:44:47.409" v="25" actId="404"/>
        <pc:sldMkLst>
          <pc:docMk/>
          <pc:sldMk cId="3666917176" sldId="2147473232"/>
        </pc:sldMkLst>
        <pc:spChg chg="mod">
          <ac:chgData name="Nathan" userId="d312bfc7-4201-48a3-a9df-83186336f2dd" providerId="ADAL" clId="{88C89422-1838-494F-AEE6-472139F7E5D1}" dt="2024-07-25T19:44:27.653" v="21" actId="404"/>
          <ac:spMkLst>
            <pc:docMk/>
            <pc:sldMk cId="3666917176" sldId="2147473232"/>
            <ac:spMk id="5" creationId="{8F44C46C-42A4-5663-65DE-7575A66F569E}"/>
          </ac:spMkLst>
        </pc:spChg>
        <pc:spChg chg="mod">
          <ac:chgData name="Nathan" userId="d312bfc7-4201-48a3-a9df-83186336f2dd" providerId="ADAL" clId="{88C89422-1838-494F-AEE6-472139F7E5D1}" dt="2024-07-25T19:44:27.653" v="21" actId="404"/>
          <ac:spMkLst>
            <pc:docMk/>
            <pc:sldMk cId="3666917176" sldId="2147473232"/>
            <ac:spMk id="7" creationId="{2A685457-DB57-942D-CCCE-59A111CB108A}"/>
          </ac:spMkLst>
        </pc:spChg>
        <pc:spChg chg="mod">
          <ac:chgData name="Nathan" userId="d312bfc7-4201-48a3-a9df-83186336f2dd" providerId="ADAL" clId="{88C89422-1838-494F-AEE6-472139F7E5D1}" dt="2024-07-25T19:44:27.653" v="21" actId="404"/>
          <ac:spMkLst>
            <pc:docMk/>
            <pc:sldMk cId="3666917176" sldId="2147473232"/>
            <ac:spMk id="8" creationId="{1B2D92AE-7242-84D7-B1EE-4C01C39D894B}"/>
          </ac:spMkLst>
        </pc:spChg>
        <pc:spChg chg="mod">
          <ac:chgData name="Nathan" userId="d312bfc7-4201-48a3-a9df-83186336f2dd" providerId="ADAL" clId="{88C89422-1838-494F-AEE6-472139F7E5D1}" dt="2024-07-25T19:44:27.653" v="21" actId="404"/>
          <ac:spMkLst>
            <pc:docMk/>
            <pc:sldMk cId="3666917176" sldId="2147473232"/>
            <ac:spMk id="9" creationId="{166AA232-2F97-2A17-5C1A-898B41784AF9}"/>
          </ac:spMkLst>
        </pc:spChg>
        <pc:spChg chg="mod">
          <ac:chgData name="Nathan" userId="d312bfc7-4201-48a3-a9df-83186336f2dd" providerId="ADAL" clId="{88C89422-1838-494F-AEE6-472139F7E5D1}" dt="2024-07-25T19:44:27.653" v="21" actId="404"/>
          <ac:spMkLst>
            <pc:docMk/>
            <pc:sldMk cId="3666917176" sldId="2147473232"/>
            <ac:spMk id="10" creationId="{2B48130D-924E-5FBE-686A-95287014FC96}"/>
          </ac:spMkLst>
        </pc:spChg>
        <pc:spChg chg="mod">
          <ac:chgData name="Nathan" userId="d312bfc7-4201-48a3-a9df-83186336f2dd" providerId="ADAL" clId="{88C89422-1838-494F-AEE6-472139F7E5D1}" dt="2024-07-25T19:44:27.653" v="21" actId="404"/>
          <ac:spMkLst>
            <pc:docMk/>
            <pc:sldMk cId="3666917176" sldId="2147473232"/>
            <ac:spMk id="12" creationId="{776D3242-0A78-2866-583B-B0F795C28453}"/>
          </ac:spMkLst>
        </pc:spChg>
        <pc:spChg chg="mod">
          <ac:chgData name="Nathan" userId="d312bfc7-4201-48a3-a9df-83186336f2dd" providerId="ADAL" clId="{88C89422-1838-494F-AEE6-472139F7E5D1}" dt="2024-07-25T19:44:27.653" v="21" actId="404"/>
          <ac:spMkLst>
            <pc:docMk/>
            <pc:sldMk cId="3666917176" sldId="2147473232"/>
            <ac:spMk id="14" creationId="{5F6254EF-6E4B-AF1C-E8BC-3FB73A2D7598}"/>
          </ac:spMkLst>
        </pc:spChg>
        <pc:spChg chg="mod">
          <ac:chgData name="Nathan" userId="d312bfc7-4201-48a3-a9df-83186336f2dd" providerId="ADAL" clId="{88C89422-1838-494F-AEE6-472139F7E5D1}" dt="2024-07-25T19:44:34.972" v="23" actId="403"/>
          <ac:spMkLst>
            <pc:docMk/>
            <pc:sldMk cId="3666917176" sldId="2147473232"/>
            <ac:spMk id="16" creationId="{97D62C23-DD38-DFD8-C04A-91C3E2422705}"/>
          </ac:spMkLst>
        </pc:spChg>
        <pc:spChg chg="mod">
          <ac:chgData name="Nathan" userId="d312bfc7-4201-48a3-a9df-83186336f2dd" providerId="ADAL" clId="{88C89422-1838-494F-AEE6-472139F7E5D1}" dt="2024-07-25T19:44:34.972" v="23" actId="403"/>
          <ac:spMkLst>
            <pc:docMk/>
            <pc:sldMk cId="3666917176" sldId="2147473232"/>
            <ac:spMk id="17" creationId="{00030146-5E12-3638-483F-42555FFF6582}"/>
          </ac:spMkLst>
        </pc:spChg>
        <pc:spChg chg="mod">
          <ac:chgData name="Nathan" userId="d312bfc7-4201-48a3-a9df-83186336f2dd" providerId="ADAL" clId="{88C89422-1838-494F-AEE6-472139F7E5D1}" dt="2024-07-25T19:44:34.972" v="23" actId="403"/>
          <ac:spMkLst>
            <pc:docMk/>
            <pc:sldMk cId="3666917176" sldId="2147473232"/>
            <ac:spMk id="18" creationId="{E3B13AB2-7189-F467-10F9-DD84EA6C1EF6}"/>
          </ac:spMkLst>
        </pc:spChg>
        <pc:spChg chg="mod">
          <ac:chgData name="Nathan" userId="d312bfc7-4201-48a3-a9df-83186336f2dd" providerId="ADAL" clId="{88C89422-1838-494F-AEE6-472139F7E5D1}" dt="2024-07-25T19:44:27.653" v="21" actId="404"/>
          <ac:spMkLst>
            <pc:docMk/>
            <pc:sldMk cId="3666917176" sldId="2147473232"/>
            <ac:spMk id="24" creationId="{63517FA4-96ED-E318-F94F-90BA55FFD371}"/>
          </ac:spMkLst>
        </pc:spChg>
        <pc:spChg chg="mod">
          <ac:chgData name="Nathan" userId="d312bfc7-4201-48a3-a9df-83186336f2dd" providerId="ADAL" clId="{88C89422-1838-494F-AEE6-472139F7E5D1}" dt="2024-07-25T19:44:27.653" v="21" actId="404"/>
          <ac:spMkLst>
            <pc:docMk/>
            <pc:sldMk cId="3666917176" sldId="2147473232"/>
            <ac:spMk id="29" creationId="{97EEC2F6-17FA-B050-6833-D8E6B3D0B9FE}"/>
          </ac:spMkLst>
        </pc:spChg>
        <pc:spChg chg="mod">
          <ac:chgData name="Nathan" userId="d312bfc7-4201-48a3-a9df-83186336f2dd" providerId="ADAL" clId="{88C89422-1838-494F-AEE6-472139F7E5D1}" dt="2024-07-25T19:44:47.409" v="25" actId="404"/>
          <ac:spMkLst>
            <pc:docMk/>
            <pc:sldMk cId="3666917176" sldId="2147473232"/>
            <ac:spMk id="42" creationId="{7FAD56A6-F918-CD4F-94D0-27ED55C4D6C1}"/>
          </ac:spMkLst>
        </pc:spChg>
        <pc:spChg chg="mod">
          <ac:chgData name="Nathan" userId="d312bfc7-4201-48a3-a9df-83186336f2dd" providerId="ADAL" clId="{88C89422-1838-494F-AEE6-472139F7E5D1}" dt="2024-07-25T19:44:47.409" v="25" actId="404"/>
          <ac:spMkLst>
            <pc:docMk/>
            <pc:sldMk cId="3666917176" sldId="2147473232"/>
            <ac:spMk id="48" creationId="{306F8C38-D71D-BEE3-0220-D6094FE69622}"/>
          </ac:spMkLst>
        </pc:spChg>
      </pc:sldChg>
      <pc:sldChg chg="modSp mod">
        <pc:chgData name="Nathan" userId="d312bfc7-4201-48a3-a9df-83186336f2dd" providerId="ADAL" clId="{88C89422-1838-494F-AEE6-472139F7E5D1}" dt="2024-07-25T19:48:37.374" v="53" actId="1076"/>
        <pc:sldMkLst>
          <pc:docMk/>
          <pc:sldMk cId="1660872397" sldId="2147473233"/>
        </pc:sldMkLst>
        <pc:spChg chg="mod">
          <ac:chgData name="Nathan" userId="d312bfc7-4201-48a3-a9df-83186336f2dd" providerId="ADAL" clId="{88C89422-1838-494F-AEE6-472139F7E5D1}" dt="2024-07-25T19:48:00.090" v="42" actId="404"/>
          <ac:spMkLst>
            <pc:docMk/>
            <pc:sldMk cId="1660872397" sldId="2147473233"/>
            <ac:spMk id="12" creationId="{3598CF96-70EE-35F9-ED03-A721EB0E63E2}"/>
          </ac:spMkLst>
        </pc:spChg>
        <pc:spChg chg="mod">
          <ac:chgData name="Nathan" userId="d312bfc7-4201-48a3-a9df-83186336f2dd" providerId="ADAL" clId="{88C89422-1838-494F-AEE6-472139F7E5D1}" dt="2024-07-25T19:48:00.090" v="42" actId="404"/>
          <ac:spMkLst>
            <pc:docMk/>
            <pc:sldMk cId="1660872397" sldId="2147473233"/>
            <ac:spMk id="21" creationId="{F718FD7E-B15B-6AD7-6F8A-F37986A14F49}"/>
          </ac:spMkLst>
        </pc:spChg>
        <pc:spChg chg="mod">
          <ac:chgData name="Nathan" userId="d312bfc7-4201-48a3-a9df-83186336f2dd" providerId="ADAL" clId="{88C89422-1838-494F-AEE6-472139F7E5D1}" dt="2024-07-25T19:48:00.090" v="42" actId="404"/>
          <ac:spMkLst>
            <pc:docMk/>
            <pc:sldMk cId="1660872397" sldId="2147473233"/>
            <ac:spMk id="22" creationId="{BFA12A78-2E2E-97A7-2A75-CF7CCD4A2668}"/>
          </ac:spMkLst>
        </pc:spChg>
        <pc:spChg chg="mod">
          <ac:chgData name="Nathan" userId="d312bfc7-4201-48a3-a9df-83186336f2dd" providerId="ADAL" clId="{88C89422-1838-494F-AEE6-472139F7E5D1}" dt="2024-07-25T19:48:00.090" v="42" actId="404"/>
          <ac:spMkLst>
            <pc:docMk/>
            <pc:sldMk cId="1660872397" sldId="2147473233"/>
            <ac:spMk id="23" creationId="{4D141722-6BD5-CF56-7DB0-B7BBA8ADB77D}"/>
          </ac:spMkLst>
        </pc:spChg>
        <pc:spChg chg="mod">
          <ac:chgData name="Nathan" userId="d312bfc7-4201-48a3-a9df-83186336f2dd" providerId="ADAL" clId="{88C89422-1838-494F-AEE6-472139F7E5D1}" dt="2024-07-25T19:48:25.207" v="51" actId="1035"/>
          <ac:spMkLst>
            <pc:docMk/>
            <pc:sldMk cId="1660872397" sldId="2147473233"/>
            <ac:spMk id="24" creationId="{D4CD0F57-8064-9322-8239-AA068BB056AC}"/>
          </ac:spMkLst>
        </pc:spChg>
        <pc:spChg chg="mod">
          <ac:chgData name="Nathan" userId="d312bfc7-4201-48a3-a9df-83186336f2dd" providerId="ADAL" clId="{88C89422-1838-494F-AEE6-472139F7E5D1}" dt="2024-07-25T19:48:25.207" v="51" actId="1035"/>
          <ac:spMkLst>
            <pc:docMk/>
            <pc:sldMk cId="1660872397" sldId="2147473233"/>
            <ac:spMk id="27" creationId="{1C2662AD-9B0B-FBDB-D5D6-763B30481847}"/>
          </ac:spMkLst>
        </pc:spChg>
        <pc:spChg chg="mod">
          <ac:chgData name="Nathan" userId="d312bfc7-4201-48a3-a9df-83186336f2dd" providerId="ADAL" clId="{88C89422-1838-494F-AEE6-472139F7E5D1}" dt="2024-07-25T19:48:00.090" v="42" actId="404"/>
          <ac:spMkLst>
            <pc:docMk/>
            <pc:sldMk cId="1660872397" sldId="2147473233"/>
            <ac:spMk id="33" creationId="{6ED723C2-E7BD-68F3-D7A1-BBE7C41E3CF4}"/>
          </ac:spMkLst>
        </pc:spChg>
        <pc:spChg chg="mod">
          <ac:chgData name="Nathan" userId="d312bfc7-4201-48a3-a9df-83186336f2dd" providerId="ADAL" clId="{88C89422-1838-494F-AEE6-472139F7E5D1}" dt="2024-07-25T19:48:37.374" v="53" actId="1076"/>
          <ac:spMkLst>
            <pc:docMk/>
            <pc:sldMk cId="1660872397" sldId="2147473233"/>
            <ac:spMk id="40" creationId="{37468E1F-9008-879E-CA28-FB1B2ACBA923}"/>
          </ac:spMkLst>
        </pc:spChg>
        <pc:spChg chg="mod">
          <ac:chgData name="Nathan" userId="d312bfc7-4201-48a3-a9df-83186336f2dd" providerId="ADAL" clId="{88C89422-1838-494F-AEE6-472139F7E5D1}" dt="2024-07-25T19:48:25.207" v="51" actId="1035"/>
          <ac:spMkLst>
            <pc:docMk/>
            <pc:sldMk cId="1660872397" sldId="2147473233"/>
            <ac:spMk id="41" creationId="{73CB9B3F-B558-C701-28E7-7FF8A0731FC0}"/>
          </ac:spMkLst>
        </pc:spChg>
        <pc:spChg chg="mod">
          <ac:chgData name="Nathan" userId="d312bfc7-4201-48a3-a9df-83186336f2dd" providerId="ADAL" clId="{88C89422-1838-494F-AEE6-472139F7E5D1}" dt="2024-07-25T19:48:00.090" v="42" actId="404"/>
          <ac:spMkLst>
            <pc:docMk/>
            <pc:sldMk cId="1660872397" sldId="2147473233"/>
            <ac:spMk id="42" creationId="{FA936432-8119-491C-0D4A-5AAEF449A41B}"/>
          </ac:spMkLst>
        </pc:spChg>
        <pc:spChg chg="mod">
          <ac:chgData name="Nathan" userId="d312bfc7-4201-48a3-a9df-83186336f2dd" providerId="ADAL" clId="{88C89422-1838-494F-AEE6-472139F7E5D1}" dt="2024-07-25T19:48:32.146" v="52" actId="1076"/>
          <ac:spMkLst>
            <pc:docMk/>
            <pc:sldMk cId="1660872397" sldId="2147473233"/>
            <ac:spMk id="43" creationId="{38185062-04B4-0E29-C86D-A56C04646CF7}"/>
          </ac:spMkLst>
        </pc:spChg>
      </pc:sldChg>
      <pc:sldChg chg="modSp mod">
        <pc:chgData name="Nathan" userId="d312bfc7-4201-48a3-a9df-83186336f2dd" providerId="ADAL" clId="{88C89422-1838-494F-AEE6-472139F7E5D1}" dt="2024-07-25T19:51:42.288" v="80" actId="404"/>
        <pc:sldMkLst>
          <pc:docMk/>
          <pc:sldMk cId="1185043791" sldId="2147473243"/>
        </pc:sldMkLst>
        <pc:spChg chg="mod">
          <ac:chgData name="Nathan" userId="d312bfc7-4201-48a3-a9df-83186336f2dd" providerId="ADAL" clId="{88C89422-1838-494F-AEE6-472139F7E5D1}" dt="2024-07-25T19:51:42.288" v="80" actId="404"/>
          <ac:spMkLst>
            <pc:docMk/>
            <pc:sldMk cId="1185043791" sldId="2147473243"/>
            <ac:spMk id="5" creationId="{7676F81A-67BE-E69C-8FCE-946FAACFAA74}"/>
          </ac:spMkLst>
        </pc:spChg>
        <pc:spChg chg="mod">
          <ac:chgData name="Nathan" userId="d312bfc7-4201-48a3-a9df-83186336f2dd" providerId="ADAL" clId="{88C89422-1838-494F-AEE6-472139F7E5D1}" dt="2024-07-25T19:51:42.288" v="80" actId="404"/>
          <ac:spMkLst>
            <pc:docMk/>
            <pc:sldMk cId="1185043791" sldId="2147473243"/>
            <ac:spMk id="13" creationId="{CA2B1CF4-1C18-B1C8-540C-CDD55D7EF864}"/>
          </ac:spMkLst>
        </pc:spChg>
        <pc:spChg chg="mod">
          <ac:chgData name="Nathan" userId="d312bfc7-4201-48a3-a9df-83186336f2dd" providerId="ADAL" clId="{88C89422-1838-494F-AEE6-472139F7E5D1}" dt="2024-07-25T19:51:42.288" v="80" actId="404"/>
          <ac:spMkLst>
            <pc:docMk/>
            <pc:sldMk cId="1185043791" sldId="2147473243"/>
            <ac:spMk id="19" creationId="{B138E0F5-760F-337E-5C3A-3BD6F64EBFCE}"/>
          </ac:spMkLst>
        </pc:spChg>
        <pc:spChg chg="mod">
          <ac:chgData name="Nathan" userId="d312bfc7-4201-48a3-a9df-83186336f2dd" providerId="ADAL" clId="{88C89422-1838-494F-AEE6-472139F7E5D1}" dt="2024-07-25T19:51:42.288" v="80" actId="404"/>
          <ac:spMkLst>
            <pc:docMk/>
            <pc:sldMk cId="1185043791" sldId="2147473243"/>
            <ac:spMk id="28" creationId="{52350810-6826-ACAB-7F31-410AD449AB07}"/>
          </ac:spMkLst>
        </pc:spChg>
        <pc:spChg chg="mod">
          <ac:chgData name="Nathan" userId="d312bfc7-4201-48a3-a9df-83186336f2dd" providerId="ADAL" clId="{88C89422-1838-494F-AEE6-472139F7E5D1}" dt="2024-07-25T19:51:42.288" v="80" actId="404"/>
          <ac:spMkLst>
            <pc:docMk/>
            <pc:sldMk cId="1185043791" sldId="2147473243"/>
            <ac:spMk id="29" creationId="{DAC3305B-ADD2-FFF0-5F70-074C29F15F45}"/>
          </ac:spMkLst>
        </pc:spChg>
        <pc:spChg chg="mod">
          <ac:chgData name="Nathan" userId="d312bfc7-4201-48a3-a9df-83186336f2dd" providerId="ADAL" clId="{88C89422-1838-494F-AEE6-472139F7E5D1}" dt="2024-07-25T19:51:42.288" v="80" actId="404"/>
          <ac:spMkLst>
            <pc:docMk/>
            <pc:sldMk cId="1185043791" sldId="2147473243"/>
            <ac:spMk id="30" creationId="{598E9DD6-6E50-EFDA-6900-0B3B07ABA514}"/>
          </ac:spMkLst>
        </pc:spChg>
        <pc:spChg chg="mod">
          <ac:chgData name="Nathan" userId="d312bfc7-4201-48a3-a9df-83186336f2dd" providerId="ADAL" clId="{88C89422-1838-494F-AEE6-472139F7E5D1}" dt="2024-07-25T19:51:42.288" v="80" actId="404"/>
          <ac:spMkLst>
            <pc:docMk/>
            <pc:sldMk cId="1185043791" sldId="2147473243"/>
            <ac:spMk id="31" creationId="{408EE926-D0F8-60C4-3A33-8719841ADE7B}"/>
          </ac:spMkLst>
        </pc:spChg>
        <pc:spChg chg="mod">
          <ac:chgData name="Nathan" userId="d312bfc7-4201-48a3-a9df-83186336f2dd" providerId="ADAL" clId="{88C89422-1838-494F-AEE6-472139F7E5D1}" dt="2024-07-25T19:51:42.288" v="80" actId="404"/>
          <ac:spMkLst>
            <pc:docMk/>
            <pc:sldMk cId="1185043791" sldId="2147473243"/>
            <ac:spMk id="37" creationId="{16EE4C13-CB91-DA0E-E1B6-CEAF5F801512}"/>
          </ac:spMkLst>
        </pc:spChg>
        <pc:spChg chg="mod">
          <ac:chgData name="Nathan" userId="d312bfc7-4201-48a3-a9df-83186336f2dd" providerId="ADAL" clId="{88C89422-1838-494F-AEE6-472139F7E5D1}" dt="2024-07-25T19:51:42.288" v="80" actId="404"/>
          <ac:spMkLst>
            <pc:docMk/>
            <pc:sldMk cId="1185043791" sldId="2147473243"/>
            <ac:spMk id="39" creationId="{4848C926-F794-2068-0A96-35209CFED4A8}"/>
          </ac:spMkLst>
        </pc:spChg>
        <pc:spChg chg="mod">
          <ac:chgData name="Nathan" userId="d312bfc7-4201-48a3-a9df-83186336f2dd" providerId="ADAL" clId="{88C89422-1838-494F-AEE6-472139F7E5D1}" dt="2024-07-25T19:51:42.288" v="80" actId="404"/>
          <ac:spMkLst>
            <pc:docMk/>
            <pc:sldMk cId="1185043791" sldId="2147473243"/>
            <ac:spMk id="41" creationId="{73CB9B3F-B558-C701-28E7-7FF8A0731FC0}"/>
          </ac:spMkLst>
        </pc:spChg>
        <pc:spChg chg="mod">
          <ac:chgData name="Nathan" userId="d312bfc7-4201-48a3-a9df-83186336f2dd" providerId="ADAL" clId="{88C89422-1838-494F-AEE6-472139F7E5D1}" dt="2024-07-25T19:51:42.288" v="80" actId="404"/>
          <ac:spMkLst>
            <pc:docMk/>
            <pc:sldMk cId="1185043791" sldId="2147473243"/>
            <ac:spMk id="45" creationId="{FB4B9D8D-33B5-90C2-1C57-AC431BF8586D}"/>
          </ac:spMkLst>
        </pc:spChg>
        <pc:spChg chg="mod">
          <ac:chgData name="Nathan" userId="d312bfc7-4201-48a3-a9df-83186336f2dd" providerId="ADAL" clId="{88C89422-1838-494F-AEE6-472139F7E5D1}" dt="2024-07-25T19:51:42.288" v="80" actId="404"/>
          <ac:spMkLst>
            <pc:docMk/>
            <pc:sldMk cId="1185043791" sldId="2147473243"/>
            <ac:spMk id="46" creationId="{2CC58355-4F86-60A1-5A50-3C8E0AF8F169}"/>
          </ac:spMkLst>
        </pc:spChg>
        <pc:spChg chg="mod">
          <ac:chgData name="Nathan" userId="d312bfc7-4201-48a3-a9df-83186336f2dd" providerId="ADAL" clId="{88C89422-1838-494F-AEE6-472139F7E5D1}" dt="2024-07-25T19:51:42.288" v="80" actId="404"/>
          <ac:spMkLst>
            <pc:docMk/>
            <pc:sldMk cId="1185043791" sldId="2147473243"/>
            <ac:spMk id="58" creationId="{2E55DF90-77E2-EB7B-1EA8-F4F3D458BDF9}"/>
          </ac:spMkLst>
        </pc:spChg>
        <pc:spChg chg="mod">
          <ac:chgData name="Nathan" userId="d312bfc7-4201-48a3-a9df-83186336f2dd" providerId="ADAL" clId="{88C89422-1838-494F-AEE6-472139F7E5D1}" dt="2024-07-25T19:51:42.288" v="80" actId="404"/>
          <ac:spMkLst>
            <pc:docMk/>
            <pc:sldMk cId="1185043791" sldId="2147473243"/>
            <ac:spMk id="59" creationId="{E6A7BECB-BC87-9395-568E-17EE88B30616}"/>
          </ac:spMkLst>
        </pc:spChg>
        <pc:spChg chg="mod">
          <ac:chgData name="Nathan" userId="d312bfc7-4201-48a3-a9df-83186336f2dd" providerId="ADAL" clId="{88C89422-1838-494F-AEE6-472139F7E5D1}" dt="2024-07-25T19:51:42.288" v="80" actId="404"/>
          <ac:spMkLst>
            <pc:docMk/>
            <pc:sldMk cId="1185043791" sldId="2147473243"/>
            <ac:spMk id="60" creationId="{91C04E38-FD65-DCEC-E16F-83A06768E5E8}"/>
          </ac:spMkLst>
        </pc:spChg>
        <pc:spChg chg="mod">
          <ac:chgData name="Nathan" userId="d312bfc7-4201-48a3-a9df-83186336f2dd" providerId="ADAL" clId="{88C89422-1838-494F-AEE6-472139F7E5D1}" dt="2024-07-25T19:51:42.288" v="80" actId="404"/>
          <ac:spMkLst>
            <pc:docMk/>
            <pc:sldMk cId="1185043791" sldId="2147473243"/>
            <ac:spMk id="63" creationId="{5DD473B4-D7C5-C463-0705-20F9C65EDB35}"/>
          </ac:spMkLst>
        </pc:spChg>
        <pc:spChg chg="mod">
          <ac:chgData name="Nathan" userId="d312bfc7-4201-48a3-a9df-83186336f2dd" providerId="ADAL" clId="{88C89422-1838-494F-AEE6-472139F7E5D1}" dt="2024-07-25T19:51:42.288" v="80" actId="404"/>
          <ac:spMkLst>
            <pc:docMk/>
            <pc:sldMk cId="1185043791" sldId="2147473243"/>
            <ac:spMk id="64" creationId="{BDD4DFB6-DFAA-5710-CA01-7E4984DC1188}"/>
          </ac:spMkLst>
        </pc:spChg>
      </pc:sldChg>
      <pc:sldChg chg="delCm">
        <pc:chgData name="Nathan" userId="d312bfc7-4201-48a3-a9df-83186336f2dd" providerId="ADAL" clId="{88C89422-1838-494F-AEE6-472139F7E5D1}" dt="2024-07-25T19:41:38.419" v="2"/>
        <pc:sldMkLst>
          <pc:docMk/>
          <pc:sldMk cId="3686999811" sldId="2147473244"/>
        </pc:sldMkLst>
        <pc:extLst>
          <p:ext xmlns:p="http://schemas.openxmlformats.org/presentationml/2006/main" uri="{D6D511B9-2390-475A-947B-AFAB55BFBCF1}">
            <pc226:cmChg xmlns:pc226="http://schemas.microsoft.com/office/powerpoint/2022/06/main/command" chg="del">
              <pc226:chgData name="Nathan" userId="d312bfc7-4201-48a3-a9df-83186336f2dd" providerId="ADAL" clId="{88C89422-1838-494F-AEE6-472139F7E5D1}" dt="2024-07-25T19:41:38.419" v="2"/>
              <pc2:cmMkLst xmlns:pc2="http://schemas.microsoft.com/office/powerpoint/2019/9/main/command">
                <pc:docMk/>
                <pc:sldMk cId="3686999811" sldId="2147473244"/>
                <pc2:cmMk id="{A3B6920A-4088-471A-8D90-358EE26A82CC}"/>
              </pc2:cmMkLst>
            </pc226:cmChg>
          </p:ext>
        </pc:extLst>
      </pc:sldChg>
      <pc:sldChg chg="modSp mod">
        <pc:chgData name="Nathan" userId="d312bfc7-4201-48a3-a9df-83186336f2dd" providerId="ADAL" clId="{88C89422-1838-494F-AEE6-472139F7E5D1}" dt="2024-07-25T19:52:16.996" v="86" actId="1076"/>
        <pc:sldMkLst>
          <pc:docMk/>
          <pc:sldMk cId="2803969439" sldId="2147473245"/>
        </pc:sldMkLst>
        <pc:spChg chg="mod">
          <ac:chgData name="Nathan" userId="d312bfc7-4201-48a3-a9df-83186336f2dd" providerId="ADAL" clId="{88C89422-1838-494F-AEE6-472139F7E5D1}" dt="2024-07-25T19:51:59.889" v="83" actId="404"/>
          <ac:spMkLst>
            <pc:docMk/>
            <pc:sldMk cId="2803969439" sldId="2147473245"/>
            <ac:spMk id="2" creationId="{F4842AAE-7052-96A6-67A7-846B7217EF26}"/>
          </ac:spMkLst>
        </pc:spChg>
        <pc:spChg chg="mod">
          <ac:chgData name="Nathan" userId="d312bfc7-4201-48a3-a9df-83186336f2dd" providerId="ADAL" clId="{88C89422-1838-494F-AEE6-472139F7E5D1}" dt="2024-07-25T19:51:59.889" v="83" actId="404"/>
          <ac:spMkLst>
            <pc:docMk/>
            <pc:sldMk cId="2803969439" sldId="2147473245"/>
            <ac:spMk id="7" creationId="{9C269936-8C42-8233-88CC-34F63BCF79AD}"/>
          </ac:spMkLst>
        </pc:spChg>
        <pc:spChg chg="mod">
          <ac:chgData name="Nathan" userId="d312bfc7-4201-48a3-a9df-83186336f2dd" providerId="ADAL" clId="{88C89422-1838-494F-AEE6-472139F7E5D1}" dt="2024-07-25T19:51:59.889" v="83" actId="404"/>
          <ac:spMkLst>
            <pc:docMk/>
            <pc:sldMk cId="2803969439" sldId="2147473245"/>
            <ac:spMk id="9" creationId="{F3B14C28-B63D-789F-6860-E42A05249577}"/>
          </ac:spMkLst>
        </pc:spChg>
        <pc:spChg chg="mod">
          <ac:chgData name="Nathan" userId="d312bfc7-4201-48a3-a9df-83186336f2dd" providerId="ADAL" clId="{88C89422-1838-494F-AEE6-472139F7E5D1}" dt="2024-07-25T19:51:59.889" v="83" actId="404"/>
          <ac:spMkLst>
            <pc:docMk/>
            <pc:sldMk cId="2803969439" sldId="2147473245"/>
            <ac:spMk id="10" creationId="{D4F9A45F-F8CF-BF57-2101-92F5D0F34D4E}"/>
          </ac:spMkLst>
        </pc:spChg>
        <pc:spChg chg="mod">
          <ac:chgData name="Nathan" userId="d312bfc7-4201-48a3-a9df-83186336f2dd" providerId="ADAL" clId="{88C89422-1838-494F-AEE6-472139F7E5D1}" dt="2024-07-25T19:51:59.889" v="83" actId="404"/>
          <ac:spMkLst>
            <pc:docMk/>
            <pc:sldMk cId="2803969439" sldId="2147473245"/>
            <ac:spMk id="11" creationId="{8E34B6F6-4524-95B3-CA85-7A8EFAB3E26F}"/>
          </ac:spMkLst>
        </pc:spChg>
        <pc:spChg chg="mod">
          <ac:chgData name="Nathan" userId="d312bfc7-4201-48a3-a9df-83186336f2dd" providerId="ADAL" clId="{88C89422-1838-494F-AEE6-472139F7E5D1}" dt="2024-07-25T19:51:59.889" v="83" actId="404"/>
          <ac:spMkLst>
            <pc:docMk/>
            <pc:sldMk cId="2803969439" sldId="2147473245"/>
            <ac:spMk id="14" creationId="{4C1B7130-B985-5CCB-0466-2E1F1B505D48}"/>
          </ac:spMkLst>
        </pc:spChg>
        <pc:spChg chg="mod">
          <ac:chgData name="Nathan" userId="d312bfc7-4201-48a3-a9df-83186336f2dd" providerId="ADAL" clId="{88C89422-1838-494F-AEE6-472139F7E5D1}" dt="2024-07-25T19:52:16.996" v="86" actId="1076"/>
          <ac:spMkLst>
            <pc:docMk/>
            <pc:sldMk cId="2803969439" sldId="2147473245"/>
            <ac:spMk id="20" creationId="{CB72D95C-7933-68CC-A72D-DCFF1EE0BA23}"/>
          </ac:spMkLst>
        </pc:spChg>
        <pc:spChg chg="mod">
          <ac:chgData name="Nathan" userId="d312bfc7-4201-48a3-a9df-83186336f2dd" providerId="ADAL" clId="{88C89422-1838-494F-AEE6-472139F7E5D1}" dt="2024-07-25T19:51:59.889" v="83" actId="404"/>
          <ac:spMkLst>
            <pc:docMk/>
            <pc:sldMk cId="2803969439" sldId="2147473245"/>
            <ac:spMk id="31" creationId="{408EE926-D0F8-60C4-3A33-8719841ADE7B}"/>
          </ac:spMkLst>
        </pc:spChg>
        <pc:spChg chg="mod">
          <ac:chgData name="Nathan" userId="d312bfc7-4201-48a3-a9df-83186336f2dd" providerId="ADAL" clId="{88C89422-1838-494F-AEE6-472139F7E5D1}" dt="2024-07-25T19:52:09.287" v="84" actId="1076"/>
          <ac:spMkLst>
            <pc:docMk/>
            <pc:sldMk cId="2803969439" sldId="2147473245"/>
            <ac:spMk id="41" creationId="{73CB9B3F-B558-C701-28E7-7FF8A0731FC0}"/>
          </ac:spMkLst>
        </pc:spChg>
      </pc:sldChg>
      <pc:sldChg chg="modSp mod">
        <pc:chgData name="Nathan" userId="d312bfc7-4201-48a3-a9df-83186336f2dd" providerId="ADAL" clId="{88C89422-1838-494F-AEE6-472139F7E5D1}" dt="2024-07-25T19:42:30.184" v="8" actId="404"/>
        <pc:sldMkLst>
          <pc:docMk/>
          <pc:sldMk cId="1883354529" sldId="2147473246"/>
        </pc:sldMkLst>
        <pc:spChg chg="mod">
          <ac:chgData name="Nathan" userId="d312bfc7-4201-48a3-a9df-83186336f2dd" providerId="ADAL" clId="{88C89422-1838-494F-AEE6-472139F7E5D1}" dt="2024-07-25T19:42:30.184" v="8" actId="404"/>
          <ac:spMkLst>
            <pc:docMk/>
            <pc:sldMk cId="1883354529" sldId="2147473246"/>
            <ac:spMk id="20" creationId="{FAA4FA5B-D615-028E-C411-1001B724F2C9}"/>
          </ac:spMkLst>
        </pc:spChg>
        <pc:spChg chg="mod">
          <ac:chgData name="Nathan" userId="d312bfc7-4201-48a3-a9df-83186336f2dd" providerId="ADAL" clId="{88C89422-1838-494F-AEE6-472139F7E5D1}" dt="2024-07-25T19:42:30.184" v="8" actId="404"/>
          <ac:spMkLst>
            <pc:docMk/>
            <pc:sldMk cId="1883354529" sldId="2147473246"/>
            <ac:spMk id="21" creationId="{439F16A6-8B23-3D30-C858-F6B10DEC37B5}"/>
          </ac:spMkLst>
        </pc:spChg>
        <pc:spChg chg="mod">
          <ac:chgData name="Nathan" userId="d312bfc7-4201-48a3-a9df-83186336f2dd" providerId="ADAL" clId="{88C89422-1838-494F-AEE6-472139F7E5D1}" dt="2024-07-25T19:42:30.184" v="8" actId="404"/>
          <ac:spMkLst>
            <pc:docMk/>
            <pc:sldMk cId="1883354529" sldId="2147473246"/>
            <ac:spMk id="22" creationId="{425BC7DD-09A1-0675-70F6-15551787974E}"/>
          </ac:spMkLst>
        </pc:spChg>
        <pc:spChg chg="mod">
          <ac:chgData name="Nathan" userId="d312bfc7-4201-48a3-a9df-83186336f2dd" providerId="ADAL" clId="{88C89422-1838-494F-AEE6-472139F7E5D1}" dt="2024-07-25T19:42:30.184" v="8" actId="404"/>
          <ac:spMkLst>
            <pc:docMk/>
            <pc:sldMk cId="1883354529" sldId="2147473246"/>
            <ac:spMk id="23" creationId="{1EF44D6A-D369-BA93-3889-15C02085E908}"/>
          </ac:spMkLst>
        </pc:spChg>
        <pc:spChg chg="mod">
          <ac:chgData name="Nathan" userId="d312bfc7-4201-48a3-a9df-83186336f2dd" providerId="ADAL" clId="{88C89422-1838-494F-AEE6-472139F7E5D1}" dt="2024-07-25T19:42:30.184" v="8" actId="404"/>
          <ac:spMkLst>
            <pc:docMk/>
            <pc:sldMk cId="1883354529" sldId="2147473246"/>
            <ac:spMk id="24" creationId="{A0DECABB-17A1-93F9-C652-A6F46C1EB77C}"/>
          </ac:spMkLst>
        </pc:spChg>
        <pc:spChg chg="mod">
          <ac:chgData name="Nathan" userId="d312bfc7-4201-48a3-a9df-83186336f2dd" providerId="ADAL" clId="{88C89422-1838-494F-AEE6-472139F7E5D1}" dt="2024-07-25T19:42:30.184" v="8" actId="404"/>
          <ac:spMkLst>
            <pc:docMk/>
            <pc:sldMk cId="1883354529" sldId="2147473246"/>
            <ac:spMk id="25" creationId="{7C0FDE98-B42A-2B32-0000-577DA4307164}"/>
          </ac:spMkLst>
        </pc:spChg>
      </pc:sldChg>
      <pc:sldChg chg="modSp mod">
        <pc:chgData name="Nathan" userId="d312bfc7-4201-48a3-a9df-83186336f2dd" providerId="ADAL" clId="{88C89422-1838-494F-AEE6-472139F7E5D1}" dt="2024-07-25T19:41:57.806" v="6" actId="1035"/>
        <pc:sldMkLst>
          <pc:docMk/>
          <pc:sldMk cId="4169272708" sldId="2147473249"/>
        </pc:sldMkLst>
        <pc:spChg chg="mod">
          <ac:chgData name="Nathan" userId="d312bfc7-4201-48a3-a9df-83186336f2dd" providerId="ADAL" clId="{88C89422-1838-494F-AEE6-472139F7E5D1}" dt="2024-07-25T19:41:57.806" v="6" actId="1035"/>
          <ac:spMkLst>
            <pc:docMk/>
            <pc:sldMk cId="4169272708" sldId="2147473249"/>
            <ac:spMk id="2" creationId="{D19B8EE4-3634-78EA-DFBD-ACF510B3885F}"/>
          </ac:spMkLst>
        </pc:spChg>
      </pc:sldChg>
    </pc:docChg>
  </pc:docChgLst>
  <pc:docChgLst>
    <pc:chgData name="Callum Stevenson" userId="86e384b4-b5e1-49b9-8ebe-6ed03b279095" providerId="ADAL" clId="{377E9E7B-4F6F-498B-9A03-A50CD8E91FE8}"/>
    <pc:docChg chg="undo custSel addSld delSld modSld sldOrd modSection">
      <pc:chgData name="Callum Stevenson" userId="86e384b4-b5e1-49b9-8ebe-6ed03b279095" providerId="ADAL" clId="{377E9E7B-4F6F-498B-9A03-A50CD8E91FE8}" dt="2024-07-25T14:17:52.215" v="13530" actId="313"/>
      <pc:docMkLst>
        <pc:docMk/>
      </pc:docMkLst>
      <pc:sldChg chg="modSp">
        <pc:chgData name="Callum Stevenson" userId="86e384b4-b5e1-49b9-8ebe-6ed03b279095" providerId="ADAL" clId="{377E9E7B-4F6F-498B-9A03-A50CD8E91FE8}" dt="2024-07-23T15:39:34.210" v="0"/>
        <pc:sldMkLst>
          <pc:docMk/>
          <pc:sldMk cId="1000753837" sldId="2147472919"/>
        </pc:sldMkLst>
        <pc:graphicFrameChg chg="mod">
          <ac:chgData name="Callum Stevenson" userId="86e384b4-b5e1-49b9-8ebe-6ed03b279095" providerId="ADAL" clId="{377E9E7B-4F6F-498B-9A03-A50CD8E91FE8}" dt="2024-07-23T15:39:34.210" v="0"/>
          <ac:graphicFrameMkLst>
            <pc:docMk/>
            <pc:sldMk cId="1000753837" sldId="2147472919"/>
            <ac:graphicFrameMk id="25" creationId="{000B5214-B4CE-4100-BE2D-F49FA6BD4078}"/>
          </ac:graphicFrameMkLst>
        </pc:graphicFrameChg>
      </pc:sldChg>
      <pc:sldChg chg="addSp delSp modSp mod ord modNotesTx">
        <pc:chgData name="Callum Stevenson" userId="86e384b4-b5e1-49b9-8ebe-6ed03b279095" providerId="ADAL" clId="{377E9E7B-4F6F-498B-9A03-A50CD8E91FE8}" dt="2024-07-25T12:43:34.040" v="6777" actId="20577"/>
        <pc:sldMkLst>
          <pc:docMk/>
          <pc:sldMk cId="102905530" sldId="2147472924"/>
        </pc:sldMkLst>
        <pc:spChg chg="add del mod">
          <ac:chgData name="Callum Stevenson" userId="86e384b4-b5e1-49b9-8ebe-6ed03b279095" providerId="ADAL" clId="{377E9E7B-4F6F-498B-9A03-A50CD8E91FE8}" dt="2024-07-23T16:25:43.270" v="270" actId="478"/>
          <ac:spMkLst>
            <pc:docMk/>
            <pc:sldMk cId="102905530" sldId="2147472924"/>
            <ac:spMk id="2" creationId="{B4ACA291-92EB-3347-AB26-7C06EE72246B}"/>
          </ac:spMkLst>
        </pc:spChg>
        <pc:spChg chg="mod">
          <ac:chgData name="Callum Stevenson" userId="86e384b4-b5e1-49b9-8ebe-6ed03b279095" providerId="ADAL" clId="{377E9E7B-4F6F-498B-9A03-A50CD8E91FE8}" dt="2024-07-23T17:09:31.890" v="822" actId="20577"/>
          <ac:spMkLst>
            <pc:docMk/>
            <pc:sldMk cId="102905530" sldId="2147472924"/>
            <ac:spMk id="3" creationId="{DA889A8D-C759-4AFA-51E1-2F2D342A129A}"/>
          </ac:spMkLst>
        </pc:spChg>
        <pc:spChg chg="add del mod">
          <ac:chgData name="Callum Stevenson" userId="86e384b4-b5e1-49b9-8ebe-6ed03b279095" providerId="ADAL" clId="{377E9E7B-4F6F-498B-9A03-A50CD8E91FE8}" dt="2024-07-23T16:25:43.270" v="270" actId="478"/>
          <ac:spMkLst>
            <pc:docMk/>
            <pc:sldMk cId="102905530" sldId="2147472924"/>
            <ac:spMk id="7" creationId="{43B1D5C7-D7EB-E5E0-B561-481107682F31}"/>
          </ac:spMkLst>
        </pc:spChg>
        <pc:spChg chg="add del mod">
          <ac:chgData name="Callum Stevenson" userId="86e384b4-b5e1-49b9-8ebe-6ed03b279095" providerId="ADAL" clId="{377E9E7B-4F6F-498B-9A03-A50CD8E91FE8}" dt="2024-07-23T16:25:43.270" v="270" actId="478"/>
          <ac:spMkLst>
            <pc:docMk/>
            <pc:sldMk cId="102905530" sldId="2147472924"/>
            <ac:spMk id="8" creationId="{3CEE5882-D8E5-5BB8-60B5-381BB8EF9EBA}"/>
          </ac:spMkLst>
        </pc:spChg>
        <pc:spChg chg="del">
          <ac:chgData name="Callum Stevenson" userId="86e384b4-b5e1-49b9-8ebe-6ed03b279095" providerId="ADAL" clId="{377E9E7B-4F6F-498B-9A03-A50CD8E91FE8}" dt="2024-07-23T16:14:44.928" v="76" actId="478"/>
          <ac:spMkLst>
            <pc:docMk/>
            <pc:sldMk cId="102905530" sldId="2147472924"/>
            <ac:spMk id="9" creationId="{17DE1D67-171F-E5EF-2580-791028243008}"/>
          </ac:spMkLst>
        </pc:spChg>
        <pc:spChg chg="add del mod">
          <ac:chgData name="Callum Stevenson" userId="86e384b4-b5e1-49b9-8ebe-6ed03b279095" providerId="ADAL" clId="{377E9E7B-4F6F-498B-9A03-A50CD8E91FE8}" dt="2024-07-23T16:25:43.270" v="270" actId="478"/>
          <ac:spMkLst>
            <pc:docMk/>
            <pc:sldMk cId="102905530" sldId="2147472924"/>
            <ac:spMk id="10" creationId="{180ABCEA-8699-9C9A-4A10-D9FA76841BA8}"/>
          </ac:spMkLst>
        </pc:spChg>
        <pc:spChg chg="add mod">
          <ac:chgData name="Callum Stevenson" userId="86e384b4-b5e1-49b9-8ebe-6ed03b279095" providerId="ADAL" clId="{377E9E7B-4F6F-498B-9A03-A50CD8E91FE8}" dt="2024-07-23T16:19:14.856" v="94"/>
          <ac:spMkLst>
            <pc:docMk/>
            <pc:sldMk cId="102905530" sldId="2147472924"/>
            <ac:spMk id="13" creationId="{02D6F267-A991-2433-A21F-B41FBD73A0CB}"/>
          </ac:spMkLst>
        </pc:spChg>
        <pc:spChg chg="add mod">
          <ac:chgData name="Callum Stevenson" userId="86e384b4-b5e1-49b9-8ebe-6ed03b279095" providerId="ADAL" clId="{377E9E7B-4F6F-498B-9A03-A50CD8E91FE8}" dt="2024-07-23T16:33:03.017" v="333" actId="1076"/>
          <ac:spMkLst>
            <pc:docMk/>
            <pc:sldMk cId="102905530" sldId="2147472924"/>
            <ac:spMk id="16" creationId="{97D62C23-DD38-DFD8-C04A-91C3E2422705}"/>
          </ac:spMkLst>
        </pc:spChg>
        <pc:spChg chg="add mod">
          <ac:chgData name="Callum Stevenson" userId="86e384b4-b5e1-49b9-8ebe-6ed03b279095" providerId="ADAL" clId="{377E9E7B-4F6F-498B-9A03-A50CD8E91FE8}" dt="2024-07-23T16:33:03.017" v="333" actId="1076"/>
          <ac:spMkLst>
            <pc:docMk/>
            <pc:sldMk cId="102905530" sldId="2147472924"/>
            <ac:spMk id="17" creationId="{00030146-5E12-3638-483F-42555FFF6582}"/>
          </ac:spMkLst>
        </pc:spChg>
        <pc:spChg chg="add mod">
          <ac:chgData name="Callum Stevenson" userId="86e384b4-b5e1-49b9-8ebe-6ed03b279095" providerId="ADAL" clId="{377E9E7B-4F6F-498B-9A03-A50CD8E91FE8}" dt="2024-07-23T16:33:03.017" v="333" actId="1076"/>
          <ac:spMkLst>
            <pc:docMk/>
            <pc:sldMk cId="102905530" sldId="2147472924"/>
            <ac:spMk id="18" creationId="{E3B13AB2-7189-F467-10F9-DD84EA6C1EF6}"/>
          </ac:spMkLst>
        </pc:spChg>
        <pc:spChg chg="add del mod">
          <ac:chgData name="Callum Stevenson" userId="86e384b4-b5e1-49b9-8ebe-6ed03b279095" providerId="ADAL" clId="{377E9E7B-4F6F-498B-9A03-A50CD8E91FE8}" dt="2024-07-23T19:25:21.910" v="2232" actId="20577"/>
          <ac:spMkLst>
            <pc:docMk/>
            <pc:sldMk cId="102905530" sldId="2147472924"/>
            <ac:spMk id="19" creationId="{35C5409F-54DC-550B-005A-CEE235A983D4}"/>
          </ac:spMkLst>
        </pc:spChg>
        <pc:spChg chg="add mod">
          <ac:chgData name="Callum Stevenson" userId="86e384b4-b5e1-49b9-8ebe-6ed03b279095" providerId="ADAL" clId="{377E9E7B-4F6F-498B-9A03-A50CD8E91FE8}" dt="2024-07-23T16:33:03.017" v="333" actId="1076"/>
          <ac:spMkLst>
            <pc:docMk/>
            <pc:sldMk cId="102905530" sldId="2147472924"/>
            <ac:spMk id="20" creationId="{1D8829D1-3DB3-A8F5-8BC6-D8FB0C144BA8}"/>
          </ac:spMkLst>
        </pc:spChg>
        <pc:spChg chg="add mod">
          <ac:chgData name="Callum Stevenson" userId="86e384b4-b5e1-49b9-8ebe-6ed03b279095" providerId="ADAL" clId="{377E9E7B-4F6F-498B-9A03-A50CD8E91FE8}" dt="2024-07-23T16:33:03.017" v="333" actId="1076"/>
          <ac:spMkLst>
            <pc:docMk/>
            <pc:sldMk cId="102905530" sldId="2147472924"/>
            <ac:spMk id="21" creationId="{8BD7AEB7-67FE-574A-AC15-AD9E8C219504}"/>
          </ac:spMkLst>
        </pc:spChg>
        <pc:spChg chg="add mod">
          <ac:chgData name="Callum Stevenson" userId="86e384b4-b5e1-49b9-8ebe-6ed03b279095" providerId="ADAL" clId="{377E9E7B-4F6F-498B-9A03-A50CD8E91FE8}" dt="2024-07-23T16:33:03.017" v="333" actId="1076"/>
          <ac:spMkLst>
            <pc:docMk/>
            <pc:sldMk cId="102905530" sldId="2147472924"/>
            <ac:spMk id="22" creationId="{F46F68D7-B917-D8A6-BD1B-B41FC63084A6}"/>
          </ac:spMkLst>
        </pc:spChg>
        <pc:spChg chg="add mod">
          <ac:chgData name="Callum Stevenson" userId="86e384b4-b5e1-49b9-8ebe-6ed03b279095" providerId="ADAL" clId="{377E9E7B-4F6F-498B-9A03-A50CD8E91FE8}" dt="2024-07-23T16:33:03.017" v="333" actId="1076"/>
          <ac:spMkLst>
            <pc:docMk/>
            <pc:sldMk cId="102905530" sldId="2147472924"/>
            <ac:spMk id="23" creationId="{0BF2BB63-6323-41A9-BC0A-0B70BC4E7363}"/>
          </ac:spMkLst>
        </pc:spChg>
        <pc:spChg chg="add mod ord">
          <ac:chgData name="Callum Stevenson" userId="86e384b4-b5e1-49b9-8ebe-6ed03b279095" providerId="ADAL" clId="{377E9E7B-4F6F-498B-9A03-A50CD8E91FE8}" dt="2024-07-23T17:50:11.003" v="1054" actId="207"/>
          <ac:spMkLst>
            <pc:docMk/>
            <pc:sldMk cId="102905530" sldId="2147472924"/>
            <ac:spMk id="24" creationId="{63517FA4-96ED-E318-F94F-90BA55FFD371}"/>
          </ac:spMkLst>
        </pc:spChg>
        <pc:spChg chg="add del mod">
          <ac:chgData name="Callum Stevenson" userId="86e384b4-b5e1-49b9-8ebe-6ed03b279095" providerId="ADAL" clId="{377E9E7B-4F6F-498B-9A03-A50CD8E91FE8}" dt="2024-07-23T16:29:53.427" v="312" actId="21"/>
          <ac:spMkLst>
            <pc:docMk/>
            <pc:sldMk cId="102905530" sldId="2147472924"/>
            <ac:spMk id="25" creationId="{B02C52D8-0439-738E-9C60-64FB7F17F08E}"/>
          </ac:spMkLst>
        </pc:spChg>
        <pc:spChg chg="add del mod">
          <ac:chgData name="Callum Stevenson" userId="86e384b4-b5e1-49b9-8ebe-6ed03b279095" providerId="ADAL" clId="{377E9E7B-4F6F-498B-9A03-A50CD8E91FE8}" dt="2024-07-23T16:29:52.191" v="310" actId="21"/>
          <ac:spMkLst>
            <pc:docMk/>
            <pc:sldMk cId="102905530" sldId="2147472924"/>
            <ac:spMk id="26" creationId="{3038E8CB-9B3B-DCC7-6F2D-7FC0AA2F4CC8}"/>
          </ac:spMkLst>
        </pc:spChg>
        <pc:spChg chg="add del mod">
          <ac:chgData name="Callum Stevenson" userId="86e384b4-b5e1-49b9-8ebe-6ed03b279095" providerId="ADAL" clId="{377E9E7B-4F6F-498B-9A03-A50CD8E91FE8}" dt="2024-07-23T16:29:49.248" v="309" actId="21"/>
          <ac:spMkLst>
            <pc:docMk/>
            <pc:sldMk cId="102905530" sldId="2147472924"/>
            <ac:spMk id="27" creationId="{12A594E8-B123-00C8-48B0-931AE58B7D6F}"/>
          </ac:spMkLst>
        </pc:spChg>
        <pc:spChg chg="add mod ord">
          <ac:chgData name="Callum Stevenson" userId="86e384b4-b5e1-49b9-8ebe-6ed03b279095" providerId="ADAL" clId="{377E9E7B-4F6F-498B-9A03-A50CD8E91FE8}" dt="2024-07-23T17:50:11.003" v="1054" actId="207"/>
          <ac:spMkLst>
            <pc:docMk/>
            <pc:sldMk cId="102905530" sldId="2147472924"/>
            <ac:spMk id="28" creationId="{AE1BDDD3-4B5D-C8A5-E955-F825C1A1D662}"/>
          </ac:spMkLst>
        </pc:spChg>
        <pc:spChg chg="add mod ord">
          <ac:chgData name="Callum Stevenson" userId="86e384b4-b5e1-49b9-8ebe-6ed03b279095" providerId="ADAL" clId="{377E9E7B-4F6F-498B-9A03-A50CD8E91FE8}" dt="2024-07-23T17:50:11.003" v="1054" actId="207"/>
          <ac:spMkLst>
            <pc:docMk/>
            <pc:sldMk cId="102905530" sldId="2147472924"/>
            <ac:spMk id="29" creationId="{97EEC2F6-17FA-B050-6833-D8E6B3D0B9FE}"/>
          </ac:spMkLst>
        </pc:spChg>
        <pc:spChg chg="add mod ord">
          <ac:chgData name="Callum Stevenson" userId="86e384b4-b5e1-49b9-8ebe-6ed03b279095" providerId="ADAL" clId="{377E9E7B-4F6F-498B-9A03-A50CD8E91FE8}" dt="2024-07-23T17:50:11.003" v="1054" actId="207"/>
          <ac:spMkLst>
            <pc:docMk/>
            <pc:sldMk cId="102905530" sldId="2147472924"/>
            <ac:spMk id="30" creationId="{6E1C51F4-85D2-D55A-A5F2-F114CB6ADE6E}"/>
          </ac:spMkLst>
        </pc:spChg>
        <pc:spChg chg="add del mod">
          <ac:chgData name="Callum Stevenson" userId="86e384b4-b5e1-49b9-8ebe-6ed03b279095" providerId="ADAL" clId="{377E9E7B-4F6F-498B-9A03-A50CD8E91FE8}" dt="2024-07-23T16:59:21.030" v="594" actId="478"/>
          <ac:spMkLst>
            <pc:docMk/>
            <pc:sldMk cId="102905530" sldId="2147472924"/>
            <ac:spMk id="31" creationId="{F3366B17-15A1-DD00-7FFB-651350C3054A}"/>
          </ac:spMkLst>
        </pc:spChg>
        <pc:spChg chg="add mod">
          <ac:chgData name="Callum Stevenson" userId="86e384b4-b5e1-49b9-8ebe-6ed03b279095" providerId="ADAL" clId="{377E9E7B-4F6F-498B-9A03-A50CD8E91FE8}" dt="2024-07-23T16:37:56.363" v="500" actId="12788"/>
          <ac:spMkLst>
            <pc:docMk/>
            <pc:sldMk cId="102905530" sldId="2147472924"/>
            <ac:spMk id="32" creationId="{EFD1AB5A-D2A5-5E97-0AE9-1E1A31B04D41}"/>
          </ac:spMkLst>
        </pc:spChg>
        <pc:spChg chg="add mod ord">
          <ac:chgData name="Callum Stevenson" userId="86e384b4-b5e1-49b9-8ebe-6ed03b279095" providerId="ADAL" clId="{377E9E7B-4F6F-498B-9A03-A50CD8E91FE8}" dt="2024-07-23T16:38:28.110" v="513" actId="14100"/>
          <ac:spMkLst>
            <pc:docMk/>
            <pc:sldMk cId="102905530" sldId="2147472924"/>
            <ac:spMk id="33" creationId="{D3A72277-84C6-DB0A-DB4D-CC35EAE52CE3}"/>
          </ac:spMkLst>
        </pc:spChg>
        <pc:spChg chg="add mod">
          <ac:chgData name="Callum Stevenson" userId="86e384b4-b5e1-49b9-8ebe-6ed03b279095" providerId="ADAL" clId="{377E9E7B-4F6F-498B-9A03-A50CD8E91FE8}" dt="2024-07-23T16:38:28.110" v="513" actId="14100"/>
          <ac:spMkLst>
            <pc:docMk/>
            <pc:sldMk cId="102905530" sldId="2147472924"/>
            <ac:spMk id="34" creationId="{E7D67EA4-7809-C385-FB12-128ED144F41C}"/>
          </ac:spMkLst>
        </pc:spChg>
        <pc:spChg chg="add mod">
          <ac:chgData name="Callum Stevenson" userId="86e384b4-b5e1-49b9-8ebe-6ed03b279095" providerId="ADAL" clId="{377E9E7B-4F6F-498B-9A03-A50CD8E91FE8}" dt="2024-07-23T16:38:03.670" v="504" actId="14100"/>
          <ac:spMkLst>
            <pc:docMk/>
            <pc:sldMk cId="102905530" sldId="2147472924"/>
            <ac:spMk id="35" creationId="{5E22B58C-AC19-FE49-3A53-7D73FF077D28}"/>
          </ac:spMkLst>
        </pc:spChg>
        <pc:spChg chg="add mod">
          <ac:chgData name="Callum Stevenson" userId="86e384b4-b5e1-49b9-8ebe-6ed03b279095" providerId="ADAL" clId="{377E9E7B-4F6F-498B-9A03-A50CD8E91FE8}" dt="2024-07-23T16:38:28.110" v="513" actId="14100"/>
          <ac:spMkLst>
            <pc:docMk/>
            <pc:sldMk cId="102905530" sldId="2147472924"/>
            <ac:spMk id="36" creationId="{7F7DEB1E-2772-17B8-5A6F-31B994585621}"/>
          </ac:spMkLst>
        </pc:spChg>
        <pc:spChg chg="add mod">
          <ac:chgData name="Callum Stevenson" userId="86e384b4-b5e1-49b9-8ebe-6ed03b279095" providerId="ADAL" clId="{377E9E7B-4F6F-498B-9A03-A50CD8E91FE8}" dt="2024-07-23T16:38:09.590" v="508" actId="14100"/>
          <ac:spMkLst>
            <pc:docMk/>
            <pc:sldMk cId="102905530" sldId="2147472924"/>
            <ac:spMk id="37" creationId="{98E31E5B-4CEF-ECFB-F7ED-958FEFD45AEC}"/>
          </ac:spMkLst>
        </pc:spChg>
        <pc:spChg chg="add mod">
          <ac:chgData name="Callum Stevenson" userId="86e384b4-b5e1-49b9-8ebe-6ed03b279095" providerId="ADAL" clId="{377E9E7B-4F6F-498B-9A03-A50CD8E91FE8}" dt="2024-07-23T16:38:28.110" v="513" actId="14100"/>
          <ac:spMkLst>
            <pc:docMk/>
            <pc:sldMk cId="102905530" sldId="2147472924"/>
            <ac:spMk id="38" creationId="{D8914BF8-A108-2188-6666-CDAD5B0BB382}"/>
          </ac:spMkLst>
        </pc:spChg>
        <pc:spChg chg="add mod">
          <ac:chgData name="Callum Stevenson" userId="86e384b4-b5e1-49b9-8ebe-6ed03b279095" providerId="ADAL" clId="{377E9E7B-4F6F-498B-9A03-A50CD8E91FE8}" dt="2024-07-23T16:38:15.461" v="512" actId="14100"/>
          <ac:spMkLst>
            <pc:docMk/>
            <pc:sldMk cId="102905530" sldId="2147472924"/>
            <ac:spMk id="39" creationId="{B5583952-6911-F970-CC06-A06E89745590}"/>
          </ac:spMkLst>
        </pc:spChg>
        <pc:spChg chg="add mod">
          <ac:chgData name="Callum Stevenson" userId="86e384b4-b5e1-49b9-8ebe-6ed03b279095" providerId="ADAL" clId="{377E9E7B-4F6F-498B-9A03-A50CD8E91FE8}" dt="2024-07-23T16:36:46.783" v="490"/>
          <ac:spMkLst>
            <pc:docMk/>
            <pc:sldMk cId="102905530" sldId="2147472924"/>
            <ac:spMk id="40" creationId="{FFE04DA6-7AD3-4DAF-8EF3-DFC519DEB467}"/>
          </ac:spMkLst>
        </pc:spChg>
        <pc:spChg chg="add mod">
          <ac:chgData name="Callum Stevenson" userId="86e384b4-b5e1-49b9-8ebe-6ed03b279095" providerId="ADAL" clId="{377E9E7B-4F6F-498B-9A03-A50CD8E91FE8}" dt="2024-07-23T16:36:46.783" v="490"/>
          <ac:spMkLst>
            <pc:docMk/>
            <pc:sldMk cId="102905530" sldId="2147472924"/>
            <ac:spMk id="41" creationId="{A3AB64D2-F478-401B-7D23-2B187F81ADCD}"/>
          </ac:spMkLst>
        </pc:spChg>
        <pc:spChg chg="add mod">
          <ac:chgData name="Callum Stevenson" userId="86e384b4-b5e1-49b9-8ebe-6ed03b279095" providerId="ADAL" clId="{377E9E7B-4F6F-498B-9A03-A50CD8E91FE8}" dt="2024-07-23T17:08:34.926" v="795" actId="20577"/>
          <ac:spMkLst>
            <pc:docMk/>
            <pc:sldMk cId="102905530" sldId="2147472924"/>
            <ac:spMk id="42" creationId="{7FAD56A6-F918-CD4F-94D0-27ED55C4D6C1}"/>
          </ac:spMkLst>
        </pc:spChg>
        <pc:spChg chg="add mod">
          <ac:chgData name="Callum Stevenson" userId="86e384b4-b5e1-49b9-8ebe-6ed03b279095" providerId="ADAL" clId="{377E9E7B-4F6F-498B-9A03-A50CD8E91FE8}" dt="2024-07-23T17:01:18.118" v="646" actId="115"/>
          <ac:spMkLst>
            <pc:docMk/>
            <pc:sldMk cId="102905530" sldId="2147472924"/>
            <ac:spMk id="47" creationId="{60CF5CBB-38E6-A9DA-807A-BC559D403A59}"/>
          </ac:spMkLst>
        </pc:spChg>
        <pc:spChg chg="add mod">
          <ac:chgData name="Callum Stevenson" userId="86e384b4-b5e1-49b9-8ebe-6ed03b279095" providerId="ADAL" clId="{377E9E7B-4F6F-498B-9A03-A50CD8E91FE8}" dt="2024-07-23T17:08:17.753" v="759" actId="20577"/>
          <ac:spMkLst>
            <pc:docMk/>
            <pc:sldMk cId="102905530" sldId="2147472924"/>
            <ac:spMk id="48" creationId="{306F8C38-D71D-BEE3-0220-D6094FE69622}"/>
          </ac:spMkLst>
        </pc:spChg>
        <pc:spChg chg="del">
          <ac:chgData name="Callum Stevenson" userId="86e384b4-b5e1-49b9-8ebe-6ed03b279095" providerId="ADAL" clId="{377E9E7B-4F6F-498B-9A03-A50CD8E91FE8}" dt="2024-07-23T16:14:50.451" v="77" actId="478"/>
          <ac:spMkLst>
            <pc:docMk/>
            <pc:sldMk cId="102905530" sldId="2147472924"/>
            <ac:spMk id="290" creationId="{E5465026-EB1D-47F6-95F2-05F78284C8D6}"/>
          </ac:spMkLst>
        </pc:spChg>
        <pc:spChg chg="del">
          <ac:chgData name="Callum Stevenson" userId="86e384b4-b5e1-49b9-8ebe-6ed03b279095" providerId="ADAL" clId="{377E9E7B-4F6F-498B-9A03-A50CD8E91FE8}" dt="2024-07-23T16:14:50.451" v="77" actId="478"/>
          <ac:spMkLst>
            <pc:docMk/>
            <pc:sldMk cId="102905530" sldId="2147472924"/>
            <ac:spMk id="295" creationId="{71D8F5B1-C121-4752-AF25-740132C23D80}"/>
          </ac:spMkLst>
        </pc:spChg>
        <pc:spChg chg="del">
          <ac:chgData name="Callum Stevenson" userId="86e384b4-b5e1-49b9-8ebe-6ed03b279095" providerId="ADAL" clId="{377E9E7B-4F6F-498B-9A03-A50CD8E91FE8}" dt="2024-07-23T16:14:44.928" v="76" actId="478"/>
          <ac:spMkLst>
            <pc:docMk/>
            <pc:sldMk cId="102905530" sldId="2147472924"/>
            <ac:spMk id="310" creationId="{660CEB8F-C8B8-482D-9DDD-6ED0268471BE}"/>
          </ac:spMkLst>
        </pc:spChg>
        <pc:spChg chg="mod">
          <ac:chgData name="Callum Stevenson" userId="86e384b4-b5e1-49b9-8ebe-6ed03b279095" providerId="ADAL" clId="{377E9E7B-4F6F-498B-9A03-A50CD8E91FE8}" dt="2024-07-23T16:59:25.968" v="595" actId="14100"/>
          <ac:spMkLst>
            <pc:docMk/>
            <pc:sldMk cId="102905530" sldId="2147472924"/>
            <ac:spMk id="320" creationId="{8FF08C60-994E-49E9-89B3-5F9CB665D1A8}"/>
          </ac:spMkLst>
        </pc:spChg>
        <pc:spChg chg="del">
          <ac:chgData name="Callum Stevenson" userId="86e384b4-b5e1-49b9-8ebe-6ed03b279095" providerId="ADAL" clId="{377E9E7B-4F6F-498B-9A03-A50CD8E91FE8}" dt="2024-07-23T16:14:53.716" v="78" actId="478"/>
          <ac:spMkLst>
            <pc:docMk/>
            <pc:sldMk cId="102905530" sldId="2147472924"/>
            <ac:spMk id="326" creationId="{19FB8F7C-F430-41D4-AE6B-598A7ACF1D70}"/>
          </ac:spMkLst>
        </pc:spChg>
        <pc:spChg chg="del">
          <ac:chgData name="Callum Stevenson" userId="86e384b4-b5e1-49b9-8ebe-6ed03b279095" providerId="ADAL" clId="{377E9E7B-4F6F-498B-9A03-A50CD8E91FE8}" dt="2024-07-23T16:14:44.928" v="76" actId="478"/>
          <ac:spMkLst>
            <pc:docMk/>
            <pc:sldMk cId="102905530" sldId="2147472924"/>
            <ac:spMk id="334" creationId="{EC38AAE6-BBB5-4E59-A74A-24BA59AE2737}"/>
          </ac:spMkLst>
        </pc:spChg>
        <pc:spChg chg="del">
          <ac:chgData name="Callum Stevenson" userId="86e384b4-b5e1-49b9-8ebe-6ed03b279095" providerId="ADAL" clId="{377E9E7B-4F6F-498B-9A03-A50CD8E91FE8}" dt="2024-07-23T16:14:44.928" v="76" actId="478"/>
          <ac:spMkLst>
            <pc:docMk/>
            <pc:sldMk cId="102905530" sldId="2147472924"/>
            <ac:spMk id="343" creationId="{7A5C3C11-BEF5-474C-A499-86344DC43BE5}"/>
          </ac:spMkLst>
        </pc:spChg>
        <pc:grpChg chg="del">
          <ac:chgData name="Callum Stevenson" userId="86e384b4-b5e1-49b9-8ebe-6ed03b279095" providerId="ADAL" clId="{377E9E7B-4F6F-498B-9A03-A50CD8E91FE8}" dt="2024-07-23T16:14:44.928" v="76" actId="478"/>
          <ac:grpSpMkLst>
            <pc:docMk/>
            <pc:sldMk cId="102905530" sldId="2147472924"/>
            <ac:grpSpMk id="291" creationId="{613FEA5C-88FC-485A-9408-CB8DCB9EEB73}"/>
          </ac:grpSpMkLst>
        </pc:grpChg>
        <pc:grpChg chg="del">
          <ac:chgData name="Callum Stevenson" userId="86e384b4-b5e1-49b9-8ebe-6ed03b279095" providerId="ADAL" clId="{377E9E7B-4F6F-498B-9A03-A50CD8E91FE8}" dt="2024-07-23T16:14:44.928" v="76" actId="478"/>
          <ac:grpSpMkLst>
            <pc:docMk/>
            <pc:sldMk cId="102905530" sldId="2147472924"/>
            <ac:grpSpMk id="296" creationId="{5F0153FF-8696-4382-A8D7-939C67971D60}"/>
          </ac:grpSpMkLst>
        </pc:grpChg>
        <pc:grpChg chg="del">
          <ac:chgData name="Callum Stevenson" userId="86e384b4-b5e1-49b9-8ebe-6ed03b279095" providerId="ADAL" clId="{377E9E7B-4F6F-498B-9A03-A50CD8E91FE8}" dt="2024-07-23T16:14:44.928" v="76" actId="478"/>
          <ac:grpSpMkLst>
            <pc:docMk/>
            <pc:sldMk cId="102905530" sldId="2147472924"/>
            <ac:grpSpMk id="311" creationId="{6B594FD4-D970-4B71-87F0-5944CEE0DA7B}"/>
          </ac:grpSpMkLst>
        </pc:grpChg>
        <pc:grpChg chg="del">
          <ac:chgData name="Callum Stevenson" userId="86e384b4-b5e1-49b9-8ebe-6ed03b279095" providerId="ADAL" clId="{377E9E7B-4F6F-498B-9A03-A50CD8E91FE8}" dt="2024-07-23T16:14:53.716" v="78" actId="478"/>
          <ac:grpSpMkLst>
            <pc:docMk/>
            <pc:sldMk cId="102905530" sldId="2147472924"/>
            <ac:grpSpMk id="327" creationId="{4E6D048B-BBBA-4FB2-AAA9-D32BE178A60D}"/>
          </ac:grpSpMkLst>
        </pc:grpChg>
        <pc:grpChg chg="del">
          <ac:chgData name="Callum Stevenson" userId="86e384b4-b5e1-49b9-8ebe-6ed03b279095" providerId="ADAL" clId="{377E9E7B-4F6F-498B-9A03-A50CD8E91FE8}" dt="2024-07-23T16:14:44.928" v="76" actId="478"/>
          <ac:grpSpMkLst>
            <pc:docMk/>
            <pc:sldMk cId="102905530" sldId="2147472924"/>
            <ac:grpSpMk id="335" creationId="{ACD9393C-5D26-4C65-B5A3-E299C2C75157}"/>
          </ac:grpSpMkLst>
        </pc:grpChg>
        <pc:picChg chg="del">
          <ac:chgData name="Callum Stevenson" userId="86e384b4-b5e1-49b9-8ebe-6ed03b279095" providerId="ADAL" clId="{377E9E7B-4F6F-498B-9A03-A50CD8E91FE8}" dt="2024-07-23T16:26:01.895" v="272" actId="478"/>
          <ac:picMkLst>
            <pc:docMk/>
            <pc:sldMk cId="102905530" sldId="2147472924"/>
            <ac:picMk id="5" creationId="{42555A68-B45A-4B4E-9C1F-7AE30DA0E4A7}"/>
          </ac:picMkLst>
        </pc:picChg>
        <pc:picChg chg="add del mod">
          <ac:chgData name="Callum Stevenson" userId="86e384b4-b5e1-49b9-8ebe-6ed03b279095" providerId="ADAL" clId="{377E9E7B-4F6F-498B-9A03-A50CD8E91FE8}" dt="2024-07-23T16:18:17.139" v="93" actId="478"/>
          <ac:picMkLst>
            <pc:docMk/>
            <pc:sldMk cId="102905530" sldId="2147472924"/>
            <ac:picMk id="12" creationId="{3C43DCA8-98C7-BB69-D8F8-C3D998A38034}"/>
          </ac:picMkLst>
        </pc:picChg>
        <pc:picChg chg="add mod">
          <ac:chgData name="Callum Stevenson" userId="86e384b4-b5e1-49b9-8ebe-6ed03b279095" providerId="ADAL" clId="{377E9E7B-4F6F-498B-9A03-A50CD8E91FE8}" dt="2024-07-23T16:24:56.822" v="263" actId="1076"/>
          <ac:picMkLst>
            <pc:docMk/>
            <pc:sldMk cId="102905530" sldId="2147472924"/>
            <ac:picMk id="15" creationId="{441DC61F-2BF9-B4A0-5263-E98CCC4B7925}"/>
          </ac:picMkLst>
        </pc:picChg>
        <pc:picChg chg="add del mod">
          <ac:chgData name="Callum Stevenson" userId="86e384b4-b5e1-49b9-8ebe-6ed03b279095" providerId="ADAL" clId="{377E9E7B-4F6F-498B-9A03-A50CD8E91FE8}" dt="2024-07-23T16:59:43.500" v="600" actId="478"/>
          <ac:picMkLst>
            <pc:docMk/>
            <pc:sldMk cId="102905530" sldId="2147472924"/>
            <ac:picMk id="44" creationId="{A82686F2-5B8C-3397-135E-0E996A4CF0BB}"/>
          </ac:picMkLst>
        </pc:picChg>
        <pc:picChg chg="add mod">
          <ac:chgData name="Callum Stevenson" userId="86e384b4-b5e1-49b9-8ebe-6ed03b279095" providerId="ADAL" clId="{377E9E7B-4F6F-498B-9A03-A50CD8E91FE8}" dt="2024-07-23T17:00:45.787" v="604" actId="14100"/>
          <ac:picMkLst>
            <pc:docMk/>
            <pc:sldMk cId="102905530" sldId="2147472924"/>
            <ac:picMk id="46" creationId="{62406740-8285-2446-8EB0-3B236B52C1DE}"/>
          </ac:picMkLst>
        </pc:picChg>
        <pc:picChg chg="del">
          <ac:chgData name="Callum Stevenson" userId="86e384b4-b5e1-49b9-8ebe-6ed03b279095" providerId="ADAL" clId="{377E9E7B-4F6F-498B-9A03-A50CD8E91FE8}" dt="2024-07-23T16:14:59.188" v="80" actId="478"/>
          <ac:picMkLst>
            <pc:docMk/>
            <pc:sldMk cId="102905530" sldId="2147472924"/>
            <ac:picMk id="321" creationId="{506B4F94-8746-4D5C-8A12-86B1A02463C9}"/>
          </ac:picMkLst>
        </pc:picChg>
      </pc:sldChg>
      <pc:sldChg chg="addSp delSp modSp add mod modNotesTx">
        <pc:chgData name="Callum Stevenson" userId="86e384b4-b5e1-49b9-8ebe-6ed03b279095" providerId="ADAL" clId="{377E9E7B-4F6F-498B-9A03-A50CD8E91FE8}" dt="2024-07-25T12:55:55.220" v="7673" actId="20577"/>
        <pc:sldMkLst>
          <pc:docMk/>
          <pc:sldMk cId="3738188456" sldId="2147473214"/>
        </pc:sldMkLst>
        <pc:spChg chg="mod">
          <ac:chgData name="Callum Stevenson" userId="86e384b4-b5e1-49b9-8ebe-6ed03b279095" providerId="ADAL" clId="{377E9E7B-4F6F-498B-9A03-A50CD8E91FE8}" dt="2024-07-23T17:09:51.018" v="854" actId="20577"/>
          <ac:spMkLst>
            <pc:docMk/>
            <pc:sldMk cId="3738188456" sldId="2147473214"/>
            <ac:spMk id="3" creationId="{DA889A8D-C759-4AFA-51E1-2F2D342A129A}"/>
          </ac:spMkLst>
        </pc:spChg>
        <pc:spChg chg="del">
          <ac:chgData name="Callum Stevenson" userId="86e384b4-b5e1-49b9-8ebe-6ed03b279095" providerId="ADAL" clId="{377E9E7B-4F6F-498B-9A03-A50CD8E91FE8}" dt="2024-07-23T18:24:18.532" v="1398" actId="478"/>
          <ac:spMkLst>
            <pc:docMk/>
            <pc:sldMk cId="3738188456" sldId="2147473214"/>
            <ac:spMk id="4" creationId="{854EFAB3-A54B-C40D-468F-17156FE9ACB8}"/>
          </ac:spMkLst>
        </pc:spChg>
        <pc:spChg chg="add del mod">
          <ac:chgData name="Callum Stevenson" userId="86e384b4-b5e1-49b9-8ebe-6ed03b279095" providerId="ADAL" clId="{377E9E7B-4F6F-498B-9A03-A50CD8E91FE8}" dt="2024-07-23T17:35:37.926" v="870" actId="478"/>
          <ac:spMkLst>
            <pc:docMk/>
            <pc:sldMk cId="3738188456" sldId="2147473214"/>
            <ac:spMk id="9" creationId="{CA029203-C520-3469-86D0-160D6367E2A1}"/>
          </ac:spMkLst>
        </pc:spChg>
        <pc:spChg chg="add mod">
          <ac:chgData name="Callum Stevenson" userId="86e384b4-b5e1-49b9-8ebe-6ed03b279095" providerId="ADAL" clId="{377E9E7B-4F6F-498B-9A03-A50CD8E91FE8}" dt="2024-07-23T17:37:31.502" v="933" actId="1076"/>
          <ac:spMkLst>
            <pc:docMk/>
            <pc:sldMk cId="3738188456" sldId="2147473214"/>
            <ac:spMk id="10" creationId="{1E4C43BB-0061-02C4-E961-7D7B622A0A68}"/>
          </ac:spMkLst>
        </pc:spChg>
        <pc:spChg chg="add mod ord">
          <ac:chgData name="Callum Stevenson" userId="86e384b4-b5e1-49b9-8ebe-6ed03b279095" providerId="ADAL" clId="{377E9E7B-4F6F-498B-9A03-A50CD8E91FE8}" dt="2024-07-25T12:46:39.148" v="6814" actId="20577"/>
          <ac:spMkLst>
            <pc:docMk/>
            <pc:sldMk cId="3738188456" sldId="2147473214"/>
            <ac:spMk id="11" creationId="{3E75D156-641F-A9C9-8843-92D424F32966}"/>
          </ac:spMkLst>
        </pc:spChg>
        <pc:spChg chg="add del mod">
          <ac:chgData name="Callum Stevenson" userId="86e384b4-b5e1-49b9-8ebe-6ed03b279095" providerId="ADAL" clId="{377E9E7B-4F6F-498B-9A03-A50CD8E91FE8}" dt="2024-07-23T17:40:05.894" v="940"/>
          <ac:spMkLst>
            <pc:docMk/>
            <pc:sldMk cId="3738188456" sldId="2147473214"/>
            <ac:spMk id="12" creationId="{E807F6D5-7A95-4539-9A40-AB94FA662732}"/>
          </ac:spMkLst>
        </pc:spChg>
        <pc:spChg chg="add mod">
          <ac:chgData name="Callum Stevenson" userId="86e384b4-b5e1-49b9-8ebe-6ed03b279095" providerId="ADAL" clId="{377E9E7B-4F6F-498B-9A03-A50CD8E91FE8}" dt="2024-07-23T17:42:13.969" v="994" actId="115"/>
          <ac:spMkLst>
            <pc:docMk/>
            <pc:sldMk cId="3738188456" sldId="2147473214"/>
            <ac:spMk id="13" creationId="{3627D645-1A56-7546-B6A0-90071877CAB8}"/>
          </ac:spMkLst>
        </pc:spChg>
        <pc:spChg chg="add del mod">
          <ac:chgData name="Callum Stevenson" userId="86e384b4-b5e1-49b9-8ebe-6ed03b279095" providerId="ADAL" clId="{377E9E7B-4F6F-498B-9A03-A50CD8E91FE8}" dt="2024-07-23T17:41:33.954" v="990"/>
          <ac:spMkLst>
            <pc:docMk/>
            <pc:sldMk cId="3738188456" sldId="2147473214"/>
            <ac:spMk id="14" creationId="{6118C859-ED3F-B683-85FE-E1FBCEC1945F}"/>
          </ac:spMkLst>
        </pc:spChg>
        <pc:spChg chg="del">
          <ac:chgData name="Callum Stevenson" userId="86e384b4-b5e1-49b9-8ebe-6ed03b279095" providerId="ADAL" clId="{377E9E7B-4F6F-498B-9A03-A50CD8E91FE8}" dt="2024-07-23T17:09:39.040" v="823" actId="478"/>
          <ac:spMkLst>
            <pc:docMk/>
            <pc:sldMk cId="3738188456" sldId="2147473214"/>
            <ac:spMk id="16" creationId="{97D62C23-DD38-DFD8-C04A-91C3E2422705}"/>
          </ac:spMkLst>
        </pc:spChg>
        <pc:spChg chg="del">
          <ac:chgData name="Callum Stevenson" userId="86e384b4-b5e1-49b9-8ebe-6ed03b279095" providerId="ADAL" clId="{377E9E7B-4F6F-498B-9A03-A50CD8E91FE8}" dt="2024-07-23T17:09:39.040" v="823" actId="478"/>
          <ac:spMkLst>
            <pc:docMk/>
            <pc:sldMk cId="3738188456" sldId="2147473214"/>
            <ac:spMk id="17" creationId="{00030146-5E12-3638-483F-42555FFF6582}"/>
          </ac:spMkLst>
        </pc:spChg>
        <pc:spChg chg="del">
          <ac:chgData name="Callum Stevenson" userId="86e384b4-b5e1-49b9-8ebe-6ed03b279095" providerId="ADAL" clId="{377E9E7B-4F6F-498B-9A03-A50CD8E91FE8}" dt="2024-07-23T17:09:39.040" v="823" actId="478"/>
          <ac:spMkLst>
            <pc:docMk/>
            <pc:sldMk cId="3738188456" sldId="2147473214"/>
            <ac:spMk id="18" creationId="{E3B13AB2-7189-F467-10F9-DD84EA6C1EF6}"/>
          </ac:spMkLst>
        </pc:spChg>
        <pc:spChg chg="del">
          <ac:chgData name="Callum Stevenson" userId="86e384b4-b5e1-49b9-8ebe-6ed03b279095" providerId="ADAL" clId="{377E9E7B-4F6F-498B-9A03-A50CD8E91FE8}" dt="2024-07-23T17:09:39.040" v="823" actId="478"/>
          <ac:spMkLst>
            <pc:docMk/>
            <pc:sldMk cId="3738188456" sldId="2147473214"/>
            <ac:spMk id="19" creationId="{35C5409F-54DC-550B-005A-CEE235A983D4}"/>
          </ac:spMkLst>
        </pc:spChg>
        <pc:spChg chg="del">
          <ac:chgData name="Callum Stevenson" userId="86e384b4-b5e1-49b9-8ebe-6ed03b279095" providerId="ADAL" clId="{377E9E7B-4F6F-498B-9A03-A50CD8E91FE8}" dt="2024-07-23T17:09:39.040" v="823" actId="478"/>
          <ac:spMkLst>
            <pc:docMk/>
            <pc:sldMk cId="3738188456" sldId="2147473214"/>
            <ac:spMk id="20" creationId="{1D8829D1-3DB3-A8F5-8BC6-D8FB0C144BA8}"/>
          </ac:spMkLst>
        </pc:spChg>
        <pc:spChg chg="del">
          <ac:chgData name="Callum Stevenson" userId="86e384b4-b5e1-49b9-8ebe-6ed03b279095" providerId="ADAL" clId="{377E9E7B-4F6F-498B-9A03-A50CD8E91FE8}" dt="2024-07-23T17:09:39.040" v="823" actId="478"/>
          <ac:spMkLst>
            <pc:docMk/>
            <pc:sldMk cId="3738188456" sldId="2147473214"/>
            <ac:spMk id="21" creationId="{8BD7AEB7-67FE-574A-AC15-AD9E8C219504}"/>
          </ac:spMkLst>
        </pc:spChg>
        <pc:spChg chg="del">
          <ac:chgData name="Callum Stevenson" userId="86e384b4-b5e1-49b9-8ebe-6ed03b279095" providerId="ADAL" clId="{377E9E7B-4F6F-498B-9A03-A50CD8E91FE8}" dt="2024-07-23T17:09:39.040" v="823" actId="478"/>
          <ac:spMkLst>
            <pc:docMk/>
            <pc:sldMk cId="3738188456" sldId="2147473214"/>
            <ac:spMk id="22" creationId="{F46F68D7-B917-D8A6-BD1B-B41FC63084A6}"/>
          </ac:spMkLst>
        </pc:spChg>
        <pc:spChg chg="del">
          <ac:chgData name="Callum Stevenson" userId="86e384b4-b5e1-49b9-8ebe-6ed03b279095" providerId="ADAL" clId="{377E9E7B-4F6F-498B-9A03-A50CD8E91FE8}" dt="2024-07-23T17:09:39.040" v="823" actId="478"/>
          <ac:spMkLst>
            <pc:docMk/>
            <pc:sldMk cId="3738188456" sldId="2147473214"/>
            <ac:spMk id="23" creationId="{0BF2BB63-6323-41A9-BC0A-0B70BC4E7363}"/>
          </ac:spMkLst>
        </pc:spChg>
        <pc:spChg chg="del">
          <ac:chgData name="Callum Stevenson" userId="86e384b4-b5e1-49b9-8ebe-6ed03b279095" providerId="ADAL" clId="{377E9E7B-4F6F-498B-9A03-A50CD8E91FE8}" dt="2024-07-23T17:09:39.040" v="823" actId="478"/>
          <ac:spMkLst>
            <pc:docMk/>
            <pc:sldMk cId="3738188456" sldId="2147473214"/>
            <ac:spMk id="24" creationId="{63517FA4-96ED-E318-F94F-90BA55FFD371}"/>
          </ac:spMkLst>
        </pc:spChg>
        <pc:spChg chg="add mod">
          <ac:chgData name="Callum Stevenson" userId="86e384b4-b5e1-49b9-8ebe-6ed03b279095" providerId="ADAL" clId="{377E9E7B-4F6F-498B-9A03-A50CD8E91FE8}" dt="2024-07-23T17:45:10.957" v="1025" actId="1076"/>
          <ac:spMkLst>
            <pc:docMk/>
            <pc:sldMk cId="3738188456" sldId="2147473214"/>
            <ac:spMk id="25" creationId="{A518A140-3447-288D-589C-0383D5A0959D}"/>
          </ac:spMkLst>
        </pc:spChg>
        <pc:spChg chg="add del mod">
          <ac:chgData name="Callum Stevenson" userId="86e384b4-b5e1-49b9-8ebe-6ed03b279095" providerId="ADAL" clId="{377E9E7B-4F6F-498B-9A03-A50CD8E91FE8}" dt="2024-07-23T17:45:00.023" v="1022" actId="478"/>
          <ac:spMkLst>
            <pc:docMk/>
            <pc:sldMk cId="3738188456" sldId="2147473214"/>
            <ac:spMk id="26" creationId="{F6DA5260-30D0-41D4-1637-AA610D66FDEA}"/>
          </ac:spMkLst>
        </pc:spChg>
        <pc:spChg chg="add mod">
          <ac:chgData name="Callum Stevenson" userId="86e384b4-b5e1-49b9-8ebe-6ed03b279095" providerId="ADAL" clId="{377E9E7B-4F6F-498B-9A03-A50CD8E91FE8}" dt="2024-07-23T17:47:52.925" v="1045" actId="1076"/>
          <ac:spMkLst>
            <pc:docMk/>
            <pc:sldMk cId="3738188456" sldId="2147473214"/>
            <ac:spMk id="27" creationId="{2C0F55AF-C443-04CC-5128-049B4A097985}"/>
          </ac:spMkLst>
        </pc:spChg>
        <pc:spChg chg="del">
          <ac:chgData name="Callum Stevenson" userId="86e384b4-b5e1-49b9-8ebe-6ed03b279095" providerId="ADAL" clId="{377E9E7B-4F6F-498B-9A03-A50CD8E91FE8}" dt="2024-07-23T17:09:39.040" v="823" actId="478"/>
          <ac:spMkLst>
            <pc:docMk/>
            <pc:sldMk cId="3738188456" sldId="2147473214"/>
            <ac:spMk id="28" creationId="{AE1BDDD3-4B5D-C8A5-E955-F825C1A1D662}"/>
          </ac:spMkLst>
        </pc:spChg>
        <pc:spChg chg="del">
          <ac:chgData name="Callum Stevenson" userId="86e384b4-b5e1-49b9-8ebe-6ed03b279095" providerId="ADAL" clId="{377E9E7B-4F6F-498B-9A03-A50CD8E91FE8}" dt="2024-07-23T17:09:39.040" v="823" actId="478"/>
          <ac:spMkLst>
            <pc:docMk/>
            <pc:sldMk cId="3738188456" sldId="2147473214"/>
            <ac:spMk id="29" creationId="{97EEC2F6-17FA-B050-6833-D8E6B3D0B9FE}"/>
          </ac:spMkLst>
        </pc:spChg>
        <pc:spChg chg="del">
          <ac:chgData name="Callum Stevenson" userId="86e384b4-b5e1-49b9-8ebe-6ed03b279095" providerId="ADAL" clId="{377E9E7B-4F6F-498B-9A03-A50CD8E91FE8}" dt="2024-07-23T17:09:39.040" v="823" actId="478"/>
          <ac:spMkLst>
            <pc:docMk/>
            <pc:sldMk cId="3738188456" sldId="2147473214"/>
            <ac:spMk id="30" creationId="{6E1C51F4-85D2-D55A-A5F2-F114CB6ADE6E}"/>
          </ac:spMkLst>
        </pc:spChg>
        <pc:spChg chg="add del mod">
          <ac:chgData name="Callum Stevenson" userId="86e384b4-b5e1-49b9-8ebe-6ed03b279095" providerId="ADAL" clId="{377E9E7B-4F6F-498B-9A03-A50CD8E91FE8}" dt="2024-07-23T17:36:54.057" v="887" actId="478"/>
          <ac:spMkLst>
            <pc:docMk/>
            <pc:sldMk cId="3738188456" sldId="2147473214"/>
            <ac:spMk id="31" creationId="{F3366B17-15A1-DD00-7FFB-651350C3054A}"/>
          </ac:spMkLst>
        </pc:spChg>
        <pc:spChg chg="del">
          <ac:chgData name="Callum Stevenson" userId="86e384b4-b5e1-49b9-8ebe-6ed03b279095" providerId="ADAL" clId="{377E9E7B-4F6F-498B-9A03-A50CD8E91FE8}" dt="2024-07-23T17:09:39.040" v="823" actId="478"/>
          <ac:spMkLst>
            <pc:docMk/>
            <pc:sldMk cId="3738188456" sldId="2147473214"/>
            <ac:spMk id="32" creationId="{EFD1AB5A-D2A5-5E97-0AE9-1E1A31B04D41}"/>
          </ac:spMkLst>
        </pc:spChg>
        <pc:spChg chg="del">
          <ac:chgData name="Callum Stevenson" userId="86e384b4-b5e1-49b9-8ebe-6ed03b279095" providerId="ADAL" clId="{377E9E7B-4F6F-498B-9A03-A50CD8E91FE8}" dt="2024-07-23T17:09:39.040" v="823" actId="478"/>
          <ac:spMkLst>
            <pc:docMk/>
            <pc:sldMk cId="3738188456" sldId="2147473214"/>
            <ac:spMk id="33" creationId="{D3A72277-84C6-DB0A-DB4D-CC35EAE52CE3}"/>
          </ac:spMkLst>
        </pc:spChg>
        <pc:spChg chg="del">
          <ac:chgData name="Callum Stevenson" userId="86e384b4-b5e1-49b9-8ebe-6ed03b279095" providerId="ADAL" clId="{377E9E7B-4F6F-498B-9A03-A50CD8E91FE8}" dt="2024-07-23T17:09:39.040" v="823" actId="478"/>
          <ac:spMkLst>
            <pc:docMk/>
            <pc:sldMk cId="3738188456" sldId="2147473214"/>
            <ac:spMk id="34" creationId="{E7D67EA4-7809-C385-FB12-128ED144F41C}"/>
          </ac:spMkLst>
        </pc:spChg>
        <pc:spChg chg="del">
          <ac:chgData name="Callum Stevenson" userId="86e384b4-b5e1-49b9-8ebe-6ed03b279095" providerId="ADAL" clId="{377E9E7B-4F6F-498B-9A03-A50CD8E91FE8}" dt="2024-07-23T17:09:39.040" v="823" actId="478"/>
          <ac:spMkLst>
            <pc:docMk/>
            <pc:sldMk cId="3738188456" sldId="2147473214"/>
            <ac:spMk id="35" creationId="{5E22B58C-AC19-FE49-3A53-7D73FF077D28}"/>
          </ac:spMkLst>
        </pc:spChg>
        <pc:spChg chg="del">
          <ac:chgData name="Callum Stevenson" userId="86e384b4-b5e1-49b9-8ebe-6ed03b279095" providerId="ADAL" clId="{377E9E7B-4F6F-498B-9A03-A50CD8E91FE8}" dt="2024-07-23T17:09:39.040" v="823" actId="478"/>
          <ac:spMkLst>
            <pc:docMk/>
            <pc:sldMk cId="3738188456" sldId="2147473214"/>
            <ac:spMk id="36" creationId="{7F7DEB1E-2772-17B8-5A6F-31B994585621}"/>
          </ac:spMkLst>
        </pc:spChg>
        <pc:spChg chg="del">
          <ac:chgData name="Callum Stevenson" userId="86e384b4-b5e1-49b9-8ebe-6ed03b279095" providerId="ADAL" clId="{377E9E7B-4F6F-498B-9A03-A50CD8E91FE8}" dt="2024-07-23T17:09:39.040" v="823" actId="478"/>
          <ac:spMkLst>
            <pc:docMk/>
            <pc:sldMk cId="3738188456" sldId="2147473214"/>
            <ac:spMk id="37" creationId="{98E31E5B-4CEF-ECFB-F7ED-958FEFD45AEC}"/>
          </ac:spMkLst>
        </pc:spChg>
        <pc:spChg chg="del">
          <ac:chgData name="Callum Stevenson" userId="86e384b4-b5e1-49b9-8ebe-6ed03b279095" providerId="ADAL" clId="{377E9E7B-4F6F-498B-9A03-A50CD8E91FE8}" dt="2024-07-23T17:09:39.040" v="823" actId="478"/>
          <ac:spMkLst>
            <pc:docMk/>
            <pc:sldMk cId="3738188456" sldId="2147473214"/>
            <ac:spMk id="38" creationId="{D8914BF8-A108-2188-6666-CDAD5B0BB382}"/>
          </ac:spMkLst>
        </pc:spChg>
        <pc:spChg chg="del">
          <ac:chgData name="Callum Stevenson" userId="86e384b4-b5e1-49b9-8ebe-6ed03b279095" providerId="ADAL" clId="{377E9E7B-4F6F-498B-9A03-A50CD8E91FE8}" dt="2024-07-23T17:09:39.040" v="823" actId="478"/>
          <ac:spMkLst>
            <pc:docMk/>
            <pc:sldMk cId="3738188456" sldId="2147473214"/>
            <ac:spMk id="39" creationId="{B5583952-6911-F970-CC06-A06E89745590}"/>
          </ac:spMkLst>
        </pc:spChg>
        <pc:spChg chg="add mod">
          <ac:chgData name="Callum Stevenson" userId="86e384b4-b5e1-49b9-8ebe-6ed03b279095" providerId="ADAL" clId="{377E9E7B-4F6F-498B-9A03-A50CD8E91FE8}" dt="2024-07-23T17:52:07.558" v="1091" actId="20577"/>
          <ac:spMkLst>
            <pc:docMk/>
            <pc:sldMk cId="3738188456" sldId="2147473214"/>
            <ac:spMk id="40" creationId="{AA04A3AF-A63B-B3B7-EF17-8BAC0978FCBC}"/>
          </ac:spMkLst>
        </pc:spChg>
        <pc:spChg chg="add mod ord">
          <ac:chgData name="Callum Stevenson" userId="86e384b4-b5e1-49b9-8ebe-6ed03b279095" providerId="ADAL" clId="{377E9E7B-4F6F-498B-9A03-A50CD8E91FE8}" dt="2024-07-23T18:24:54.440" v="1403" actId="12788"/>
          <ac:spMkLst>
            <pc:docMk/>
            <pc:sldMk cId="3738188456" sldId="2147473214"/>
            <ac:spMk id="41" creationId="{F810AC31-12B2-AD2E-DCBF-00F4B988BF3D}"/>
          </ac:spMkLst>
        </pc:spChg>
        <pc:spChg chg="del">
          <ac:chgData name="Callum Stevenson" userId="86e384b4-b5e1-49b9-8ebe-6ed03b279095" providerId="ADAL" clId="{377E9E7B-4F6F-498B-9A03-A50CD8E91FE8}" dt="2024-07-23T17:09:39.040" v="823" actId="478"/>
          <ac:spMkLst>
            <pc:docMk/>
            <pc:sldMk cId="3738188456" sldId="2147473214"/>
            <ac:spMk id="42" creationId="{7FAD56A6-F918-CD4F-94D0-27ED55C4D6C1}"/>
          </ac:spMkLst>
        </pc:spChg>
        <pc:spChg chg="add mod">
          <ac:chgData name="Callum Stevenson" userId="86e384b4-b5e1-49b9-8ebe-6ed03b279095" providerId="ADAL" clId="{377E9E7B-4F6F-498B-9A03-A50CD8E91FE8}" dt="2024-07-23T18:24:54.440" v="1403" actId="12788"/>
          <ac:spMkLst>
            <pc:docMk/>
            <pc:sldMk cId="3738188456" sldId="2147473214"/>
            <ac:spMk id="43" creationId="{E6A3C8B0-2B7D-1578-43B4-1174134821E1}"/>
          </ac:spMkLst>
        </pc:spChg>
        <pc:spChg chg="add mod">
          <ac:chgData name="Callum Stevenson" userId="86e384b4-b5e1-49b9-8ebe-6ed03b279095" providerId="ADAL" clId="{377E9E7B-4F6F-498B-9A03-A50CD8E91FE8}" dt="2024-07-23T17:50:51.084" v="1066" actId="20577"/>
          <ac:spMkLst>
            <pc:docMk/>
            <pc:sldMk cId="3738188456" sldId="2147473214"/>
            <ac:spMk id="44" creationId="{28F29215-232F-6B9C-B8CD-1696E5FA7D2C}"/>
          </ac:spMkLst>
        </pc:spChg>
        <pc:spChg chg="add mod">
          <ac:chgData name="Callum Stevenson" userId="86e384b4-b5e1-49b9-8ebe-6ed03b279095" providerId="ADAL" clId="{377E9E7B-4F6F-498B-9A03-A50CD8E91FE8}" dt="2024-07-23T17:50:45.471" v="1058" actId="1076"/>
          <ac:spMkLst>
            <pc:docMk/>
            <pc:sldMk cId="3738188456" sldId="2147473214"/>
            <ac:spMk id="45" creationId="{CD9D0E78-047D-3DA3-D1F4-A066F006D2D1}"/>
          </ac:spMkLst>
        </pc:spChg>
        <pc:spChg chg="add mod">
          <ac:chgData name="Callum Stevenson" userId="86e384b4-b5e1-49b9-8ebe-6ed03b279095" providerId="ADAL" clId="{377E9E7B-4F6F-498B-9A03-A50CD8E91FE8}" dt="2024-07-23T17:52:02.146" v="1083" actId="20577"/>
          <ac:spMkLst>
            <pc:docMk/>
            <pc:sldMk cId="3738188456" sldId="2147473214"/>
            <ac:spMk id="46" creationId="{D4BA379D-FEC5-7671-E270-7B95C5009951}"/>
          </ac:spMkLst>
        </pc:spChg>
        <pc:spChg chg="add mod">
          <ac:chgData name="Callum Stevenson" userId="86e384b4-b5e1-49b9-8ebe-6ed03b279095" providerId="ADAL" clId="{377E9E7B-4F6F-498B-9A03-A50CD8E91FE8}" dt="2024-07-23T17:55:59.507" v="1128" actId="20577"/>
          <ac:spMkLst>
            <pc:docMk/>
            <pc:sldMk cId="3738188456" sldId="2147473214"/>
            <ac:spMk id="49" creationId="{2A871FC3-623C-F4AE-4394-221F94894124}"/>
          </ac:spMkLst>
        </pc:spChg>
        <pc:spChg chg="add mod">
          <ac:chgData name="Callum Stevenson" userId="86e384b4-b5e1-49b9-8ebe-6ed03b279095" providerId="ADAL" clId="{377E9E7B-4F6F-498B-9A03-A50CD8E91FE8}" dt="2024-07-23T18:23:37.634" v="1395" actId="1076"/>
          <ac:spMkLst>
            <pc:docMk/>
            <pc:sldMk cId="3738188456" sldId="2147473214"/>
            <ac:spMk id="50" creationId="{CD7BD0C2-8906-64AA-0265-18A0B5E011FF}"/>
          </ac:spMkLst>
        </pc:spChg>
        <pc:spChg chg="add mod ord">
          <ac:chgData name="Callum Stevenson" userId="86e384b4-b5e1-49b9-8ebe-6ed03b279095" providerId="ADAL" clId="{377E9E7B-4F6F-498B-9A03-A50CD8E91FE8}" dt="2024-07-23T18:24:54.440" v="1403" actId="12788"/>
          <ac:spMkLst>
            <pc:docMk/>
            <pc:sldMk cId="3738188456" sldId="2147473214"/>
            <ac:spMk id="51" creationId="{BC156F0A-E43E-5A55-DF6C-EC96E0F5C93C}"/>
          </ac:spMkLst>
        </pc:spChg>
        <pc:spChg chg="add del mod">
          <ac:chgData name="Callum Stevenson" userId="86e384b4-b5e1-49b9-8ebe-6ed03b279095" providerId="ADAL" clId="{377E9E7B-4F6F-498B-9A03-A50CD8E91FE8}" dt="2024-07-23T18:39:26.791" v="1537" actId="478"/>
          <ac:spMkLst>
            <pc:docMk/>
            <pc:sldMk cId="3738188456" sldId="2147473214"/>
            <ac:spMk id="60" creationId="{FD5C2A4F-A266-D3BD-6C37-B304450712D4}"/>
          </ac:spMkLst>
        </pc:spChg>
        <pc:spChg chg="add del mod">
          <ac:chgData name="Callum Stevenson" userId="86e384b4-b5e1-49b9-8ebe-6ed03b279095" providerId="ADAL" clId="{377E9E7B-4F6F-498B-9A03-A50CD8E91FE8}" dt="2024-07-23T18:39:26.791" v="1537" actId="478"/>
          <ac:spMkLst>
            <pc:docMk/>
            <pc:sldMk cId="3738188456" sldId="2147473214"/>
            <ac:spMk id="61" creationId="{45C891A0-47B0-988C-4D1E-83B210113D0A}"/>
          </ac:spMkLst>
        </pc:spChg>
        <pc:spChg chg="add del mod">
          <ac:chgData name="Callum Stevenson" userId="86e384b4-b5e1-49b9-8ebe-6ed03b279095" providerId="ADAL" clId="{377E9E7B-4F6F-498B-9A03-A50CD8E91FE8}" dt="2024-07-23T18:39:26.791" v="1537" actId="478"/>
          <ac:spMkLst>
            <pc:docMk/>
            <pc:sldMk cId="3738188456" sldId="2147473214"/>
            <ac:spMk id="62" creationId="{A68DE843-7AF3-AD8C-73EF-47AE5F4A5BA7}"/>
          </ac:spMkLst>
        </pc:spChg>
        <pc:spChg chg="add del mod">
          <ac:chgData name="Callum Stevenson" userId="86e384b4-b5e1-49b9-8ebe-6ed03b279095" providerId="ADAL" clId="{377E9E7B-4F6F-498B-9A03-A50CD8E91FE8}" dt="2024-07-23T18:36:28.475" v="1473" actId="478"/>
          <ac:spMkLst>
            <pc:docMk/>
            <pc:sldMk cId="3738188456" sldId="2147473214"/>
            <ac:spMk id="63" creationId="{16BB1A13-D7D2-6208-B698-9B936B3EB27B}"/>
          </ac:spMkLst>
        </pc:spChg>
        <pc:spChg chg="add del mod">
          <ac:chgData name="Callum Stevenson" userId="86e384b4-b5e1-49b9-8ebe-6ed03b279095" providerId="ADAL" clId="{377E9E7B-4F6F-498B-9A03-A50CD8E91FE8}" dt="2024-07-23T18:39:26.791" v="1537" actId="478"/>
          <ac:spMkLst>
            <pc:docMk/>
            <pc:sldMk cId="3738188456" sldId="2147473214"/>
            <ac:spMk id="257" creationId="{EB04367E-33EA-CD55-998E-0C789B43C967}"/>
          </ac:spMkLst>
        </pc:spChg>
        <pc:spChg chg="add del mod">
          <ac:chgData name="Callum Stevenson" userId="86e384b4-b5e1-49b9-8ebe-6ed03b279095" providerId="ADAL" clId="{377E9E7B-4F6F-498B-9A03-A50CD8E91FE8}" dt="2024-07-23T18:37:53.336" v="1497"/>
          <ac:spMkLst>
            <pc:docMk/>
            <pc:sldMk cId="3738188456" sldId="2147473214"/>
            <ac:spMk id="258" creationId="{F19369E3-4D54-419C-AF7A-D82678B2B8E4}"/>
          </ac:spMkLst>
        </pc:spChg>
        <pc:spChg chg="add del mod">
          <ac:chgData name="Callum Stevenson" userId="86e384b4-b5e1-49b9-8ebe-6ed03b279095" providerId="ADAL" clId="{377E9E7B-4F6F-498B-9A03-A50CD8E91FE8}" dt="2024-07-23T18:39:26.791" v="1537" actId="478"/>
          <ac:spMkLst>
            <pc:docMk/>
            <pc:sldMk cId="3738188456" sldId="2147473214"/>
            <ac:spMk id="259" creationId="{266BAE1D-B0DB-303C-B34C-A5DEDD2DDB99}"/>
          </ac:spMkLst>
        </pc:spChg>
        <pc:spChg chg="add del mod">
          <ac:chgData name="Callum Stevenson" userId="86e384b4-b5e1-49b9-8ebe-6ed03b279095" providerId="ADAL" clId="{377E9E7B-4F6F-498B-9A03-A50CD8E91FE8}" dt="2024-07-23T18:39:26.791" v="1537" actId="478"/>
          <ac:spMkLst>
            <pc:docMk/>
            <pc:sldMk cId="3738188456" sldId="2147473214"/>
            <ac:spMk id="260" creationId="{C33D101A-A3D9-4B77-BB9E-6DA379B63AED}"/>
          </ac:spMkLst>
        </pc:spChg>
        <pc:spChg chg="del">
          <ac:chgData name="Callum Stevenson" userId="86e384b4-b5e1-49b9-8ebe-6ed03b279095" providerId="ADAL" clId="{377E9E7B-4F6F-498B-9A03-A50CD8E91FE8}" dt="2024-07-23T17:09:39.040" v="823" actId="478"/>
          <ac:spMkLst>
            <pc:docMk/>
            <pc:sldMk cId="3738188456" sldId="2147473214"/>
            <ac:spMk id="320" creationId="{8FF08C60-994E-49E9-89B3-5F9CB665D1A8}"/>
          </ac:spMkLst>
        </pc:spChg>
        <pc:graphicFrameChg chg="add del mod modGraphic">
          <ac:chgData name="Callum Stevenson" userId="86e384b4-b5e1-49b9-8ebe-6ed03b279095" providerId="ADAL" clId="{377E9E7B-4F6F-498B-9A03-A50CD8E91FE8}" dt="2024-07-23T18:36:23.430" v="1472" actId="3680"/>
          <ac:graphicFrameMkLst>
            <pc:docMk/>
            <pc:sldMk cId="3738188456" sldId="2147473214"/>
            <ac:graphicFrameMk id="256" creationId="{A5A81B0C-5B0A-74FB-4357-03F9B7A1879B}"/>
          </ac:graphicFrameMkLst>
        </pc:graphicFrameChg>
        <pc:graphicFrameChg chg="add mod modGraphic">
          <ac:chgData name="Callum Stevenson" userId="86e384b4-b5e1-49b9-8ebe-6ed03b279095" providerId="ADAL" clId="{377E9E7B-4F6F-498B-9A03-A50CD8E91FE8}" dt="2024-07-23T18:42:57.858" v="1688" actId="2062"/>
          <ac:graphicFrameMkLst>
            <pc:docMk/>
            <pc:sldMk cId="3738188456" sldId="2147473214"/>
            <ac:graphicFrameMk id="261" creationId="{D1113B7F-1AB5-6BD6-8BC2-FF513B7BB6DF}"/>
          </ac:graphicFrameMkLst>
        </pc:graphicFrameChg>
        <pc:picChg chg="add mod">
          <ac:chgData name="Callum Stevenson" userId="86e384b4-b5e1-49b9-8ebe-6ed03b279095" providerId="ADAL" clId="{377E9E7B-4F6F-498B-9A03-A50CD8E91FE8}" dt="2024-07-23T17:36:11.603" v="877" actId="1076"/>
          <ac:picMkLst>
            <pc:docMk/>
            <pc:sldMk cId="3738188456" sldId="2147473214"/>
            <ac:picMk id="5" creationId="{02430A23-0F41-9B29-4839-2B05719EAFDC}"/>
          </ac:picMkLst>
        </pc:picChg>
        <pc:picChg chg="add del mod">
          <ac:chgData name="Callum Stevenson" userId="86e384b4-b5e1-49b9-8ebe-6ed03b279095" providerId="ADAL" clId="{377E9E7B-4F6F-498B-9A03-A50CD8E91FE8}" dt="2024-07-23T17:53:03.980" v="1093" actId="478"/>
          <ac:picMkLst>
            <pc:docMk/>
            <pc:sldMk cId="3738188456" sldId="2147473214"/>
            <ac:picMk id="8" creationId="{A1211A73-4205-2532-5A6B-F712A4B0AD21}"/>
          </ac:picMkLst>
        </pc:picChg>
        <pc:picChg chg="del">
          <ac:chgData name="Callum Stevenson" userId="86e384b4-b5e1-49b9-8ebe-6ed03b279095" providerId="ADAL" clId="{377E9E7B-4F6F-498B-9A03-A50CD8E91FE8}" dt="2024-07-23T17:09:39.040" v="823" actId="478"/>
          <ac:picMkLst>
            <pc:docMk/>
            <pc:sldMk cId="3738188456" sldId="2147473214"/>
            <ac:picMk id="15" creationId="{441DC61F-2BF9-B4A0-5263-E98CCC4B7925}"/>
          </ac:picMkLst>
        </pc:picChg>
        <pc:picChg chg="mod">
          <ac:chgData name="Callum Stevenson" userId="86e384b4-b5e1-49b9-8ebe-6ed03b279095" providerId="ADAL" clId="{377E9E7B-4F6F-498B-9A03-A50CD8E91FE8}" dt="2024-07-23T18:45:18.807" v="1710" actId="1076"/>
          <ac:picMkLst>
            <pc:docMk/>
            <pc:sldMk cId="3738188456" sldId="2147473214"/>
            <ac:picMk id="48" creationId="{A0692695-B948-DAC2-9369-D2C5A7151968}"/>
          </ac:picMkLst>
        </pc:picChg>
        <pc:picChg chg="add del mod">
          <ac:chgData name="Callum Stevenson" userId="86e384b4-b5e1-49b9-8ebe-6ed03b279095" providerId="ADAL" clId="{377E9E7B-4F6F-498B-9A03-A50CD8E91FE8}" dt="2024-07-23T18:26:13.501" v="1409" actId="478"/>
          <ac:picMkLst>
            <pc:docMk/>
            <pc:sldMk cId="3738188456" sldId="2147473214"/>
            <ac:picMk id="53" creationId="{B4B1029B-BAA1-9961-2AF5-74CF09E26682}"/>
          </ac:picMkLst>
        </pc:picChg>
        <pc:picChg chg="del">
          <ac:chgData name="Callum Stevenson" userId="86e384b4-b5e1-49b9-8ebe-6ed03b279095" providerId="ADAL" clId="{377E9E7B-4F6F-498B-9A03-A50CD8E91FE8}" dt="2024-07-23T18:24:19.861" v="1399" actId="478"/>
          <ac:picMkLst>
            <pc:docMk/>
            <pc:sldMk cId="3738188456" sldId="2147473214"/>
            <ac:picMk id="288" creationId="{BFE21568-8B6C-4ADB-A950-5872FA7D7B10}"/>
          </ac:picMkLst>
        </pc:picChg>
        <pc:cxnChg chg="add del mod">
          <ac:chgData name="Callum Stevenson" userId="86e384b4-b5e1-49b9-8ebe-6ed03b279095" providerId="ADAL" clId="{377E9E7B-4F6F-498B-9A03-A50CD8E91FE8}" dt="2024-07-23T18:28:07.292" v="1416" actId="478"/>
          <ac:cxnSpMkLst>
            <pc:docMk/>
            <pc:sldMk cId="3738188456" sldId="2147473214"/>
            <ac:cxnSpMk id="55" creationId="{CA051899-1FBA-0353-B033-820FBFD47828}"/>
          </ac:cxnSpMkLst>
        </pc:cxnChg>
      </pc:sldChg>
      <pc:sldChg chg="addSp delSp modSp add mod modNotesTx">
        <pc:chgData name="Callum Stevenson" userId="86e384b4-b5e1-49b9-8ebe-6ed03b279095" providerId="ADAL" clId="{377E9E7B-4F6F-498B-9A03-A50CD8E91FE8}" dt="2024-07-25T13:03:59.738" v="8519" actId="20577"/>
        <pc:sldMkLst>
          <pc:docMk/>
          <pc:sldMk cId="537899077" sldId="2147473224"/>
        </pc:sldMkLst>
        <pc:spChg chg="del">
          <ac:chgData name="Callum Stevenson" userId="86e384b4-b5e1-49b9-8ebe-6ed03b279095" providerId="ADAL" clId="{377E9E7B-4F6F-498B-9A03-A50CD8E91FE8}" dt="2024-07-24T01:27:04.894" v="4310" actId="478"/>
          <ac:spMkLst>
            <pc:docMk/>
            <pc:sldMk cId="537899077" sldId="2147473224"/>
            <ac:spMk id="2" creationId="{E07192C4-01AB-8B00-3EC8-512E3CA7BB4B}"/>
          </ac:spMkLst>
        </pc:spChg>
        <pc:spChg chg="mod">
          <ac:chgData name="Callum Stevenson" userId="86e384b4-b5e1-49b9-8ebe-6ed03b279095" providerId="ADAL" clId="{377E9E7B-4F6F-498B-9A03-A50CD8E91FE8}" dt="2024-07-23T18:44:05.480" v="1708" actId="20577"/>
          <ac:spMkLst>
            <pc:docMk/>
            <pc:sldMk cId="537899077" sldId="2147473224"/>
            <ac:spMk id="3" creationId="{DA889A8D-C759-4AFA-51E1-2F2D342A129A}"/>
          </ac:spMkLst>
        </pc:spChg>
        <pc:spChg chg="add mod">
          <ac:chgData name="Callum Stevenson" userId="86e384b4-b5e1-49b9-8ebe-6ed03b279095" providerId="ADAL" clId="{377E9E7B-4F6F-498B-9A03-A50CD8E91FE8}" dt="2024-07-23T18:47:27.160" v="1714" actId="1076"/>
          <ac:spMkLst>
            <pc:docMk/>
            <pc:sldMk cId="537899077" sldId="2147473224"/>
            <ac:spMk id="4" creationId="{FF88DB2F-1B74-A372-CCAE-6F06D9413DE0}"/>
          </ac:spMkLst>
        </pc:spChg>
        <pc:spChg chg="del">
          <ac:chgData name="Callum Stevenson" userId="86e384b4-b5e1-49b9-8ebe-6ed03b279095" providerId="ADAL" clId="{377E9E7B-4F6F-498B-9A03-A50CD8E91FE8}" dt="2024-07-23T18:47:15.249" v="1711" actId="478"/>
          <ac:spMkLst>
            <pc:docMk/>
            <pc:sldMk cId="537899077" sldId="2147473224"/>
            <ac:spMk id="10" creationId="{1E4C43BB-0061-02C4-E961-7D7B622A0A68}"/>
          </ac:spMkLst>
        </pc:spChg>
        <pc:spChg chg="mod">
          <ac:chgData name="Callum Stevenson" userId="86e384b4-b5e1-49b9-8ebe-6ed03b279095" providerId="ADAL" clId="{377E9E7B-4F6F-498B-9A03-A50CD8E91FE8}" dt="2024-07-24T00:04:11.747" v="3574" actId="20577"/>
          <ac:spMkLst>
            <pc:docMk/>
            <pc:sldMk cId="537899077" sldId="2147473224"/>
            <ac:spMk id="11" creationId="{3E75D156-641F-A9C9-8843-92D424F32966}"/>
          </ac:spMkLst>
        </pc:spChg>
        <pc:spChg chg="add mod">
          <ac:chgData name="Callum Stevenson" userId="86e384b4-b5e1-49b9-8ebe-6ed03b279095" providerId="ADAL" clId="{377E9E7B-4F6F-498B-9A03-A50CD8E91FE8}" dt="2024-07-24T01:29:50.510" v="4360" actId="1076"/>
          <ac:spMkLst>
            <pc:docMk/>
            <pc:sldMk cId="537899077" sldId="2147473224"/>
            <ac:spMk id="12" creationId="{E054011A-D3F9-7A72-6151-4F074DA370DE}"/>
          </ac:spMkLst>
        </pc:spChg>
        <pc:spChg chg="del">
          <ac:chgData name="Callum Stevenson" userId="86e384b4-b5e1-49b9-8ebe-6ed03b279095" providerId="ADAL" clId="{377E9E7B-4F6F-498B-9A03-A50CD8E91FE8}" dt="2024-07-23T18:47:15.249" v="1711" actId="478"/>
          <ac:spMkLst>
            <pc:docMk/>
            <pc:sldMk cId="537899077" sldId="2147473224"/>
            <ac:spMk id="13" creationId="{3627D645-1A56-7546-B6A0-90071877CAB8}"/>
          </ac:spMkLst>
        </pc:spChg>
        <pc:spChg chg="del">
          <ac:chgData name="Callum Stevenson" userId="86e384b4-b5e1-49b9-8ebe-6ed03b279095" providerId="ADAL" clId="{377E9E7B-4F6F-498B-9A03-A50CD8E91FE8}" dt="2024-07-23T18:47:15.249" v="1711" actId="478"/>
          <ac:spMkLst>
            <pc:docMk/>
            <pc:sldMk cId="537899077" sldId="2147473224"/>
            <ac:spMk id="25" creationId="{A518A140-3447-288D-589C-0383D5A0959D}"/>
          </ac:spMkLst>
        </pc:spChg>
        <pc:spChg chg="del">
          <ac:chgData name="Callum Stevenson" userId="86e384b4-b5e1-49b9-8ebe-6ed03b279095" providerId="ADAL" clId="{377E9E7B-4F6F-498B-9A03-A50CD8E91FE8}" dt="2024-07-23T18:47:15.249" v="1711" actId="478"/>
          <ac:spMkLst>
            <pc:docMk/>
            <pc:sldMk cId="537899077" sldId="2147473224"/>
            <ac:spMk id="27" creationId="{2C0F55AF-C443-04CC-5128-049B4A097985}"/>
          </ac:spMkLst>
        </pc:spChg>
        <pc:spChg chg="del">
          <ac:chgData name="Callum Stevenson" userId="86e384b4-b5e1-49b9-8ebe-6ed03b279095" providerId="ADAL" clId="{377E9E7B-4F6F-498B-9A03-A50CD8E91FE8}" dt="2024-07-23T18:47:15.249" v="1711" actId="478"/>
          <ac:spMkLst>
            <pc:docMk/>
            <pc:sldMk cId="537899077" sldId="2147473224"/>
            <ac:spMk id="40" creationId="{AA04A3AF-A63B-B3B7-EF17-8BAC0978FCBC}"/>
          </ac:spMkLst>
        </pc:spChg>
        <pc:spChg chg="del">
          <ac:chgData name="Callum Stevenson" userId="86e384b4-b5e1-49b9-8ebe-6ed03b279095" providerId="ADAL" clId="{377E9E7B-4F6F-498B-9A03-A50CD8E91FE8}" dt="2024-07-23T18:47:15.249" v="1711" actId="478"/>
          <ac:spMkLst>
            <pc:docMk/>
            <pc:sldMk cId="537899077" sldId="2147473224"/>
            <ac:spMk id="41" creationId="{F810AC31-12B2-AD2E-DCBF-00F4B988BF3D}"/>
          </ac:spMkLst>
        </pc:spChg>
        <pc:spChg chg="del">
          <ac:chgData name="Callum Stevenson" userId="86e384b4-b5e1-49b9-8ebe-6ed03b279095" providerId="ADAL" clId="{377E9E7B-4F6F-498B-9A03-A50CD8E91FE8}" dt="2024-07-23T18:47:15.249" v="1711" actId="478"/>
          <ac:spMkLst>
            <pc:docMk/>
            <pc:sldMk cId="537899077" sldId="2147473224"/>
            <ac:spMk id="43" creationId="{E6A3C8B0-2B7D-1578-43B4-1174134821E1}"/>
          </ac:spMkLst>
        </pc:spChg>
        <pc:spChg chg="del">
          <ac:chgData name="Callum Stevenson" userId="86e384b4-b5e1-49b9-8ebe-6ed03b279095" providerId="ADAL" clId="{377E9E7B-4F6F-498B-9A03-A50CD8E91FE8}" dt="2024-07-23T18:47:15.249" v="1711" actId="478"/>
          <ac:spMkLst>
            <pc:docMk/>
            <pc:sldMk cId="537899077" sldId="2147473224"/>
            <ac:spMk id="44" creationId="{28F29215-232F-6B9C-B8CD-1696E5FA7D2C}"/>
          </ac:spMkLst>
        </pc:spChg>
        <pc:spChg chg="del">
          <ac:chgData name="Callum Stevenson" userId="86e384b4-b5e1-49b9-8ebe-6ed03b279095" providerId="ADAL" clId="{377E9E7B-4F6F-498B-9A03-A50CD8E91FE8}" dt="2024-07-23T18:47:15.249" v="1711" actId="478"/>
          <ac:spMkLst>
            <pc:docMk/>
            <pc:sldMk cId="537899077" sldId="2147473224"/>
            <ac:spMk id="45" creationId="{CD9D0E78-047D-3DA3-D1F4-A066F006D2D1}"/>
          </ac:spMkLst>
        </pc:spChg>
        <pc:spChg chg="del">
          <ac:chgData name="Callum Stevenson" userId="86e384b4-b5e1-49b9-8ebe-6ed03b279095" providerId="ADAL" clId="{377E9E7B-4F6F-498B-9A03-A50CD8E91FE8}" dt="2024-07-23T18:47:15.249" v="1711" actId="478"/>
          <ac:spMkLst>
            <pc:docMk/>
            <pc:sldMk cId="537899077" sldId="2147473224"/>
            <ac:spMk id="46" creationId="{D4BA379D-FEC5-7671-E270-7B95C5009951}"/>
          </ac:spMkLst>
        </pc:spChg>
        <pc:spChg chg="del">
          <ac:chgData name="Callum Stevenson" userId="86e384b4-b5e1-49b9-8ebe-6ed03b279095" providerId="ADAL" clId="{377E9E7B-4F6F-498B-9A03-A50CD8E91FE8}" dt="2024-07-23T18:47:15.249" v="1711" actId="478"/>
          <ac:spMkLst>
            <pc:docMk/>
            <pc:sldMk cId="537899077" sldId="2147473224"/>
            <ac:spMk id="49" creationId="{2A871FC3-623C-F4AE-4394-221F94894124}"/>
          </ac:spMkLst>
        </pc:spChg>
        <pc:spChg chg="del">
          <ac:chgData name="Callum Stevenson" userId="86e384b4-b5e1-49b9-8ebe-6ed03b279095" providerId="ADAL" clId="{377E9E7B-4F6F-498B-9A03-A50CD8E91FE8}" dt="2024-07-23T18:47:15.249" v="1711" actId="478"/>
          <ac:spMkLst>
            <pc:docMk/>
            <pc:sldMk cId="537899077" sldId="2147473224"/>
            <ac:spMk id="50" creationId="{CD7BD0C2-8906-64AA-0265-18A0B5E011FF}"/>
          </ac:spMkLst>
        </pc:spChg>
        <pc:spChg chg="del">
          <ac:chgData name="Callum Stevenson" userId="86e384b4-b5e1-49b9-8ebe-6ed03b279095" providerId="ADAL" clId="{377E9E7B-4F6F-498B-9A03-A50CD8E91FE8}" dt="2024-07-23T18:47:15.249" v="1711" actId="478"/>
          <ac:spMkLst>
            <pc:docMk/>
            <pc:sldMk cId="537899077" sldId="2147473224"/>
            <ac:spMk id="51" creationId="{BC156F0A-E43E-5A55-DF6C-EC96E0F5C93C}"/>
          </ac:spMkLst>
        </pc:spChg>
        <pc:graphicFrameChg chg="del">
          <ac:chgData name="Callum Stevenson" userId="86e384b4-b5e1-49b9-8ebe-6ed03b279095" providerId="ADAL" clId="{377E9E7B-4F6F-498B-9A03-A50CD8E91FE8}" dt="2024-07-23T18:47:15.249" v="1711" actId="478"/>
          <ac:graphicFrameMkLst>
            <pc:docMk/>
            <pc:sldMk cId="537899077" sldId="2147473224"/>
            <ac:graphicFrameMk id="261" creationId="{D1113B7F-1AB5-6BD6-8BC2-FF513B7BB6DF}"/>
          </ac:graphicFrameMkLst>
        </pc:graphicFrameChg>
        <pc:picChg chg="add del mod">
          <ac:chgData name="Callum Stevenson" userId="86e384b4-b5e1-49b9-8ebe-6ed03b279095" providerId="ADAL" clId="{377E9E7B-4F6F-498B-9A03-A50CD8E91FE8}" dt="2024-07-24T01:29:51.933" v="4361" actId="478"/>
          <ac:picMkLst>
            <pc:docMk/>
            <pc:sldMk cId="537899077" sldId="2147473224"/>
            <ac:picMk id="10" creationId="{88F7AE84-DDE8-5635-95FC-79A9484FADFD}"/>
          </ac:picMkLst>
        </pc:picChg>
        <pc:picChg chg="add mod">
          <ac:chgData name="Callum Stevenson" userId="86e384b4-b5e1-49b9-8ebe-6ed03b279095" providerId="ADAL" clId="{377E9E7B-4F6F-498B-9A03-A50CD8E91FE8}" dt="2024-07-24T01:30:03.029" v="4365" actId="14100"/>
          <ac:picMkLst>
            <pc:docMk/>
            <pc:sldMk cId="537899077" sldId="2147473224"/>
            <ac:picMk id="14" creationId="{8DF54324-0823-1B78-42F0-1FC2420ED9B4}"/>
          </ac:picMkLst>
        </pc:picChg>
        <pc:picChg chg="del">
          <ac:chgData name="Callum Stevenson" userId="86e384b4-b5e1-49b9-8ebe-6ed03b279095" providerId="ADAL" clId="{377E9E7B-4F6F-498B-9A03-A50CD8E91FE8}" dt="2024-07-23T18:47:15.249" v="1711" actId="478"/>
          <ac:picMkLst>
            <pc:docMk/>
            <pc:sldMk cId="537899077" sldId="2147473224"/>
            <ac:picMk id="48" creationId="{A0692695-B948-DAC2-9369-D2C5A7151968}"/>
          </ac:picMkLst>
        </pc:picChg>
      </pc:sldChg>
      <pc:sldChg chg="addSp delSp modSp add mod modNotesTx">
        <pc:chgData name="Callum Stevenson" userId="86e384b4-b5e1-49b9-8ebe-6ed03b279095" providerId="ADAL" clId="{377E9E7B-4F6F-498B-9A03-A50CD8E91FE8}" dt="2024-07-25T13:12:43.546" v="9560" actId="20577"/>
        <pc:sldMkLst>
          <pc:docMk/>
          <pc:sldMk cId="313628890" sldId="2147473225"/>
        </pc:sldMkLst>
        <pc:spChg chg="mod">
          <ac:chgData name="Callum Stevenson" userId="86e384b4-b5e1-49b9-8ebe-6ed03b279095" providerId="ADAL" clId="{377E9E7B-4F6F-498B-9A03-A50CD8E91FE8}" dt="2024-07-23T18:47:58.953" v="1737" actId="20577"/>
          <ac:spMkLst>
            <pc:docMk/>
            <pc:sldMk cId="313628890" sldId="2147473225"/>
            <ac:spMk id="3" creationId="{DA889A8D-C759-4AFA-51E1-2F2D342A129A}"/>
          </ac:spMkLst>
        </pc:spChg>
        <pc:spChg chg="del">
          <ac:chgData name="Callum Stevenson" userId="86e384b4-b5e1-49b9-8ebe-6ed03b279095" providerId="ADAL" clId="{377E9E7B-4F6F-498B-9A03-A50CD8E91FE8}" dt="2024-07-23T18:50:41.592" v="1912" actId="478"/>
          <ac:spMkLst>
            <pc:docMk/>
            <pc:sldMk cId="313628890" sldId="2147473225"/>
            <ac:spMk id="4" creationId="{FF88DB2F-1B74-A372-CCAE-6F06D9413DE0}"/>
          </ac:spMkLst>
        </pc:spChg>
        <pc:spChg chg="mod">
          <ac:chgData name="Callum Stevenson" userId="86e384b4-b5e1-49b9-8ebe-6ed03b279095" providerId="ADAL" clId="{377E9E7B-4F6F-498B-9A03-A50CD8E91FE8}" dt="2024-07-23T18:49:37.951" v="1740" actId="1076"/>
          <ac:spMkLst>
            <pc:docMk/>
            <pc:sldMk cId="313628890" sldId="2147473225"/>
            <ac:spMk id="7" creationId="{FF3E0C21-38FF-166B-9AC1-E12BC0BD60C7}"/>
          </ac:spMkLst>
        </pc:spChg>
        <pc:spChg chg="mod">
          <ac:chgData name="Callum Stevenson" userId="86e384b4-b5e1-49b9-8ebe-6ed03b279095" providerId="ADAL" clId="{377E9E7B-4F6F-498B-9A03-A50CD8E91FE8}" dt="2024-07-23T18:49:37.951" v="1740" actId="1076"/>
          <ac:spMkLst>
            <pc:docMk/>
            <pc:sldMk cId="313628890" sldId="2147473225"/>
            <ac:spMk id="8" creationId="{4B0D1660-C4F2-B67E-5095-0730C23D2278}"/>
          </ac:spMkLst>
        </pc:spChg>
        <pc:spChg chg="mod">
          <ac:chgData name="Callum Stevenson" userId="86e384b4-b5e1-49b9-8ebe-6ed03b279095" providerId="ADAL" clId="{377E9E7B-4F6F-498B-9A03-A50CD8E91FE8}" dt="2024-07-23T18:49:37.951" v="1740" actId="1076"/>
          <ac:spMkLst>
            <pc:docMk/>
            <pc:sldMk cId="313628890" sldId="2147473225"/>
            <ac:spMk id="9" creationId="{EE9ACCAA-3B92-FBAD-E2DF-EFEE7F0A4512}"/>
          </ac:spMkLst>
        </pc:spChg>
        <pc:spChg chg="mod">
          <ac:chgData name="Callum Stevenson" userId="86e384b4-b5e1-49b9-8ebe-6ed03b279095" providerId="ADAL" clId="{377E9E7B-4F6F-498B-9A03-A50CD8E91FE8}" dt="2024-07-23T18:49:37.951" v="1740" actId="1076"/>
          <ac:spMkLst>
            <pc:docMk/>
            <pc:sldMk cId="313628890" sldId="2147473225"/>
            <ac:spMk id="10" creationId="{4920A1E8-F2A7-1F77-02BC-38A0D78C166F}"/>
          </ac:spMkLst>
        </pc:spChg>
        <pc:spChg chg="mod">
          <ac:chgData name="Callum Stevenson" userId="86e384b4-b5e1-49b9-8ebe-6ed03b279095" providerId="ADAL" clId="{377E9E7B-4F6F-498B-9A03-A50CD8E91FE8}" dt="2024-07-23T18:50:36.644" v="1911" actId="20577"/>
          <ac:spMkLst>
            <pc:docMk/>
            <pc:sldMk cId="313628890" sldId="2147473225"/>
            <ac:spMk id="11" creationId="{3E75D156-641F-A9C9-8843-92D424F32966}"/>
          </ac:spMkLst>
        </pc:spChg>
        <pc:spChg chg="mod">
          <ac:chgData name="Callum Stevenson" userId="86e384b4-b5e1-49b9-8ebe-6ed03b279095" providerId="ADAL" clId="{377E9E7B-4F6F-498B-9A03-A50CD8E91FE8}" dt="2024-07-23T18:49:37.951" v="1740" actId="1076"/>
          <ac:spMkLst>
            <pc:docMk/>
            <pc:sldMk cId="313628890" sldId="2147473225"/>
            <ac:spMk id="12" creationId="{0584205A-1884-5C4D-0109-84408E5216E2}"/>
          </ac:spMkLst>
        </pc:spChg>
        <pc:spChg chg="add mod">
          <ac:chgData name="Callum Stevenson" userId="86e384b4-b5e1-49b9-8ebe-6ed03b279095" providerId="ADAL" clId="{377E9E7B-4F6F-498B-9A03-A50CD8E91FE8}" dt="2024-07-23T22:31:31.956" v="3443" actId="20577"/>
          <ac:spMkLst>
            <pc:docMk/>
            <pc:sldMk cId="313628890" sldId="2147473225"/>
            <ac:spMk id="17" creationId="{BBE4D09E-A09E-2E12-7123-3EF917727C72}"/>
          </ac:spMkLst>
        </pc:spChg>
        <pc:spChg chg="add mod">
          <ac:chgData name="Callum Stevenson" userId="86e384b4-b5e1-49b9-8ebe-6ed03b279095" providerId="ADAL" clId="{377E9E7B-4F6F-498B-9A03-A50CD8E91FE8}" dt="2024-07-23T19:26:40.871" v="2245" actId="404"/>
          <ac:spMkLst>
            <pc:docMk/>
            <pc:sldMk cId="313628890" sldId="2147473225"/>
            <ac:spMk id="18" creationId="{12A93C13-7D28-CD4A-DCD0-88D8E3F56BF9}"/>
          </ac:spMkLst>
        </pc:spChg>
        <pc:spChg chg="add del mod">
          <ac:chgData name="Callum Stevenson" userId="86e384b4-b5e1-49b9-8ebe-6ed03b279095" providerId="ADAL" clId="{377E9E7B-4F6F-498B-9A03-A50CD8E91FE8}" dt="2024-07-23T19:25:38.915" v="2233" actId="478"/>
          <ac:spMkLst>
            <pc:docMk/>
            <pc:sldMk cId="313628890" sldId="2147473225"/>
            <ac:spMk id="19" creationId="{BF2E3A0F-85E7-AC69-6FE2-D94B7AF537D8}"/>
          </ac:spMkLst>
        </pc:spChg>
        <pc:spChg chg="add del mod">
          <ac:chgData name="Callum Stevenson" userId="86e384b4-b5e1-49b9-8ebe-6ed03b279095" providerId="ADAL" clId="{377E9E7B-4F6F-498B-9A03-A50CD8E91FE8}" dt="2024-07-23T19:25:38.915" v="2233" actId="478"/>
          <ac:spMkLst>
            <pc:docMk/>
            <pc:sldMk cId="313628890" sldId="2147473225"/>
            <ac:spMk id="20" creationId="{915A73A0-C024-F3EA-4FD2-9F01CEF85EF7}"/>
          </ac:spMkLst>
        </pc:spChg>
        <pc:spChg chg="add del mod">
          <ac:chgData name="Callum Stevenson" userId="86e384b4-b5e1-49b9-8ebe-6ed03b279095" providerId="ADAL" clId="{377E9E7B-4F6F-498B-9A03-A50CD8E91FE8}" dt="2024-07-23T19:25:38.915" v="2233" actId="478"/>
          <ac:spMkLst>
            <pc:docMk/>
            <pc:sldMk cId="313628890" sldId="2147473225"/>
            <ac:spMk id="21" creationId="{72583832-625C-A034-E41E-F8988D2DD866}"/>
          </ac:spMkLst>
        </pc:spChg>
        <pc:spChg chg="add del mod">
          <ac:chgData name="Callum Stevenson" userId="86e384b4-b5e1-49b9-8ebe-6ed03b279095" providerId="ADAL" clId="{377E9E7B-4F6F-498B-9A03-A50CD8E91FE8}" dt="2024-07-23T19:25:38.915" v="2233" actId="478"/>
          <ac:spMkLst>
            <pc:docMk/>
            <pc:sldMk cId="313628890" sldId="2147473225"/>
            <ac:spMk id="22" creationId="{1D434413-738F-687F-300B-4EF11DEBD5F6}"/>
          </ac:spMkLst>
        </pc:spChg>
        <pc:spChg chg="add del mod">
          <ac:chgData name="Callum Stevenson" userId="86e384b4-b5e1-49b9-8ebe-6ed03b279095" providerId="ADAL" clId="{377E9E7B-4F6F-498B-9A03-A50CD8E91FE8}" dt="2024-07-23T19:25:38.915" v="2233" actId="478"/>
          <ac:spMkLst>
            <pc:docMk/>
            <pc:sldMk cId="313628890" sldId="2147473225"/>
            <ac:spMk id="23" creationId="{E17BD115-4054-1A4B-9963-AB8192D23ECB}"/>
          </ac:spMkLst>
        </pc:spChg>
        <pc:spChg chg="add del mod">
          <ac:chgData name="Callum Stevenson" userId="86e384b4-b5e1-49b9-8ebe-6ed03b279095" providerId="ADAL" clId="{377E9E7B-4F6F-498B-9A03-A50CD8E91FE8}" dt="2024-07-23T19:25:38.915" v="2233" actId="478"/>
          <ac:spMkLst>
            <pc:docMk/>
            <pc:sldMk cId="313628890" sldId="2147473225"/>
            <ac:spMk id="24" creationId="{5305596B-6ECA-8C54-4AE3-B0E7B883FCBE}"/>
          </ac:spMkLst>
        </pc:spChg>
        <pc:spChg chg="add del">
          <ac:chgData name="Callum Stevenson" userId="86e384b4-b5e1-49b9-8ebe-6ed03b279095" providerId="ADAL" clId="{377E9E7B-4F6F-498B-9A03-A50CD8E91FE8}" dt="2024-07-23T19:22:20.544" v="2139" actId="478"/>
          <ac:spMkLst>
            <pc:docMk/>
            <pc:sldMk cId="313628890" sldId="2147473225"/>
            <ac:spMk id="25" creationId="{10CF62DD-5B6F-0A68-E8C7-B8E9D44B6060}"/>
          </ac:spMkLst>
        </pc:spChg>
        <pc:spChg chg="add del mod">
          <ac:chgData name="Callum Stevenson" userId="86e384b4-b5e1-49b9-8ebe-6ed03b279095" providerId="ADAL" clId="{377E9E7B-4F6F-498B-9A03-A50CD8E91FE8}" dt="2024-07-23T19:25:38.915" v="2233" actId="478"/>
          <ac:spMkLst>
            <pc:docMk/>
            <pc:sldMk cId="313628890" sldId="2147473225"/>
            <ac:spMk id="26" creationId="{C934CB1F-9BB1-21F8-F92F-705AFCF4B5E6}"/>
          </ac:spMkLst>
        </pc:spChg>
        <pc:spChg chg="add del">
          <ac:chgData name="Callum Stevenson" userId="86e384b4-b5e1-49b9-8ebe-6ed03b279095" providerId="ADAL" clId="{377E9E7B-4F6F-498B-9A03-A50CD8E91FE8}" dt="2024-07-23T19:25:08.945" v="2228" actId="11529"/>
          <ac:spMkLst>
            <pc:docMk/>
            <pc:sldMk cId="313628890" sldId="2147473225"/>
            <ac:spMk id="27" creationId="{4EC1A1E1-31DF-DEF5-0395-5F27D7CB031E}"/>
          </ac:spMkLst>
        </pc:spChg>
        <pc:spChg chg="add mod">
          <ac:chgData name="Callum Stevenson" userId="86e384b4-b5e1-49b9-8ebe-6ed03b279095" providerId="ADAL" clId="{377E9E7B-4F6F-498B-9A03-A50CD8E91FE8}" dt="2024-07-23T19:27:39.894" v="2282" actId="404"/>
          <ac:spMkLst>
            <pc:docMk/>
            <pc:sldMk cId="313628890" sldId="2147473225"/>
            <ac:spMk id="28" creationId="{D2E0DA1F-3968-FBDC-D78F-C321566EFE8E}"/>
          </ac:spMkLst>
        </pc:spChg>
        <pc:spChg chg="add mod">
          <ac:chgData name="Callum Stevenson" userId="86e384b4-b5e1-49b9-8ebe-6ed03b279095" providerId="ADAL" clId="{377E9E7B-4F6F-498B-9A03-A50CD8E91FE8}" dt="2024-07-23T19:27:39.894" v="2282" actId="404"/>
          <ac:spMkLst>
            <pc:docMk/>
            <pc:sldMk cId="313628890" sldId="2147473225"/>
            <ac:spMk id="29" creationId="{B20B3BAF-4056-E4D8-F979-1AAC70EA7BC0}"/>
          </ac:spMkLst>
        </pc:spChg>
        <pc:spChg chg="add mod">
          <ac:chgData name="Callum Stevenson" userId="86e384b4-b5e1-49b9-8ebe-6ed03b279095" providerId="ADAL" clId="{377E9E7B-4F6F-498B-9A03-A50CD8E91FE8}" dt="2024-07-23T19:27:39.894" v="2282" actId="404"/>
          <ac:spMkLst>
            <pc:docMk/>
            <pc:sldMk cId="313628890" sldId="2147473225"/>
            <ac:spMk id="30" creationId="{7ECED149-D7C3-538C-D3AF-A040EA5FFC7F}"/>
          </ac:spMkLst>
        </pc:spChg>
        <pc:spChg chg="add del mod">
          <ac:chgData name="Callum Stevenson" userId="86e384b4-b5e1-49b9-8ebe-6ed03b279095" providerId="ADAL" clId="{377E9E7B-4F6F-498B-9A03-A50CD8E91FE8}" dt="2024-07-23T19:26:05.918" v="2238" actId="478"/>
          <ac:spMkLst>
            <pc:docMk/>
            <pc:sldMk cId="313628890" sldId="2147473225"/>
            <ac:spMk id="31" creationId="{6A5D0410-F3EB-BC74-BCF9-3D3AB223751B}"/>
          </ac:spMkLst>
        </pc:spChg>
        <pc:spChg chg="add mod">
          <ac:chgData name="Callum Stevenson" userId="86e384b4-b5e1-49b9-8ebe-6ed03b279095" providerId="ADAL" clId="{377E9E7B-4F6F-498B-9A03-A50CD8E91FE8}" dt="2024-07-23T19:27:39.894" v="2282" actId="404"/>
          <ac:spMkLst>
            <pc:docMk/>
            <pc:sldMk cId="313628890" sldId="2147473225"/>
            <ac:spMk id="32" creationId="{C2E3E7EC-33E9-CB3D-40ED-9A34ABF6BDCF}"/>
          </ac:spMkLst>
        </pc:spChg>
        <pc:spChg chg="add mod">
          <ac:chgData name="Callum Stevenson" userId="86e384b4-b5e1-49b9-8ebe-6ed03b279095" providerId="ADAL" clId="{377E9E7B-4F6F-498B-9A03-A50CD8E91FE8}" dt="2024-07-23T19:27:39.894" v="2282" actId="404"/>
          <ac:spMkLst>
            <pc:docMk/>
            <pc:sldMk cId="313628890" sldId="2147473225"/>
            <ac:spMk id="33" creationId="{F82ECCA7-85C0-39D4-A44E-0EC7898B8A6D}"/>
          </ac:spMkLst>
        </pc:spChg>
        <pc:spChg chg="add mod">
          <ac:chgData name="Callum Stevenson" userId="86e384b4-b5e1-49b9-8ebe-6ed03b279095" providerId="ADAL" clId="{377E9E7B-4F6F-498B-9A03-A50CD8E91FE8}" dt="2024-07-23T19:27:39.894" v="2282" actId="404"/>
          <ac:spMkLst>
            <pc:docMk/>
            <pc:sldMk cId="313628890" sldId="2147473225"/>
            <ac:spMk id="34" creationId="{50EE252A-E20F-06EB-FA51-6713E5517E52}"/>
          </ac:spMkLst>
        </pc:spChg>
        <pc:spChg chg="add mod">
          <ac:chgData name="Callum Stevenson" userId="86e384b4-b5e1-49b9-8ebe-6ed03b279095" providerId="ADAL" clId="{377E9E7B-4F6F-498B-9A03-A50CD8E91FE8}" dt="2024-07-23T19:28:22.839" v="2341" actId="404"/>
          <ac:spMkLst>
            <pc:docMk/>
            <pc:sldMk cId="313628890" sldId="2147473225"/>
            <ac:spMk id="35" creationId="{9D0A5EFF-207D-A2C8-2132-0AEFB4A8C748}"/>
          </ac:spMkLst>
        </pc:spChg>
        <pc:spChg chg="add mod">
          <ac:chgData name="Callum Stevenson" userId="86e384b4-b5e1-49b9-8ebe-6ed03b279095" providerId="ADAL" clId="{377E9E7B-4F6F-498B-9A03-A50CD8E91FE8}" dt="2024-07-23T19:28:44.066" v="2388" actId="20577"/>
          <ac:spMkLst>
            <pc:docMk/>
            <pc:sldMk cId="313628890" sldId="2147473225"/>
            <ac:spMk id="36" creationId="{15538BC6-76E8-839F-8B83-0DC6F3BC5631}"/>
          </ac:spMkLst>
        </pc:spChg>
        <pc:spChg chg="add mod">
          <ac:chgData name="Callum Stevenson" userId="86e384b4-b5e1-49b9-8ebe-6ed03b279095" providerId="ADAL" clId="{377E9E7B-4F6F-498B-9A03-A50CD8E91FE8}" dt="2024-07-23T19:29:10.225" v="2413" actId="20577"/>
          <ac:spMkLst>
            <pc:docMk/>
            <pc:sldMk cId="313628890" sldId="2147473225"/>
            <ac:spMk id="37" creationId="{D31361B0-B836-5F2D-E423-D8696C8E9C70}"/>
          </ac:spMkLst>
        </pc:spChg>
        <pc:spChg chg="add mod">
          <ac:chgData name="Callum Stevenson" userId="86e384b4-b5e1-49b9-8ebe-6ed03b279095" providerId="ADAL" clId="{377E9E7B-4F6F-498B-9A03-A50CD8E91FE8}" dt="2024-07-23T22:31:32.437" v="3444" actId="20577"/>
          <ac:spMkLst>
            <pc:docMk/>
            <pc:sldMk cId="313628890" sldId="2147473225"/>
            <ac:spMk id="38" creationId="{00CD2A3E-4669-D400-DCBA-0CECEEAB6DE2}"/>
          </ac:spMkLst>
        </pc:spChg>
        <pc:spChg chg="add mod">
          <ac:chgData name="Callum Stevenson" userId="86e384b4-b5e1-49b9-8ebe-6ed03b279095" providerId="ADAL" clId="{377E9E7B-4F6F-498B-9A03-A50CD8E91FE8}" dt="2024-07-23T19:31:58.584" v="2650" actId="20577"/>
          <ac:spMkLst>
            <pc:docMk/>
            <pc:sldMk cId="313628890" sldId="2147473225"/>
            <ac:spMk id="39" creationId="{2405944F-D58C-DFAD-9544-15BAF6D6247E}"/>
          </ac:spMkLst>
        </pc:spChg>
        <pc:spChg chg="add mod">
          <ac:chgData name="Callum Stevenson" userId="86e384b4-b5e1-49b9-8ebe-6ed03b279095" providerId="ADAL" clId="{377E9E7B-4F6F-498B-9A03-A50CD8E91FE8}" dt="2024-07-23T19:31:55.280" v="2648" actId="20577"/>
          <ac:spMkLst>
            <pc:docMk/>
            <pc:sldMk cId="313628890" sldId="2147473225"/>
            <ac:spMk id="40" creationId="{0BAE67F8-5AC5-9727-5B88-8D492B94A878}"/>
          </ac:spMkLst>
        </pc:spChg>
        <pc:grpChg chg="add mod">
          <ac:chgData name="Callum Stevenson" userId="86e384b4-b5e1-49b9-8ebe-6ed03b279095" providerId="ADAL" clId="{377E9E7B-4F6F-498B-9A03-A50CD8E91FE8}" dt="2024-07-23T18:49:37.951" v="1740" actId="1076"/>
          <ac:grpSpMkLst>
            <pc:docMk/>
            <pc:sldMk cId="313628890" sldId="2147473225"/>
            <ac:grpSpMk id="2" creationId="{E4C46F48-E034-7553-4409-39D13D195877}"/>
          </ac:grpSpMkLst>
        </pc:grpChg>
        <pc:picChg chg="del">
          <ac:chgData name="Callum Stevenson" userId="86e384b4-b5e1-49b9-8ebe-6ed03b279095" providerId="ADAL" clId="{377E9E7B-4F6F-498B-9A03-A50CD8E91FE8}" dt="2024-07-23T18:49:31.035" v="1738" actId="478"/>
          <ac:picMkLst>
            <pc:docMk/>
            <pc:sldMk cId="313628890" sldId="2147473225"/>
            <ac:picMk id="5" creationId="{02430A23-0F41-9B29-4839-2B05719EAFDC}"/>
          </ac:picMkLst>
        </pc:picChg>
        <pc:picChg chg="add mod">
          <ac:chgData name="Callum Stevenson" userId="86e384b4-b5e1-49b9-8ebe-6ed03b279095" providerId="ADAL" clId="{377E9E7B-4F6F-498B-9A03-A50CD8E91FE8}" dt="2024-07-23T19:26:35.675" v="2243" actId="14100"/>
          <ac:picMkLst>
            <pc:docMk/>
            <pc:sldMk cId="313628890" sldId="2147473225"/>
            <ac:picMk id="14" creationId="{62294DF2-9C4E-477F-C708-6F2BFFAD7774}"/>
          </ac:picMkLst>
        </pc:picChg>
        <pc:picChg chg="add mod">
          <ac:chgData name="Callum Stevenson" userId="86e384b4-b5e1-49b9-8ebe-6ed03b279095" providerId="ADAL" clId="{377E9E7B-4F6F-498B-9A03-A50CD8E91FE8}" dt="2024-07-23T19:26:27.452" v="2241" actId="14100"/>
          <ac:picMkLst>
            <pc:docMk/>
            <pc:sldMk cId="313628890" sldId="2147473225"/>
            <ac:picMk id="16" creationId="{AE4DEFA3-2826-06DA-E734-966B07C9FE70}"/>
          </ac:picMkLst>
        </pc:picChg>
      </pc:sldChg>
      <pc:sldChg chg="addSp delSp modSp add mod modNotesTx">
        <pc:chgData name="Callum Stevenson" userId="86e384b4-b5e1-49b9-8ebe-6ed03b279095" providerId="ADAL" clId="{377E9E7B-4F6F-498B-9A03-A50CD8E91FE8}" dt="2024-07-25T13:18:49.423" v="10293" actId="20577"/>
        <pc:sldMkLst>
          <pc:docMk/>
          <pc:sldMk cId="2137981655" sldId="2147473229"/>
        </pc:sldMkLst>
        <pc:spChg chg="mod">
          <ac:chgData name="Callum Stevenson" userId="86e384b4-b5e1-49b9-8ebe-6ed03b279095" providerId="ADAL" clId="{377E9E7B-4F6F-498B-9A03-A50CD8E91FE8}" dt="2024-07-23T19:38:33.117" v="2671" actId="20577"/>
          <ac:spMkLst>
            <pc:docMk/>
            <pc:sldMk cId="2137981655" sldId="2147473229"/>
            <ac:spMk id="3" creationId="{DA889A8D-C759-4AFA-51E1-2F2D342A129A}"/>
          </ac:spMkLst>
        </pc:spChg>
        <pc:spChg chg="mod">
          <ac:chgData name="Callum Stevenson" userId="86e384b4-b5e1-49b9-8ebe-6ed03b279095" providerId="ADAL" clId="{377E9E7B-4F6F-498B-9A03-A50CD8E91FE8}" dt="2024-07-23T19:40:18.728" v="2783" actId="313"/>
          <ac:spMkLst>
            <pc:docMk/>
            <pc:sldMk cId="2137981655" sldId="2147473229"/>
            <ac:spMk id="11" creationId="{3E75D156-641F-A9C9-8843-92D424F32966}"/>
          </ac:spMkLst>
        </pc:spChg>
        <pc:spChg chg="add mod">
          <ac:chgData name="Callum Stevenson" userId="86e384b4-b5e1-49b9-8ebe-6ed03b279095" providerId="ADAL" clId="{377E9E7B-4F6F-498B-9A03-A50CD8E91FE8}" dt="2024-07-23T22:33:07.565" v="3448" actId="693"/>
          <ac:spMkLst>
            <pc:docMk/>
            <pc:sldMk cId="2137981655" sldId="2147473229"/>
            <ac:spMk id="13" creationId="{BD9E5D7C-96B9-7EC1-FD7D-030FFF9E793D}"/>
          </ac:spMkLst>
        </pc:spChg>
        <pc:spChg chg="add mod">
          <ac:chgData name="Callum Stevenson" userId="86e384b4-b5e1-49b9-8ebe-6ed03b279095" providerId="ADAL" clId="{377E9E7B-4F6F-498B-9A03-A50CD8E91FE8}" dt="2024-07-23T22:27:21.436" v="3420" actId="1076"/>
          <ac:spMkLst>
            <pc:docMk/>
            <pc:sldMk cId="2137981655" sldId="2147473229"/>
            <ac:spMk id="15" creationId="{4B2B4CDC-4579-1108-D0A7-F82D7AB58FF7}"/>
          </ac:spMkLst>
        </pc:spChg>
        <pc:spChg chg="del">
          <ac:chgData name="Callum Stevenson" userId="86e384b4-b5e1-49b9-8ebe-6ed03b279095" providerId="ADAL" clId="{377E9E7B-4F6F-498B-9A03-A50CD8E91FE8}" dt="2024-07-23T19:51:28.739" v="2785" actId="478"/>
          <ac:spMkLst>
            <pc:docMk/>
            <pc:sldMk cId="2137981655" sldId="2147473229"/>
            <ac:spMk id="17" creationId="{BBE4D09E-A09E-2E12-7123-3EF917727C72}"/>
          </ac:spMkLst>
        </pc:spChg>
        <pc:spChg chg="del">
          <ac:chgData name="Callum Stevenson" userId="86e384b4-b5e1-49b9-8ebe-6ed03b279095" providerId="ADAL" clId="{377E9E7B-4F6F-498B-9A03-A50CD8E91FE8}" dt="2024-07-23T19:51:24.344" v="2784" actId="478"/>
          <ac:spMkLst>
            <pc:docMk/>
            <pc:sldMk cId="2137981655" sldId="2147473229"/>
            <ac:spMk id="18" creationId="{12A93C13-7D28-CD4A-DCD0-88D8E3F56BF9}"/>
          </ac:spMkLst>
        </pc:spChg>
        <pc:spChg chg="add mod">
          <ac:chgData name="Callum Stevenson" userId="86e384b4-b5e1-49b9-8ebe-6ed03b279095" providerId="ADAL" clId="{377E9E7B-4F6F-498B-9A03-A50CD8E91FE8}" dt="2024-07-23T20:02:10.167" v="3399" actId="14100"/>
          <ac:spMkLst>
            <pc:docMk/>
            <pc:sldMk cId="2137981655" sldId="2147473229"/>
            <ac:spMk id="19" creationId="{433FB3C8-AD47-F9CF-D800-FEACED192AAB}"/>
          </ac:spMkLst>
        </pc:spChg>
        <pc:spChg chg="add mod">
          <ac:chgData name="Callum Stevenson" userId="86e384b4-b5e1-49b9-8ebe-6ed03b279095" providerId="ADAL" clId="{377E9E7B-4F6F-498B-9A03-A50CD8E91FE8}" dt="2024-07-23T22:32:37.781" v="3446" actId="571"/>
          <ac:spMkLst>
            <pc:docMk/>
            <pc:sldMk cId="2137981655" sldId="2147473229"/>
            <ac:spMk id="24" creationId="{EB619FB8-6138-BF57-1979-9C6E206F873D}"/>
          </ac:spMkLst>
        </pc:spChg>
        <pc:spChg chg="add mod">
          <ac:chgData name="Callum Stevenson" userId="86e384b4-b5e1-49b9-8ebe-6ed03b279095" providerId="ADAL" clId="{377E9E7B-4F6F-498B-9A03-A50CD8E91FE8}" dt="2024-07-23T22:32:37.781" v="3446" actId="571"/>
          <ac:spMkLst>
            <pc:docMk/>
            <pc:sldMk cId="2137981655" sldId="2147473229"/>
            <ac:spMk id="25" creationId="{502721B1-ED5F-5C28-A095-86A4B2421581}"/>
          </ac:spMkLst>
        </pc:spChg>
        <pc:spChg chg="mod">
          <ac:chgData name="Callum Stevenson" userId="86e384b4-b5e1-49b9-8ebe-6ed03b279095" providerId="ADAL" clId="{377E9E7B-4F6F-498B-9A03-A50CD8E91FE8}" dt="2024-07-23T19:52:41.346" v="2813" actId="20577"/>
          <ac:spMkLst>
            <pc:docMk/>
            <pc:sldMk cId="2137981655" sldId="2147473229"/>
            <ac:spMk id="28" creationId="{D2E0DA1F-3968-FBDC-D78F-C321566EFE8E}"/>
          </ac:spMkLst>
        </pc:spChg>
        <pc:spChg chg="mod">
          <ac:chgData name="Callum Stevenson" userId="86e384b4-b5e1-49b9-8ebe-6ed03b279095" providerId="ADAL" clId="{377E9E7B-4F6F-498B-9A03-A50CD8E91FE8}" dt="2024-07-23T22:27:21.436" v="3420" actId="1076"/>
          <ac:spMkLst>
            <pc:docMk/>
            <pc:sldMk cId="2137981655" sldId="2147473229"/>
            <ac:spMk id="29" creationId="{B20B3BAF-4056-E4D8-F979-1AAC70EA7BC0}"/>
          </ac:spMkLst>
        </pc:spChg>
        <pc:spChg chg="mod">
          <ac:chgData name="Callum Stevenson" userId="86e384b4-b5e1-49b9-8ebe-6ed03b279095" providerId="ADAL" clId="{377E9E7B-4F6F-498B-9A03-A50CD8E91FE8}" dt="2024-07-23T20:00:41.010" v="3264" actId="14100"/>
          <ac:spMkLst>
            <pc:docMk/>
            <pc:sldMk cId="2137981655" sldId="2147473229"/>
            <ac:spMk id="30" creationId="{7ECED149-D7C3-538C-D3AF-A040EA5FFC7F}"/>
          </ac:spMkLst>
        </pc:spChg>
        <pc:spChg chg="del">
          <ac:chgData name="Callum Stevenson" userId="86e384b4-b5e1-49b9-8ebe-6ed03b279095" providerId="ADAL" clId="{377E9E7B-4F6F-498B-9A03-A50CD8E91FE8}" dt="2024-07-23T19:51:24.344" v="2784" actId="478"/>
          <ac:spMkLst>
            <pc:docMk/>
            <pc:sldMk cId="2137981655" sldId="2147473229"/>
            <ac:spMk id="32" creationId="{C2E3E7EC-33E9-CB3D-40ED-9A34ABF6BDCF}"/>
          </ac:spMkLst>
        </pc:spChg>
        <pc:spChg chg="del">
          <ac:chgData name="Callum Stevenson" userId="86e384b4-b5e1-49b9-8ebe-6ed03b279095" providerId="ADAL" clId="{377E9E7B-4F6F-498B-9A03-A50CD8E91FE8}" dt="2024-07-23T19:51:24.344" v="2784" actId="478"/>
          <ac:spMkLst>
            <pc:docMk/>
            <pc:sldMk cId="2137981655" sldId="2147473229"/>
            <ac:spMk id="33" creationId="{F82ECCA7-85C0-39D4-A44E-0EC7898B8A6D}"/>
          </ac:spMkLst>
        </pc:spChg>
        <pc:spChg chg="del">
          <ac:chgData name="Callum Stevenson" userId="86e384b4-b5e1-49b9-8ebe-6ed03b279095" providerId="ADAL" clId="{377E9E7B-4F6F-498B-9A03-A50CD8E91FE8}" dt="2024-07-23T19:51:24.344" v="2784" actId="478"/>
          <ac:spMkLst>
            <pc:docMk/>
            <pc:sldMk cId="2137981655" sldId="2147473229"/>
            <ac:spMk id="34" creationId="{50EE252A-E20F-06EB-FA51-6713E5517E52}"/>
          </ac:spMkLst>
        </pc:spChg>
        <pc:spChg chg="mod">
          <ac:chgData name="Callum Stevenson" userId="86e384b4-b5e1-49b9-8ebe-6ed03b279095" providerId="ADAL" clId="{377E9E7B-4F6F-498B-9A03-A50CD8E91FE8}" dt="2024-07-23T20:02:28.471" v="3404" actId="14100"/>
          <ac:spMkLst>
            <pc:docMk/>
            <pc:sldMk cId="2137981655" sldId="2147473229"/>
            <ac:spMk id="35" creationId="{9D0A5EFF-207D-A2C8-2132-0AEFB4A8C748}"/>
          </ac:spMkLst>
        </pc:spChg>
        <pc:spChg chg="mod">
          <ac:chgData name="Callum Stevenson" userId="86e384b4-b5e1-49b9-8ebe-6ed03b279095" providerId="ADAL" clId="{377E9E7B-4F6F-498B-9A03-A50CD8E91FE8}" dt="2024-07-23T22:33:07.565" v="3448" actId="693"/>
          <ac:spMkLst>
            <pc:docMk/>
            <pc:sldMk cId="2137981655" sldId="2147473229"/>
            <ac:spMk id="36" creationId="{15538BC6-76E8-839F-8B83-0DC6F3BC5631}"/>
          </ac:spMkLst>
        </pc:spChg>
        <pc:spChg chg="mod">
          <ac:chgData name="Callum Stevenson" userId="86e384b4-b5e1-49b9-8ebe-6ed03b279095" providerId="ADAL" clId="{377E9E7B-4F6F-498B-9A03-A50CD8E91FE8}" dt="2024-07-23T22:33:07.565" v="3448" actId="693"/>
          <ac:spMkLst>
            <pc:docMk/>
            <pc:sldMk cId="2137981655" sldId="2147473229"/>
            <ac:spMk id="37" creationId="{D31361B0-B836-5F2D-E423-D8696C8E9C70}"/>
          </ac:spMkLst>
        </pc:spChg>
        <pc:spChg chg="del">
          <ac:chgData name="Callum Stevenson" userId="86e384b4-b5e1-49b9-8ebe-6ed03b279095" providerId="ADAL" clId="{377E9E7B-4F6F-498B-9A03-A50CD8E91FE8}" dt="2024-07-23T19:51:24.344" v="2784" actId="478"/>
          <ac:spMkLst>
            <pc:docMk/>
            <pc:sldMk cId="2137981655" sldId="2147473229"/>
            <ac:spMk id="38" creationId="{00CD2A3E-4669-D400-DCBA-0CECEEAB6DE2}"/>
          </ac:spMkLst>
        </pc:spChg>
        <pc:spChg chg="del">
          <ac:chgData name="Callum Stevenson" userId="86e384b4-b5e1-49b9-8ebe-6ed03b279095" providerId="ADAL" clId="{377E9E7B-4F6F-498B-9A03-A50CD8E91FE8}" dt="2024-07-23T19:51:24.344" v="2784" actId="478"/>
          <ac:spMkLst>
            <pc:docMk/>
            <pc:sldMk cId="2137981655" sldId="2147473229"/>
            <ac:spMk id="39" creationId="{2405944F-D58C-DFAD-9544-15BAF6D6247E}"/>
          </ac:spMkLst>
        </pc:spChg>
        <pc:spChg chg="del">
          <ac:chgData name="Callum Stevenson" userId="86e384b4-b5e1-49b9-8ebe-6ed03b279095" providerId="ADAL" clId="{377E9E7B-4F6F-498B-9A03-A50CD8E91FE8}" dt="2024-07-23T19:51:24.344" v="2784" actId="478"/>
          <ac:spMkLst>
            <pc:docMk/>
            <pc:sldMk cId="2137981655" sldId="2147473229"/>
            <ac:spMk id="40" creationId="{0BAE67F8-5AC5-9727-5B88-8D492B94A878}"/>
          </ac:spMkLst>
        </pc:spChg>
        <pc:spChg chg="add mod">
          <ac:chgData name="Callum Stevenson" userId="86e384b4-b5e1-49b9-8ebe-6ed03b279095" providerId="ADAL" clId="{377E9E7B-4F6F-498B-9A03-A50CD8E91FE8}" dt="2024-07-23T23:12:23.181" v="3523" actId="1076"/>
          <ac:spMkLst>
            <pc:docMk/>
            <pc:sldMk cId="2137981655" sldId="2147473229"/>
            <ac:spMk id="44" creationId="{A8957F25-0AF0-F3BA-1D26-924A1AD8FE97}"/>
          </ac:spMkLst>
        </pc:spChg>
        <pc:grpChg chg="del">
          <ac:chgData name="Callum Stevenson" userId="86e384b4-b5e1-49b9-8ebe-6ed03b279095" providerId="ADAL" clId="{377E9E7B-4F6F-498B-9A03-A50CD8E91FE8}" dt="2024-07-23T19:39:20.753" v="2672" actId="478"/>
          <ac:grpSpMkLst>
            <pc:docMk/>
            <pc:sldMk cId="2137981655" sldId="2147473229"/>
            <ac:grpSpMk id="2" creationId="{E4C46F48-E034-7553-4409-39D13D195877}"/>
          </ac:grpSpMkLst>
        </pc:grpChg>
        <pc:picChg chg="add mod">
          <ac:chgData name="Callum Stevenson" userId="86e384b4-b5e1-49b9-8ebe-6ed03b279095" providerId="ADAL" clId="{377E9E7B-4F6F-498B-9A03-A50CD8E91FE8}" dt="2024-07-23T19:39:40.282" v="2681" actId="1076"/>
          <ac:picMkLst>
            <pc:docMk/>
            <pc:sldMk cId="2137981655" sldId="2147473229"/>
            <ac:picMk id="5" creationId="{D978255B-8149-6211-0929-D3086201AA57}"/>
          </ac:picMkLst>
        </pc:picChg>
        <pc:picChg chg="del">
          <ac:chgData name="Callum Stevenson" userId="86e384b4-b5e1-49b9-8ebe-6ed03b279095" providerId="ADAL" clId="{377E9E7B-4F6F-498B-9A03-A50CD8E91FE8}" dt="2024-07-23T19:51:24.344" v="2784" actId="478"/>
          <ac:picMkLst>
            <pc:docMk/>
            <pc:sldMk cId="2137981655" sldId="2147473229"/>
            <ac:picMk id="14" creationId="{62294DF2-9C4E-477F-C708-6F2BFFAD7774}"/>
          </ac:picMkLst>
        </pc:picChg>
        <pc:picChg chg="del">
          <ac:chgData name="Callum Stevenson" userId="86e384b4-b5e1-49b9-8ebe-6ed03b279095" providerId="ADAL" clId="{377E9E7B-4F6F-498B-9A03-A50CD8E91FE8}" dt="2024-07-23T19:51:28.739" v="2785" actId="478"/>
          <ac:picMkLst>
            <pc:docMk/>
            <pc:sldMk cId="2137981655" sldId="2147473229"/>
            <ac:picMk id="16" creationId="{AE4DEFA3-2826-06DA-E734-966B07C9FE70}"/>
          </ac:picMkLst>
        </pc:picChg>
        <pc:picChg chg="add del mod">
          <ac:chgData name="Callum Stevenson" userId="86e384b4-b5e1-49b9-8ebe-6ed03b279095" providerId="ADAL" clId="{377E9E7B-4F6F-498B-9A03-A50CD8E91FE8}" dt="2024-07-23T22:28:50.813" v="3421" actId="478"/>
          <ac:picMkLst>
            <pc:docMk/>
            <pc:sldMk cId="2137981655" sldId="2147473229"/>
            <ac:picMk id="21" creationId="{F22A4719-7D27-05F2-A883-AAAB336E38C1}"/>
          </ac:picMkLst>
        </pc:picChg>
        <pc:picChg chg="add del mod">
          <ac:chgData name="Callum Stevenson" userId="86e384b4-b5e1-49b9-8ebe-6ed03b279095" providerId="ADAL" clId="{377E9E7B-4F6F-498B-9A03-A50CD8E91FE8}" dt="2024-07-23T22:29:33.701" v="3430" actId="478"/>
          <ac:picMkLst>
            <pc:docMk/>
            <pc:sldMk cId="2137981655" sldId="2147473229"/>
            <ac:picMk id="23" creationId="{E2469EE1-3453-7B56-339B-F83058E4A5BB}"/>
          </ac:picMkLst>
        </pc:picChg>
        <pc:picChg chg="add del mod">
          <ac:chgData name="Callum Stevenson" userId="86e384b4-b5e1-49b9-8ebe-6ed03b279095" providerId="ADAL" clId="{377E9E7B-4F6F-498B-9A03-A50CD8E91FE8}" dt="2024-07-23T22:42:21.405" v="3454" actId="478"/>
          <ac:picMkLst>
            <pc:docMk/>
            <pc:sldMk cId="2137981655" sldId="2147473229"/>
            <ac:picMk id="27" creationId="{EF8E64C6-830C-0D0A-B3A6-1B357A5CEBB9}"/>
          </ac:picMkLst>
        </pc:picChg>
        <pc:picChg chg="add del mod">
          <ac:chgData name="Callum Stevenson" userId="86e384b4-b5e1-49b9-8ebe-6ed03b279095" providerId="ADAL" clId="{377E9E7B-4F6F-498B-9A03-A50CD8E91FE8}" dt="2024-07-23T22:50:53.327" v="3459" actId="478"/>
          <ac:picMkLst>
            <pc:docMk/>
            <pc:sldMk cId="2137981655" sldId="2147473229"/>
            <ac:picMk id="41" creationId="{5AA22428-B4CC-970C-9DCC-A0BDEFC19B50}"/>
          </ac:picMkLst>
        </pc:picChg>
        <pc:picChg chg="add del mod">
          <ac:chgData name="Callum Stevenson" userId="86e384b4-b5e1-49b9-8ebe-6ed03b279095" providerId="ADAL" clId="{377E9E7B-4F6F-498B-9A03-A50CD8E91FE8}" dt="2024-07-23T23:33:53.132" v="3525" actId="478"/>
          <ac:picMkLst>
            <pc:docMk/>
            <pc:sldMk cId="2137981655" sldId="2147473229"/>
            <ac:picMk id="43" creationId="{86DCA22A-5E0C-AE22-9EFD-C7C9C1F43CB1}"/>
          </ac:picMkLst>
        </pc:picChg>
        <pc:picChg chg="add mod">
          <ac:chgData name="Callum Stevenson" userId="86e384b4-b5e1-49b9-8ebe-6ed03b279095" providerId="ADAL" clId="{377E9E7B-4F6F-498B-9A03-A50CD8E91FE8}" dt="2024-07-23T23:34:05.338" v="3529" actId="14100"/>
          <ac:picMkLst>
            <pc:docMk/>
            <pc:sldMk cId="2137981655" sldId="2147473229"/>
            <ac:picMk id="46" creationId="{F924B5B5-DC43-A540-C542-213CA6D32D95}"/>
          </ac:picMkLst>
        </pc:picChg>
      </pc:sldChg>
      <pc:sldChg chg="modSp mod modShow">
        <pc:chgData name="Callum Stevenson" userId="86e384b4-b5e1-49b9-8ebe-6ed03b279095" providerId="ADAL" clId="{377E9E7B-4F6F-498B-9A03-A50CD8E91FE8}" dt="2024-07-24T00:00:57.493" v="3531" actId="729"/>
        <pc:sldMkLst>
          <pc:docMk/>
          <pc:sldMk cId="2877215239" sldId="2147473230"/>
        </pc:sldMkLst>
        <pc:spChg chg="mod">
          <ac:chgData name="Callum Stevenson" userId="86e384b4-b5e1-49b9-8ebe-6ed03b279095" providerId="ADAL" clId="{377E9E7B-4F6F-498B-9A03-A50CD8E91FE8}" dt="2024-07-23T23:58:37.738" v="3530" actId="1076"/>
          <ac:spMkLst>
            <pc:docMk/>
            <pc:sldMk cId="2877215239" sldId="2147473230"/>
            <ac:spMk id="13" creationId="{C67AF193-D4E7-7680-6027-7DE355B89572}"/>
          </ac:spMkLst>
        </pc:spChg>
        <pc:spChg chg="mod">
          <ac:chgData name="Callum Stevenson" userId="86e384b4-b5e1-49b9-8ebe-6ed03b279095" providerId="ADAL" clId="{377E9E7B-4F6F-498B-9A03-A50CD8E91FE8}" dt="2024-07-23T23:58:37.738" v="3530" actId="1076"/>
          <ac:spMkLst>
            <pc:docMk/>
            <pc:sldMk cId="2877215239" sldId="2147473230"/>
            <ac:spMk id="14" creationId="{B4763DBC-89E9-4FB7-42DA-50C424BC6732}"/>
          </ac:spMkLst>
        </pc:spChg>
        <pc:spChg chg="mod">
          <ac:chgData name="Callum Stevenson" userId="86e384b4-b5e1-49b9-8ebe-6ed03b279095" providerId="ADAL" clId="{377E9E7B-4F6F-498B-9A03-A50CD8E91FE8}" dt="2024-07-23T23:58:37.738" v="3530" actId="1076"/>
          <ac:spMkLst>
            <pc:docMk/>
            <pc:sldMk cId="2877215239" sldId="2147473230"/>
            <ac:spMk id="21" creationId="{76BDB683-0DD1-6701-A37C-02C47DA7F24F}"/>
          </ac:spMkLst>
        </pc:spChg>
        <pc:spChg chg="mod">
          <ac:chgData name="Callum Stevenson" userId="86e384b4-b5e1-49b9-8ebe-6ed03b279095" providerId="ADAL" clId="{377E9E7B-4F6F-498B-9A03-A50CD8E91FE8}" dt="2024-07-23T23:58:37.738" v="3530" actId="1076"/>
          <ac:spMkLst>
            <pc:docMk/>
            <pc:sldMk cId="2877215239" sldId="2147473230"/>
            <ac:spMk id="23" creationId="{F30C64D8-73CB-9239-A5D4-BEE4D7F65330}"/>
          </ac:spMkLst>
        </pc:spChg>
        <pc:spChg chg="mod">
          <ac:chgData name="Callum Stevenson" userId="86e384b4-b5e1-49b9-8ebe-6ed03b279095" providerId="ADAL" clId="{377E9E7B-4F6F-498B-9A03-A50CD8E91FE8}" dt="2024-07-23T23:58:37.738" v="3530" actId="1076"/>
          <ac:spMkLst>
            <pc:docMk/>
            <pc:sldMk cId="2877215239" sldId="2147473230"/>
            <ac:spMk id="28" creationId="{E225BC3C-C788-5E00-A3AF-9B3E7B141C9F}"/>
          </ac:spMkLst>
        </pc:spChg>
        <pc:spChg chg="mod">
          <ac:chgData name="Callum Stevenson" userId="86e384b4-b5e1-49b9-8ebe-6ed03b279095" providerId="ADAL" clId="{377E9E7B-4F6F-498B-9A03-A50CD8E91FE8}" dt="2024-07-23T23:58:37.738" v="3530" actId="1076"/>
          <ac:spMkLst>
            <pc:docMk/>
            <pc:sldMk cId="2877215239" sldId="2147473230"/>
            <ac:spMk id="29" creationId="{068A4412-F6AE-318D-A720-CEAB0F499C82}"/>
          </ac:spMkLst>
        </pc:spChg>
      </pc:sldChg>
      <pc:sldChg chg="addSp delSp modSp mod ord modNotesTx">
        <pc:chgData name="Callum Stevenson" userId="86e384b4-b5e1-49b9-8ebe-6ed03b279095" providerId="ADAL" clId="{377E9E7B-4F6F-498B-9A03-A50CD8E91FE8}" dt="2024-07-25T13:31:37.441" v="12032" actId="20577"/>
        <pc:sldMkLst>
          <pc:docMk/>
          <pc:sldMk cId="3666917176" sldId="2147473232"/>
        </pc:sldMkLst>
        <pc:spChg chg="del">
          <ac:chgData name="Callum Stevenson" userId="86e384b4-b5e1-49b9-8ebe-6ed03b279095" providerId="ADAL" clId="{377E9E7B-4F6F-498B-9A03-A50CD8E91FE8}" dt="2024-07-24T00:50:56.201" v="4240" actId="478"/>
          <ac:spMkLst>
            <pc:docMk/>
            <pc:sldMk cId="3666917176" sldId="2147473232"/>
            <ac:spMk id="2" creationId="{76C01C11-D5FC-AA89-3529-FD677DE3BA05}"/>
          </ac:spMkLst>
        </pc:spChg>
        <pc:spChg chg="mod">
          <ac:chgData name="Callum Stevenson" userId="86e384b4-b5e1-49b9-8ebe-6ed03b279095" providerId="ADAL" clId="{377E9E7B-4F6F-498B-9A03-A50CD8E91FE8}" dt="2024-07-24T00:53:51.786" v="4303" actId="14100"/>
          <ac:spMkLst>
            <pc:docMk/>
            <pc:sldMk cId="3666917176" sldId="2147473232"/>
            <ac:spMk id="5" creationId="{8F44C46C-42A4-5663-65DE-7575A66F569E}"/>
          </ac:spMkLst>
        </pc:spChg>
        <pc:spChg chg="mod">
          <ac:chgData name="Callum Stevenson" userId="86e384b4-b5e1-49b9-8ebe-6ed03b279095" providerId="ADAL" clId="{377E9E7B-4F6F-498B-9A03-A50CD8E91FE8}" dt="2024-07-24T00:53:00.449" v="4302" actId="1076"/>
          <ac:spMkLst>
            <pc:docMk/>
            <pc:sldMk cId="3666917176" sldId="2147473232"/>
            <ac:spMk id="7" creationId="{2A685457-DB57-942D-CCCE-59A111CB108A}"/>
          </ac:spMkLst>
        </pc:spChg>
        <pc:spChg chg="mod">
          <ac:chgData name="Callum Stevenson" userId="86e384b4-b5e1-49b9-8ebe-6ed03b279095" providerId="ADAL" clId="{377E9E7B-4F6F-498B-9A03-A50CD8E91FE8}" dt="2024-07-24T00:53:00.449" v="4302" actId="1076"/>
          <ac:spMkLst>
            <pc:docMk/>
            <pc:sldMk cId="3666917176" sldId="2147473232"/>
            <ac:spMk id="8" creationId="{1B2D92AE-7242-84D7-B1EE-4C01C39D894B}"/>
          </ac:spMkLst>
        </pc:spChg>
        <pc:spChg chg="mod">
          <ac:chgData name="Callum Stevenson" userId="86e384b4-b5e1-49b9-8ebe-6ed03b279095" providerId="ADAL" clId="{377E9E7B-4F6F-498B-9A03-A50CD8E91FE8}" dt="2024-07-24T00:52:25.971" v="4299" actId="465"/>
          <ac:spMkLst>
            <pc:docMk/>
            <pc:sldMk cId="3666917176" sldId="2147473232"/>
            <ac:spMk id="9" creationId="{166AA232-2F97-2A17-5C1A-898B41784AF9}"/>
          </ac:spMkLst>
        </pc:spChg>
        <pc:spChg chg="mod">
          <ac:chgData name="Callum Stevenson" userId="86e384b4-b5e1-49b9-8ebe-6ed03b279095" providerId="ADAL" clId="{377E9E7B-4F6F-498B-9A03-A50CD8E91FE8}" dt="2024-07-24T00:52:25.971" v="4299" actId="465"/>
          <ac:spMkLst>
            <pc:docMk/>
            <pc:sldMk cId="3666917176" sldId="2147473232"/>
            <ac:spMk id="10" creationId="{2B48130D-924E-5FBE-686A-95287014FC96}"/>
          </ac:spMkLst>
        </pc:spChg>
        <pc:spChg chg="mod">
          <ac:chgData name="Callum Stevenson" userId="86e384b4-b5e1-49b9-8ebe-6ed03b279095" providerId="ADAL" clId="{377E9E7B-4F6F-498B-9A03-A50CD8E91FE8}" dt="2024-07-24T00:53:54.426" v="4304" actId="14100"/>
          <ac:spMkLst>
            <pc:docMk/>
            <pc:sldMk cId="3666917176" sldId="2147473232"/>
            <ac:spMk id="12" creationId="{776D3242-0A78-2866-583B-B0F795C28453}"/>
          </ac:spMkLst>
        </pc:spChg>
        <pc:spChg chg="mod">
          <ac:chgData name="Callum Stevenson" userId="86e384b4-b5e1-49b9-8ebe-6ed03b279095" providerId="ADAL" clId="{377E9E7B-4F6F-498B-9A03-A50CD8E91FE8}" dt="2024-07-24T00:53:56.427" v="4305" actId="14100"/>
          <ac:spMkLst>
            <pc:docMk/>
            <pc:sldMk cId="3666917176" sldId="2147473232"/>
            <ac:spMk id="14" creationId="{5F6254EF-6E4B-AF1C-E8BC-3FB73A2D7598}"/>
          </ac:spMkLst>
        </pc:spChg>
        <pc:spChg chg="mod">
          <ac:chgData name="Callum Stevenson" userId="86e384b4-b5e1-49b9-8ebe-6ed03b279095" providerId="ADAL" clId="{377E9E7B-4F6F-498B-9A03-A50CD8E91FE8}" dt="2024-07-24T00:53:00.449" v="4302" actId="1076"/>
          <ac:spMkLst>
            <pc:docMk/>
            <pc:sldMk cId="3666917176" sldId="2147473232"/>
            <ac:spMk id="16" creationId="{97D62C23-DD38-DFD8-C04A-91C3E2422705}"/>
          </ac:spMkLst>
        </pc:spChg>
        <pc:spChg chg="mod">
          <ac:chgData name="Callum Stevenson" userId="86e384b4-b5e1-49b9-8ebe-6ed03b279095" providerId="ADAL" clId="{377E9E7B-4F6F-498B-9A03-A50CD8E91FE8}" dt="2024-07-24T00:52:25.971" v="4299" actId="465"/>
          <ac:spMkLst>
            <pc:docMk/>
            <pc:sldMk cId="3666917176" sldId="2147473232"/>
            <ac:spMk id="17" creationId="{00030146-5E12-3638-483F-42555FFF6582}"/>
          </ac:spMkLst>
        </pc:spChg>
        <pc:spChg chg="mod">
          <ac:chgData name="Callum Stevenson" userId="86e384b4-b5e1-49b9-8ebe-6ed03b279095" providerId="ADAL" clId="{377E9E7B-4F6F-498B-9A03-A50CD8E91FE8}" dt="2024-07-24T00:52:49.226" v="4301" actId="1076"/>
          <ac:spMkLst>
            <pc:docMk/>
            <pc:sldMk cId="3666917176" sldId="2147473232"/>
            <ac:spMk id="18" creationId="{E3B13AB2-7189-F467-10F9-DD84EA6C1EF6}"/>
          </ac:spMkLst>
        </pc:spChg>
        <pc:spChg chg="mod">
          <ac:chgData name="Callum Stevenson" userId="86e384b4-b5e1-49b9-8ebe-6ed03b279095" providerId="ADAL" clId="{377E9E7B-4F6F-498B-9A03-A50CD8E91FE8}" dt="2024-07-24T00:53:00.449" v="4302" actId="1076"/>
          <ac:spMkLst>
            <pc:docMk/>
            <pc:sldMk cId="3666917176" sldId="2147473232"/>
            <ac:spMk id="24" creationId="{63517FA4-96ED-E318-F94F-90BA55FFD371}"/>
          </ac:spMkLst>
        </pc:spChg>
        <pc:spChg chg="mod">
          <ac:chgData name="Callum Stevenson" userId="86e384b4-b5e1-49b9-8ebe-6ed03b279095" providerId="ADAL" clId="{377E9E7B-4F6F-498B-9A03-A50CD8E91FE8}" dt="2024-07-24T00:52:49.226" v="4301" actId="1076"/>
          <ac:spMkLst>
            <pc:docMk/>
            <pc:sldMk cId="3666917176" sldId="2147473232"/>
            <ac:spMk id="29" creationId="{97EEC2F6-17FA-B050-6833-D8E6B3D0B9FE}"/>
          </ac:spMkLst>
        </pc:spChg>
        <pc:spChg chg="mod">
          <ac:chgData name="Callum Stevenson" userId="86e384b4-b5e1-49b9-8ebe-6ed03b279095" providerId="ADAL" clId="{377E9E7B-4F6F-498B-9A03-A50CD8E91FE8}" dt="2024-07-24T00:54:09.690" v="4309" actId="1076"/>
          <ac:spMkLst>
            <pc:docMk/>
            <pc:sldMk cId="3666917176" sldId="2147473232"/>
            <ac:spMk id="47" creationId="{60CF5CBB-38E6-A9DA-807A-BC559D403A59}"/>
          </ac:spMkLst>
        </pc:spChg>
        <pc:picChg chg="add mod">
          <ac:chgData name="Callum Stevenson" userId="86e384b4-b5e1-49b9-8ebe-6ed03b279095" providerId="ADAL" clId="{377E9E7B-4F6F-498B-9A03-A50CD8E91FE8}" dt="2024-07-24T00:54:01.425" v="4308" actId="14100"/>
          <ac:picMkLst>
            <pc:docMk/>
            <pc:sldMk cId="3666917176" sldId="2147473232"/>
            <ac:picMk id="13" creationId="{A6D6F644-4C97-186D-0581-D0084A4367A6}"/>
          </ac:picMkLst>
        </pc:picChg>
      </pc:sldChg>
      <pc:sldChg chg="addSp delSp modSp add mod modNotesTx">
        <pc:chgData name="Callum Stevenson" userId="86e384b4-b5e1-49b9-8ebe-6ed03b279095" providerId="ADAL" clId="{377E9E7B-4F6F-498B-9A03-A50CD8E91FE8}" dt="2024-07-25T13:26:10.309" v="11336" actId="20577"/>
        <pc:sldMkLst>
          <pc:docMk/>
          <pc:sldMk cId="1660872397" sldId="2147473233"/>
        </pc:sldMkLst>
        <pc:spChg chg="mod">
          <ac:chgData name="Callum Stevenson" userId="86e384b4-b5e1-49b9-8ebe-6ed03b279095" providerId="ADAL" clId="{377E9E7B-4F6F-498B-9A03-A50CD8E91FE8}" dt="2024-07-24T00:03:28.156" v="3554" actId="20577"/>
          <ac:spMkLst>
            <pc:docMk/>
            <pc:sldMk cId="1660872397" sldId="2147473233"/>
            <ac:spMk id="3" creationId="{DA889A8D-C759-4AFA-51E1-2F2D342A129A}"/>
          </ac:spMkLst>
        </pc:spChg>
        <pc:spChg chg="add mod">
          <ac:chgData name="Callum Stevenson" userId="86e384b4-b5e1-49b9-8ebe-6ed03b279095" providerId="ADAL" clId="{377E9E7B-4F6F-498B-9A03-A50CD8E91FE8}" dt="2024-07-24T00:15:34.466" v="3706" actId="12789"/>
          <ac:spMkLst>
            <pc:docMk/>
            <pc:sldMk cId="1660872397" sldId="2147473233"/>
            <ac:spMk id="7" creationId="{D5B68EC3-50E9-6C7B-DE90-B848E7D86B27}"/>
          </ac:spMkLst>
        </pc:spChg>
        <pc:spChg chg="add mod">
          <ac:chgData name="Callum Stevenson" userId="86e384b4-b5e1-49b9-8ebe-6ed03b279095" providerId="ADAL" clId="{377E9E7B-4F6F-498B-9A03-A50CD8E91FE8}" dt="2024-07-24T00:15:50.757" v="3707" actId="12789"/>
          <ac:spMkLst>
            <pc:docMk/>
            <pc:sldMk cId="1660872397" sldId="2147473233"/>
            <ac:spMk id="8" creationId="{21F4FCDB-7402-DEBE-9235-43855BA527A4}"/>
          </ac:spMkLst>
        </pc:spChg>
        <pc:spChg chg="add mod">
          <ac:chgData name="Callum Stevenson" userId="86e384b4-b5e1-49b9-8ebe-6ed03b279095" providerId="ADAL" clId="{377E9E7B-4F6F-498B-9A03-A50CD8E91FE8}" dt="2024-07-24T00:16:05.872" v="3708" actId="12789"/>
          <ac:spMkLst>
            <pc:docMk/>
            <pc:sldMk cId="1660872397" sldId="2147473233"/>
            <ac:spMk id="9" creationId="{A4081949-5BF3-B8BC-FF53-D801335202EC}"/>
          </ac:spMkLst>
        </pc:spChg>
        <pc:spChg chg="add mod">
          <ac:chgData name="Callum Stevenson" userId="86e384b4-b5e1-49b9-8ebe-6ed03b279095" providerId="ADAL" clId="{377E9E7B-4F6F-498B-9A03-A50CD8E91FE8}" dt="2024-07-24T00:16:17.249" v="3709" actId="12789"/>
          <ac:spMkLst>
            <pc:docMk/>
            <pc:sldMk cId="1660872397" sldId="2147473233"/>
            <ac:spMk id="10" creationId="{3680C403-23B9-FEB4-160F-E58552F833FB}"/>
          </ac:spMkLst>
        </pc:spChg>
        <pc:spChg chg="mod">
          <ac:chgData name="Callum Stevenson" userId="86e384b4-b5e1-49b9-8ebe-6ed03b279095" providerId="ADAL" clId="{377E9E7B-4F6F-498B-9A03-A50CD8E91FE8}" dt="2024-07-24T00:07:36.081" v="3694" actId="20577"/>
          <ac:spMkLst>
            <pc:docMk/>
            <pc:sldMk cId="1660872397" sldId="2147473233"/>
            <ac:spMk id="11" creationId="{3E75D156-641F-A9C9-8843-92D424F32966}"/>
          </ac:spMkLst>
        </pc:spChg>
        <pc:spChg chg="add mod">
          <ac:chgData name="Callum Stevenson" userId="86e384b4-b5e1-49b9-8ebe-6ed03b279095" providerId="ADAL" clId="{377E9E7B-4F6F-498B-9A03-A50CD8E91FE8}" dt="2024-07-24T00:15:34.466" v="3706" actId="12789"/>
          <ac:spMkLst>
            <pc:docMk/>
            <pc:sldMk cId="1660872397" sldId="2147473233"/>
            <ac:spMk id="12" creationId="{3598CF96-70EE-35F9-ED03-A721EB0E63E2}"/>
          </ac:spMkLst>
        </pc:spChg>
        <pc:spChg chg="del">
          <ac:chgData name="Callum Stevenson" userId="86e384b4-b5e1-49b9-8ebe-6ed03b279095" providerId="ADAL" clId="{377E9E7B-4F6F-498B-9A03-A50CD8E91FE8}" dt="2024-07-24T00:03:16.791" v="3533" actId="478"/>
          <ac:spMkLst>
            <pc:docMk/>
            <pc:sldMk cId="1660872397" sldId="2147473233"/>
            <ac:spMk id="13" creationId="{BD9E5D7C-96B9-7EC1-FD7D-030FFF9E793D}"/>
          </ac:spMkLst>
        </pc:spChg>
        <pc:spChg chg="add mod">
          <ac:chgData name="Callum Stevenson" userId="86e384b4-b5e1-49b9-8ebe-6ed03b279095" providerId="ADAL" clId="{377E9E7B-4F6F-498B-9A03-A50CD8E91FE8}" dt="2024-07-24T00:18:56.130" v="3741" actId="113"/>
          <ac:spMkLst>
            <pc:docMk/>
            <pc:sldMk cId="1660872397" sldId="2147473233"/>
            <ac:spMk id="14" creationId="{4F9E51A7-BEF6-43D0-1ED6-8AC414BB8B20}"/>
          </ac:spMkLst>
        </pc:spChg>
        <pc:spChg chg="del">
          <ac:chgData name="Callum Stevenson" userId="86e384b4-b5e1-49b9-8ebe-6ed03b279095" providerId="ADAL" clId="{377E9E7B-4F6F-498B-9A03-A50CD8E91FE8}" dt="2024-07-24T00:03:16.791" v="3533" actId="478"/>
          <ac:spMkLst>
            <pc:docMk/>
            <pc:sldMk cId="1660872397" sldId="2147473233"/>
            <ac:spMk id="15" creationId="{4B2B4CDC-4579-1108-D0A7-F82D7AB58FF7}"/>
          </ac:spMkLst>
        </pc:spChg>
        <pc:spChg chg="add mod">
          <ac:chgData name="Callum Stevenson" userId="86e384b4-b5e1-49b9-8ebe-6ed03b279095" providerId="ADAL" clId="{377E9E7B-4F6F-498B-9A03-A50CD8E91FE8}" dt="2024-07-24T00:19:38.983" v="3774" actId="113"/>
          <ac:spMkLst>
            <pc:docMk/>
            <pc:sldMk cId="1660872397" sldId="2147473233"/>
            <ac:spMk id="16" creationId="{456732F5-CE4C-1439-10AB-9DDF2806193B}"/>
          </ac:spMkLst>
        </pc:spChg>
        <pc:spChg chg="add mod">
          <ac:chgData name="Callum Stevenson" userId="86e384b4-b5e1-49b9-8ebe-6ed03b279095" providerId="ADAL" clId="{377E9E7B-4F6F-498B-9A03-A50CD8E91FE8}" dt="2024-07-24T00:20:32.256" v="3824" actId="113"/>
          <ac:spMkLst>
            <pc:docMk/>
            <pc:sldMk cId="1660872397" sldId="2147473233"/>
            <ac:spMk id="17" creationId="{BDF0464A-8F4B-B293-6AE2-5ECC7565E754}"/>
          </ac:spMkLst>
        </pc:spChg>
        <pc:spChg chg="add mod">
          <ac:chgData name="Callum Stevenson" userId="86e384b4-b5e1-49b9-8ebe-6ed03b279095" providerId="ADAL" clId="{377E9E7B-4F6F-498B-9A03-A50CD8E91FE8}" dt="2024-07-24T00:20:32.256" v="3824" actId="113"/>
          <ac:spMkLst>
            <pc:docMk/>
            <pc:sldMk cId="1660872397" sldId="2147473233"/>
            <ac:spMk id="18" creationId="{06496EF3-BC63-AE85-56AC-6DAD22546468}"/>
          </ac:spMkLst>
        </pc:spChg>
        <pc:spChg chg="del">
          <ac:chgData name="Callum Stevenson" userId="86e384b4-b5e1-49b9-8ebe-6ed03b279095" providerId="ADAL" clId="{377E9E7B-4F6F-498B-9A03-A50CD8E91FE8}" dt="2024-07-24T00:03:16.791" v="3533" actId="478"/>
          <ac:spMkLst>
            <pc:docMk/>
            <pc:sldMk cId="1660872397" sldId="2147473233"/>
            <ac:spMk id="19" creationId="{433FB3C8-AD47-F9CF-D800-FEACED192AAB}"/>
          </ac:spMkLst>
        </pc:spChg>
        <pc:spChg chg="add mod">
          <ac:chgData name="Callum Stevenson" userId="86e384b4-b5e1-49b9-8ebe-6ed03b279095" providerId="ADAL" clId="{377E9E7B-4F6F-498B-9A03-A50CD8E91FE8}" dt="2024-07-24T00:18:49.981" v="3737" actId="1076"/>
          <ac:spMkLst>
            <pc:docMk/>
            <pc:sldMk cId="1660872397" sldId="2147473233"/>
            <ac:spMk id="20" creationId="{189865BD-6AF7-2917-2851-F575D4356EA6}"/>
          </ac:spMkLst>
        </pc:spChg>
        <pc:spChg chg="add mod">
          <ac:chgData name="Callum Stevenson" userId="86e384b4-b5e1-49b9-8ebe-6ed03b279095" providerId="ADAL" clId="{377E9E7B-4F6F-498B-9A03-A50CD8E91FE8}" dt="2024-07-24T00:19:31.551" v="3770" actId="1076"/>
          <ac:spMkLst>
            <pc:docMk/>
            <pc:sldMk cId="1660872397" sldId="2147473233"/>
            <ac:spMk id="21" creationId="{F718FD7E-B15B-6AD7-6F8A-F37986A14F49}"/>
          </ac:spMkLst>
        </pc:spChg>
        <pc:spChg chg="add mod">
          <ac:chgData name="Callum Stevenson" userId="86e384b4-b5e1-49b9-8ebe-6ed03b279095" providerId="ADAL" clId="{377E9E7B-4F6F-498B-9A03-A50CD8E91FE8}" dt="2024-07-24T00:20:15.965" v="3809" actId="1076"/>
          <ac:spMkLst>
            <pc:docMk/>
            <pc:sldMk cId="1660872397" sldId="2147473233"/>
            <ac:spMk id="22" creationId="{BFA12A78-2E2E-97A7-2A75-CF7CCD4A2668}"/>
          </ac:spMkLst>
        </pc:spChg>
        <pc:spChg chg="add mod">
          <ac:chgData name="Callum Stevenson" userId="86e384b4-b5e1-49b9-8ebe-6ed03b279095" providerId="ADAL" clId="{377E9E7B-4F6F-498B-9A03-A50CD8E91FE8}" dt="2024-07-24T00:20:54.824" v="3845" actId="1076"/>
          <ac:spMkLst>
            <pc:docMk/>
            <pc:sldMk cId="1660872397" sldId="2147473233"/>
            <ac:spMk id="23" creationId="{4D141722-6BD5-CF56-7DB0-B7BBA8ADB77D}"/>
          </ac:spMkLst>
        </pc:spChg>
        <pc:spChg chg="add mod">
          <ac:chgData name="Callum Stevenson" userId="86e384b4-b5e1-49b9-8ebe-6ed03b279095" providerId="ADAL" clId="{377E9E7B-4F6F-498B-9A03-A50CD8E91FE8}" dt="2024-07-24T00:34:48.828" v="3954" actId="1076"/>
          <ac:spMkLst>
            <pc:docMk/>
            <pc:sldMk cId="1660872397" sldId="2147473233"/>
            <ac:spMk id="24" creationId="{D4CD0F57-8064-9322-8239-AA068BB056AC}"/>
          </ac:spMkLst>
        </pc:spChg>
        <pc:spChg chg="add mod ord">
          <ac:chgData name="Callum Stevenson" userId="86e384b4-b5e1-49b9-8ebe-6ed03b279095" providerId="ADAL" clId="{377E9E7B-4F6F-498B-9A03-A50CD8E91FE8}" dt="2024-07-24T00:35:22.898" v="3955" actId="167"/>
          <ac:spMkLst>
            <pc:docMk/>
            <pc:sldMk cId="1660872397" sldId="2147473233"/>
            <ac:spMk id="25" creationId="{000860E8-727D-8948-F0C7-D71A7660CBA3}"/>
          </ac:spMkLst>
        </pc:spChg>
        <pc:spChg chg="add mod ord">
          <ac:chgData name="Callum Stevenson" userId="86e384b4-b5e1-49b9-8ebe-6ed03b279095" providerId="ADAL" clId="{377E9E7B-4F6F-498B-9A03-A50CD8E91FE8}" dt="2024-07-24T00:35:22.898" v="3955" actId="167"/>
          <ac:spMkLst>
            <pc:docMk/>
            <pc:sldMk cId="1660872397" sldId="2147473233"/>
            <ac:spMk id="26" creationId="{3E9B6B88-0B39-765B-45D2-77A7A3C7D320}"/>
          </ac:spMkLst>
        </pc:spChg>
        <pc:spChg chg="add mod ord">
          <ac:chgData name="Callum Stevenson" userId="86e384b4-b5e1-49b9-8ebe-6ed03b279095" providerId="ADAL" clId="{377E9E7B-4F6F-498B-9A03-A50CD8E91FE8}" dt="2024-07-24T00:35:22.898" v="3955" actId="167"/>
          <ac:spMkLst>
            <pc:docMk/>
            <pc:sldMk cId="1660872397" sldId="2147473233"/>
            <ac:spMk id="27" creationId="{1C2662AD-9B0B-FBDB-D5D6-763B30481847}"/>
          </ac:spMkLst>
        </pc:spChg>
        <pc:spChg chg="del">
          <ac:chgData name="Callum Stevenson" userId="86e384b4-b5e1-49b9-8ebe-6ed03b279095" providerId="ADAL" clId="{377E9E7B-4F6F-498B-9A03-A50CD8E91FE8}" dt="2024-07-24T00:03:16.791" v="3533" actId="478"/>
          <ac:spMkLst>
            <pc:docMk/>
            <pc:sldMk cId="1660872397" sldId="2147473233"/>
            <ac:spMk id="28" creationId="{D2E0DA1F-3968-FBDC-D78F-C321566EFE8E}"/>
          </ac:spMkLst>
        </pc:spChg>
        <pc:spChg chg="del">
          <ac:chgData name="Callum Stevenson" userId="86e384b4-b5e1-49b9-8ebe-6ed03b279095" providerId="ADAL" clId="{377E9E7B-4F6F-498B-9A03-A50CD8E91FE8}" dt="2024-07-24T00:03:16.791" v="3533" actId="478"/>
          <ac:spMkLst>
            <pc:docMk/>
            <pc:sldMk cId="1660872397" sldId="2147473233"/>
            <ac:spMk id="29" creationId="{B20B3BAF-4056-E4D8-F979-1AAC70EA7BC0}"/>
          </ac:spMkLst>
        </pc:spChg>
        <pc:spChg chg="del">
          <ac:chgData name="Callum Stevenson" userId="86e384b4-b5e1-49b9-8ebe-6ed03b279095" providerId="ADAL" clId="{377E9E7B-4F6F-498B-9A03-A50CD8E91FE8}" dt="2024-07-24T00:03:16.791" v="3533" actId="478"/>
          <ac:spMkLst>
            <pc:docMk/>
            <pc:sldMk cId="1660872397" sldId="2147473233"/>
            <ac:spMk id="30" creationId="{7ECED149-D7C3-538C-D3AF-A040EA5FFC7F}"/>
          </ac:spMkLst>
        </pc:spChg>
        <pc:spChg chg="add mod">
          <ac:chgData name="Callum Stevenson" userId="86e384b4-b5e1-49b9-8ebe-6ed03b279095" providerId="ADAL" clId="{377E9E7B-4F6F-498B-9A03-A50CD8E91FE8}" dt="2024-07-24T00:16:28.955" v="3710" actId="12789"/>
          <ac:spMkLst>
            <pc:docMk/>
            <pc:sldMk cId="1660872397" sldId="2147473233"/>
            <ac:spMk id="31" creationId="{408EE926-D0F8-60C4-3A33-8719841ADE7B}"/>
          </ac:spMkLst>
        </pc:spChg>
        <pc:spChg chg="add mod">
          <ac:chgData name="Callum Stevenson" userId="86e384b4-b5e1-49b9-8ebe-6ed03b279095" providerId="ADAL" clId="{377E9E7B-4F6F-498B-9A03-A50CD8E91FE8}" dt="2024-07-24T00:21:15.625" v="3859" actId="113"/>
          <ac:spMkLst>
            <pc:docMk/>
            <pc:sldMk cId="1660872397" sldId="2147473233"/>
            <ac:spMk id="32" creationId="{22CB9B3B-F565-6C94-53EA-E4F3E4496469}"/>
          </ac:spMkLst>
        </pc:spChg>
        <pc:spChg chg="add mod">
          <ac:chgData name="Callum Stevenson" userId="86e384b4-b5e1-49b9-8ebe-6ed03b279095" providerId="ADAL" clId="{377E9E7B-4F6F-498B-9A03-A50CD8E91FE8}" dt="2024-07-24T00:21:03.564" v="3856" actId="20577"/>
          <ac:spMkLst>
            <pc:docMk/>
            <pc:sldMk cId="1660872397" sldId="2147473233"/>
            <ac:spMk id="33" creationId="{6ED723C2-E7BD-68F3-D7A1-BBE7C41E3CF4}"/>
          </ac:spMkLst>
        </pc:spChg>
        <pc:spChg chg="add mod ord">
          <ac:chgData name="Callum Stevenson" userId="86e384b4-b5e1-49b9-8ebe-6ed03b279095" providerId="ADAL" clId="{377E9E7B-4F6F-498B-9A03-A50CD8E91FE8}" dt="2024-07-24T00:35:22.898" v="3955" actId="167"/>
          <ac:spMkLst>
            <pc:docMk/>
            <pc:sldMk cId="1660872397" sldId="2147473233"/>
            <ac:spMk id="34" creationId="{4EC29F21-55F9-68B7-1DD1-5C39BB223DF2}"/>
          </ac:spMkLst>
        </pc:spChg>
        <pc:spChg chg="del">
          <ac:chgData name="Callum Stevenson" userId="86e384b4-b5e1-49b9-8ebe-6ed03b279095" providerId="ADAL" clId="{377E9E7B-4F6F-498B-9A03-A50CD8E91FE8}" dt="2024-07-24T00:03:16.791" v="3533" actId="478"/>
          <ac:spMkLst>
            <pc:docMk/>
            <pc:sldMk cId="1660872397" sldId="2147473233"/>
            <ac:spMk id="35" creationId="{9D0A5EFF-207D-A2C8-2132-0AEFB4A8C748}"/>
          </ac:spMkLst>
        </pc:spChg>
        <pc:spChg chg="del">
          <ac:chgData name="Callum Stevenson" userId="86e384b4-b5e1-49b9-8ebe-6ed03b279095" providerId="ADAL" clId="{377E9E7B-4F6F-498B-9A03-A50CD8E91FE8}" dt="2024-07-24T00:03:16.791" v="3533" actId="478"/>
          <ac:spMkLst>
            <pc:docMk/>
            <pc:sldMk cId="1660872397" sldId="2147473233"/>
            <ac:spMk id="36" creationId="{15538BC6-76E8-839F-8B83-0DC6F3BC5631}"/>
          </ac:spMkLst>
        </pc:spChg>
        <pc:spChg chg="del">
          <ac:chgData name="Callum Stevenson" userId="86e384b4-b5e1-49b9-8ebe-6ed03b279095" providerId="ADAL" clId="{377E9E7B-4F6F-498B-9A03-A50CD8E91FE8}" dt="2024-07-24T00:03:16.791" v="3533" actId="478"/>
          <ac:spMkLst>
            <pc:docMk/>
            <pc:sldMk cId="1660872397" sldId="2147473233"/>
            <ac:spMk id="37" creationId="{D31361B0-B836-5F2D-E423-D8696C8E9C70}"/>
          </ac:spMkLst>
        </pc:spChg>
        <pc:spChg chg="add mod">
          <ac:chgData name="Callum Stevenson" userId="86e384b4-b5e1-49b9-8ebe-6ed03b279095" providerId="ADAL" clId="{377E9E7B-4F6F-498B-9A03-A50CD8E91FE8}" dt="2024-07-24T00:36:15.003" v="4028" actId="1076"/>
          <ac:spMkLst>
            <pc:docMk/>
            <pc:sldMk cId="1660872397" sldId="2147473233"/>
            <ac:spMk id="40" creationId="{37468E1F-9008-879E-CA28-FB1B2ACBA923}"/>
          </ac:spMkLst>
        </pc:spChg>
        <pc:spChg chg="add mod">
          <ac:chgData name="Callum Stevenson" userId="86e384b4-b5e1-49b9-8ebe-6ed03b279095" providerId="ADAL" clId="{377E9E7B-4F6F-498B-9A03-A50CD8E91FE8}" dt="2024-07-24T00:37:27.683" v="4192" actId="1076"/>
          <ac:spMkLst>
            <pc:docMk/>
            <pc:sldMk cId="1660872397" sldId="2147473233"/>
            <ac:spMk id="41" creationId="{73CB9B3F-B558-C701-28E7-7FF8A0731FC0}"/>
          </ac:spMkLst>
        </pc:spChg>
        <pc:spChg chg="add mod">
          <ac:chgData name="Callum Stevenson" userId="86e384b4-b5e1-49b9-8ebe-6ed03b279095" providerId="ADAL" clId="{377E9E7B-4F6F-498B-9A03-A50CD8E91FE8}" dt="2024-07-24T00:36:51.213" v="4106" actId="1076"/>
          <ac:spMkLst>
            <pc:docMk/>
            <pc:sldMk cId="1660872397" sldId="2147473233"/>
            <ac:spMk id="42" creationId="{FA936432-8119-491C-0D4A-5AAEF449A41B}"/>
          </ac:spMkLst>
        </pc:spChg>
        <pc:spChg chg="add mod">
          <ac:chgData name="Callum Stevenson" userId="86e384b4-b5e1-49b9-8ebe-6ed03b279095" providerId="ADAL" clId="{377E9E7B-4F6F-498B-9A03-A50CD8E91FE8}" dt="2024-07-24T00:36:25.965" v="4050" actId="20577"/>
          <ac:spMkLst>
            <pc:docMk/>
            <pc:sldMk cId="1660872397" sldId="2147473233"/>
            <ac:spMk id="43" creationId="{38185062-04B4-0E29-C86D-A56C04646CF7}"/>
          </ac:spMkLst>
        </pc:spChg>
        <pc:spChg chg="del">
          <ac:chgData name="Callum Stevenson" userId="86e384b4-b5e1-49b9-8ebe-6ed03b279095" providerId="ADAL" clId="{377E9E7B-4F6F-498B-9A03-A50CD8E91FE8}" dt="2024-07-24T00:03:16.791" v="3533" actId="478"/>
          <ac:spMkLst>
            <pc:docMk/>
            <pc:sldMk cId="1660872397" sldId="2147473233"/>
            <ac:spMk id="44" creationId="{A8957F25-0AF0-F3BA-1D26-924A1AD8FE97}"/>
          </ac:spMkLst>
        </pc:spChg>
        <pc:spChg chg="add mod">
          <ac:chgData name="Callum Stevenson" userId="86e384b4-b5e1-49b9-8ebe-6ed03b279095" providerId="ADAL" clId="{377E9E7B-4F6F-498B-9A03-A50CD8E91FE8}" dt="2024-07-24T00:41:42.237" v="4239" actId="20577"/>
          <ac:spMkLst>
            <pc:docMk/>
            <pc:sldMk cId="1660872397" sldId="2147473233"/>
            <ac:spMk id="48" creationId="{B8F8F28F-1EB4-868E-C596-1090257C1D76}"/>
          </ac:spMkLst>
        </pc:spChg>
        <pc:picChg chg="add mod">
          <ac:chgData name="Callum Stevenson" userId="86e384b4-b5e1-49b9-8ebe-6ed03b279095" providerId="ADAL" clId="{377E9E7B-4F6F-498B-9A03-A50CD8E91FE8}" dt="2024-07-24T00:06:20.855" v="3582" actId="1076"/>
          <ac:picMkLst>
            <pc:docMk/>
            <pc:sldMk cId="1660872397" sldId="2147473233"/>
            <ac:picMk id="4" creationId="{3B9E96B3-DE0C-15F1-64E1-F5967161908A}"/>
          </ac:picMkLst>
        </pc:picChg>
        <pc:picChg chg="del">
          <ac:chgData name="Callum Stevenson" userId="86e384b4-b5e1-49b9-8ebe-6ed03b279095" providerId="ADAL" clId="{377E9E7B-4F6F-498B-9A03-A50CD8E91FE8}" dt="2024-07-24T00:06:10.125" v="3577" actId="478"/>
          <ac:picMkLst>
            <pc:docMk/>
            <pc:sldMk cId="1660872397" sldId="2147473233"/>
            <ac:picMk id="5" creationId="{D978255B-8149-6211-0929-D3086201AA57}"/>
          </ac:picMkLst>
        </pc:picChg>
        <pc:picChg chg="add del">
          <ac:chgData name="Callum Stevenson" userId="86e384b4-b5e1-49b9-8ebe-6ed03b279095" providerId="ADAL" clId="{377E9E7B-4F6F-498B-9A03-A50CD8E91FE8}" dt="2024-07-24T00:35:37.500" v="3957" actId="478"/>
          <ac:picMkLst>
            <pc:docMk/>
            <pc:sldMk cId="1660872397" sldId="2147473233"/>
            <ac:picMk id="39" creationId="{72EE88E4-1E18-4039-7F79-0162D1EB5217}"/>
          </ac:picMkLst>
        </pc:picChg>
        <pc:picChg chg="del">
          <ac:chgData name="Callum Stevenson" userId="86e384b4-b5e1-49b9-8ebe-6ed03b279095" providerId="ADAL" clId="{377E9E7B-4F6F-498B-9A03-A50CD8E91FE8}" dt="2024-07-24T00:03:16.791" v="3533" actId="478"/>
          <ac:picMkLst>
            <pc:docMk/>
            <pc:sldMk cId="1660872397" sldId="2147473233"/>
            <ac:picMk id="46" creationId="{F924B5B5-DC43-A540-C542-213CA6D32D95}"/>
          </ac:picMkLst>
        </pc:picChg>
        <pc:picChg chg="add mod">
          <ac:chgData name="Callum Stevenson" userId="86e384b4-b5e1-49b9-8ebe-6ed03b279095" providerId="ADAL" clId="{377E9E7B-4F6F-498B-9A03-A50CD8E91FE8}" dt="2024-07-24T00:41:25.763" v="4203" actId="14100"/>
          <ac:picMkLst>
            <pc:docMk/>
            <pc:sldMk cId="1660872397" sldId="2147473233"/>
            <ac:picMk id="47" creationId="{ACE01DC7-519A-9A62-C250-ECB1B762FE63}"/>
          </ac:picMkLst>
        </pc:picChg>
      </pc:sldChg>
      <pc:sldChg chg="add del">
        <pc:chgData name="Callum Stevenson" userId="86e384b4-b5e1-49b9-8ebe-6ed03b279095" providerId="ADAL" clId="{377E9E7B-4F6F-498B-9A03-A50CD8E91FE8}" dt="2024-07-24T00:39:31.151" v="4196" actId="47"/>
        <pc:sldMkLst>
          <pc:docMk/>
          <pc:sldMk cId="1132482908" sldId="2147473235"/>
        </pc:sldMkLst>
      </pc:sldChg>
      <pc:sldChg chg="addSp delSp modSp add mod modNotesTx">
        <pc:chgData name="Callum Stevenson" userId="86e384b4-b5e1-49b9-8ebe-6ed03b279095" providerId="ADAL" clId="{377E9E7B-4F6F-498B-9A03-A50CD8E91FE8}" dt="2024-07-25T14:06:02.597" v="12758" actId="20577"/>
        <pc:sldMkLst>
          <pc:docMk/>
          <pc:sldMk cId="1185043791" sldId="2147473243"/>
        </pc:sldMkLst>
        <pc:spChg chg="add del mod">
          <ac:chgData name="Callum Stevenson" userId="86e384b4-b5e1-49b9-8ebe-6ed03b279095" providerId="ADAL" clId="{377E9E7B-4F6F-498B-9A03-A50CD8E91FE8}" dt="2024-07-24T14:52:24.661" v="5111" actId="478"/>
          <ac:spMkLst>
            <pc:docMk/>
            <pc:sldMk cId="1185043791" sldId="2147473243"/>
            <ac:spMk id="2" creationId="{9180AC0D-3982-93F4-E79A-1E0B4B3F03DF}"/>
          </ac:spMkLst>
        </pc:spChg>
        <pc:spChg chg="mod">
          <ac:chgData name="Callum Stevenson" userId="86e384b4-b5e1-49b9-8ebe-6ed03b279095" providerId="ADAL" clId="{377E9E7B-4F6F-498B-9A03-A50CD8E91FE8}" dt="2024-07-24T14:04:32.836" v="4656" actId="20577"/>
          <ac:spMkLst>
            <pc:docMk/>
            <pc:sldMk cId="1185043791" sldId="2147473243"/>
            <ac:spMk id="3" creationId="{DA889A8D-C759-4AFA-51E1-2F2D342A129A}"/>
          </ac:spMkLst>
        </pc:spChg>
        <pc:spChg chg="add mod">
          <ac:chgData name="Callum Stevenson" userId="86e384b4-b5e1-49b9-8ebe-6ed03b279095" providerId="ADAL" clId="{377E9E7B-4F6F-498B-9A03-A50CD8E91FE8}" dt="2024-07-24T14:43:47.929" v="5002" actId="1076"/>
          <ac:spMkLst>
            <pc:docMk/>
            <pc:sldMk cId="1185043791" sldId="2147473243"/>
            <ac:spMk id="5" creationId="{7676F81A-67BE-E69C-8FCE-946FAACFAA74}"/>
          </ac:spMkLst>
        </pc:spChg>
        <pc:spChg chg="del">
          <ac:chgData name="Callum Stevenson" userId="86e384b4-b5e1-49b9-8ebe-6ed03b279095" providerId="ADAL" clId="{377E9E7B-4F6F-498B-9A03-A50CD8E91FE8}" dt="2024-07-24T13:49:14.457" v="4427" actId="478"/>
          <ac:spMkLst>
            <pc:docMk/>
            <pc:sldMk cId="1185043791" sldId="2147473243"/>
            <ac:spMk id="7" creationId="{D5B68EC3-50E9-6C7B-DE90-B848E7D86B27}"/>
          </ac:spMkLst>
        </pc:spChg>
        <pc:spChg chg="del">
          <ac:chgData name="Callum Stevenson" userId="86e384b4-b5e1-49b9-8ebe-6ed03b279095" providerId="ADAL" clId="{377E9E7B-4F6F-498B-9A03-A50CD8E91FE8}" dt="2024-07-24T13:49:14.457" v="4427" actId="478"/>
          <ac:spMkLst>
            <pc:docMk/>
            <pc:sldMk cId="1185043791" sldId="2147473243"/>
            <ac:spMk id="8" creationId="{21F4FCDB-7402-DEBE-9235-43855BA527A4}"/>
          </ac:spMkLst>
        </pc:spChg>
        <pc:spChg chg="del">
          <ac:chgData name="Callum Stevenson" userId="86e384b4-b5e1-49b9-8ebe-6ed03b279095" providerId="ADAL" clId="{377E9E7B-4F6F-498B-9A03-A50CD8E91FE8}" dt="2024-07-24T13:49:14.457" v="4427" actId="478"/>
          <ac:spMkLst>
            <pc:docMk/>
            <pc:sldMk cId="1185043791" sldId="2147473243"/>
            <ac:spMk id="9" creationId="{A4081949-5BF3-B8BC-FF53-D801335202EC}"/>
          </ac:spMkLst>
        </pc:spChg>
        <pc:spChg chg="del">
          <ac:chgData name="Callum Stevenson" userId="86e384b4-b5e1-49b9-8ebe-6ed03b279095" providerId="ADAL" clId="{377E9E7B-4F6F-498B-9A03-A50CD8E91FE8}" dt="2024-07-24T13:49:14.457" v="4427" actId="478"/>
          <ac:spMkLst>
            <pc:docMk/>
            <pc:sldMk cId="1185043791" sldId="2147473243"/>
            <ac:spMk id="10" creationId="{3680C403-23B9-FEB4-160F-E58552F833FB}"/>
          </ac:spMkLst>
        </pc:spChg>
        <pc:spChg chg="del mod">
          <ac:chgData name="Callum Stevenson" userId="86e384b4-b5e1-49b9-8ebe-6ed03b279095" providerId="ADAL" clId="{377E9E7B-4F6F-498B-9A03-A50CD8E91FE8}" dt="2024-07-24T13:49:07.372" v="4424" actId="478"/>
          <ac:spMkLst>
            <pc:docMk/>
            <pc:sldMk cId="1185043791" sldId="2147473243"/>
            <ac:spMk id="11" creationId="{3E75D156-641F-A9C9-8843-92D424F32966}"/>
          </ac:spMkLst>
        </pc:spChg>
        <pc:spChg chg="del">
          <ac:chgData name="Callum Stevenson" userId="86e384b4-b5e1-49b9-8ebe-6ed03b279095" providerId="ADAL" clId="{377E9E7B-4F6F-498B-9A03-A50CD8E91FE8}" dt="2024-07-24T13:49:14.457" v="4427" actId="478"/>
          <ac:spMkLst>
            <pc:docMk/>
            <pc:sldMk cId="1185043791" sldId="2147473243"/>
            <ac:spMk id="12" creationId="{3598CF96-70EE-35F9-ED03-A721EB0E63E2}"/>
          </ac:spMkLst>
        </pc:spChg>
        <pc:spChg chg="add mod">
          <ac:chgData name="Callum Stevenson" userId="86e384b4-b5e1-49b9-8ebe-6ed03b279095" providerId="ADAL" clId="{377E9E7B-4F6F-498B-9A03-A50CD8E91FE8}" dt="2024-07-24T14:43:47.929" v="5002" actId="1076"/>
          <ac:spMkLst>
            <pc:docMk/>
            <pc:sldMk cId="1185043791" sldId="2147473243"/>
            <ac:spMk id="13" creationId="{CA2B1CF4-1C18-B1C8-540C-CDD55D7EF864}"/>
          </ac:spMkLst>
        </pc:spChg>
        <pc:spChg chg="del">
          <ac:chgData name="Callum Stevenson" userId="86e384b4-b5e1-49b9-8ebe-6ed03b279095" providerId="ADAL" clId="{377E9E7B-4F6F-498B-9A03-A50CD8E91FE8}" dt="2024-07-24T13:49:14.457" v="4427" actId="478"/>
          <ac:spMkLst>
            <pc:docMk/>
            <pc:sldMk cId="1185043791" sldId="2147473243"/>
            <ac:spMk id="14" creationId="{4F9E51A7-BEF6-43D0-1ED6-8AC414BB8B20}"/>
          </ac:spMkLst>
        </pc:spChg>
        <pc:spChg chg="add mod">
          <ac:chgData name="Callum Stevenson" userId="86e384b4-b5e1-49b9-8ebe-6ed03b279095" providerId="ADAL" clId="{377E9E7B-4F6F-498B-9A03-A50CD8E91FE8}" dt="2024-07-24T14:43:47.929" v="5002" actId="1076"/>
          <ac:spMkLst>
            <pc:docMk/>
            <pc:sldMk cId="1185043791" sldId="2147473243"/>
            <ac:spMk id="15" creationId="{D78C6814-D4F0-DC13-1815-FD891DEA2807}"/>
          </ac:spMkLst>
        </pc:spChg>
        <pc:spChg chg="del">
          <ac:chgData name="Callum Stevenson" userId="86e384b4-b5e1-49b9-8ebe-6ed03b279095" providerId="ADAL" clId="{377E9E7B-4F6F-498B-9A03-A50CD8E91FE8}" dt="2024-07-24T13:49:14.457" v="4427" actId="478"/>
          <ac:spMkLst>
            <pc:docMk/>
            <pc:sldMk cId="1185043791" sldId="2147473243"/>
            <ac:spMk id="16" creationId="{456732F5-CE4C-1439-10AB-9DDF2806193B}"/>
          </ac:spMkLst>
        </pc:spChg>
        <pc:spChg chg="del">
          <ac:chgData name="Callum Stevenson" userId="86e384b4-b5e1-49b9-8ebe-6ed03b279095" providerId="ADAL" clId="{377E9E7B-4F6F-498B-9A03-A50CD8E91FE8}" dt="2024-07-24T13:49:14.457" v="4427" actId="478"/>
          <ac:spMkLst>
            <pc:docMk/>
            <pc:sldMk cId="1185043791" sldId="2147473243"/>
            <ac:spMk id="17" creationId="{BDF0464A-8F4B-B293-6AE2-5ECC7565E754}"/>
          </ac:spMkLst>
        </pc:spChg>
        <pc:spChg chg="del">
          <ac:chgData name="Callum Stevenson" userId="86e384b4-b5e1-49b9-8ebe-6ed03b279095" providerId="ADAL" clId="{377E9E7B-4F6F-498B-9A03-A50CD8E91FE8}" dt="2024-07-24T13:49:14.457" v="4427" actId="478"/>
          <ac:spMkLst>
            <pc:docMk/>
            <pc:sldMk cId="1185043791" sldId="2147473243"/>
            <ac:spMk id="18" creationId="{06496EF3-BC63-AE85-56AC-6DAD22546468}"/>
          </ac:spMkLst>
        </pc:spChg>
        <pc:spChg chg="add mod">
          <ac:chgData name="Callum Stevenson" userId="86e384b4-b5e1-49b9-8ebe-6ed03b279095" providerId="ADAL" clId="{377E9E7B-4F6F-498B-9A03-A50CD8E91FE8}" dt="2024-07-24T14:43:47.929" v="5002" actId="1076"/>
          <ac:spMkLst>
            <pc:docMk/>
            <pc:sldMk cId="1185043791" sldId="2147473243"/>
            <ac:spMk id="19" creationId="{B138E0F5-760F-337E-5C3A-3BD6F64EBFCE}"/>
          </ac:spMkLst>
        </pc:spChg>
        <pc:spChg chg="del">
          <ac:chgData name="Callum Stevenson" userId="86e384b4-b5e1-49b9-8ebe-6ed03b279095" providerId="ADAL" clId="{377E9E7B-4F6F-498B-9A03-A50CD8E91FE8}" dt="2024-07-24T13:49:14.457" v="4427" actId="478"/>
          <ac:spMkLst>
            <pc:docMk/>
            <pc:sldMk cId="1185043791" sldId="2147473243"/>
            <ac:spMk id="20" creationId="{189865BD-6AF7-2917-2851-F575D4356EA6}"/>
          </ac:spMkLst>
        </pc:spChg>
        <pc:spChg chg="del">
          <ac:chgData name="Callum Stevenson" userId="86e384b4-b5e1-49b9-8ebe-6ed03b279095" providerId="ADAL" clId="{377E9E7B-4F6F-498B-9A03-A50CD8E91FE8}" dt="2024-07-24T13:49:14.457" v="4427" actId="478"/>
          <ac:spMkLst>
            <pc:docMk/>
            <pc:sldMk cId="1185043791" sldId="2147473243"/>
            <ac:spMk id="21" creationId="{F718FD7E-B15B-6AD7-6F8A-F37986A14F49}"/>
          </ac:spMkLst>
        </pc:spChg>
        <pc:spChg chg="del">
          <ac:chgData name="Callum Stevenson" userId="86e384b4-b5e1-49b9-8ebe-6ed03b279095" providerId="ADAL" clId="{377E9E7B-4F6F-498B-9A03-A50CD8E91FE8}" dt="2024-07-24T13:49:14.457" v="4427" actId="478"/>
          <ac:spMkLst>
            <pc:docMk/>
            <pc:sldMk cId="1185043791" sldId="2147473243"/>
            <ac:spMk id="22" creationId="{BFA12A78-2E2E-97A7-2A75-CF7CCD4A2668}"/>
          </ac:spMkLst>
        </pc:spChg>
        <pc:spChg chg="del">
          <ac:chgData name="Callum Stevenson" userId="86e384b4-b5e1-49b9-8ebe-6ed03b279095" providerId="ADAL" clId="{377E9E7B-4F6F-498B-9A03-A50CD8E91FE8}" dt="2024-07-24T13:49:14.457" v="4427" actId="478"/>
          <ac:spMkLst>
            <pc:docMk/>
            <pc:sldMk cId="1185043791" sldId="2147473243"/>
            <ac:spMk id="23" creationId="{4D141722-6BD5-CF56-7DB0-B7BBA8ADB77D}"/>
          </ac:spMkLst>
        </pc:spChg>
        <pc:spChg chg="del">
          <ac:chgData name="Callum Stevenson" userId="86e384b4-b5e1-49b9-8ebe-6ed03b279095" providerId="ADAL" clId="{377E9E7B-4F6F-498B-9A03-A50CD8E91FE8}" dt="2024-07-24T13:49:14.457" v="4427" actId="478"/>
          <ac:spMkLst>
            <pc:docMk/>
            <pc:sldMk cId="1185043791" sldId="2147473243"/>
            <ac:spMk id="24" creationId="{D4CD0F57-8064-9322-8239-AA068BB056AC}"/>
          </ac:spMkLst>
        </pc:spChg>
        <pc:spChg chg="del">
          <ac:chgData name="Callum Stevenson" userId="86e384b4-b5e1-49b9-8ebe-6ed03b279095" providerId="ADAL" clId="{377E9E7B-4F6F-498B-9A03-A50CD8E91FE8}" dt="2024-07-24T13:49:14.457" v="4427" actId="478"/>
          <ac:spMkLst>
            <pc:docMk/>
            <pc:sldMk cId="1185043791" sldId="2147473243"/>
            <ac:spMk id="25" creationId="{000860E8-727D-8948-F0C7-D71A7660CBA3}"/>
          </ac:spMkLst>
        </pc:spChg>
        <pc:spChg chg="del">
          <ac:chgData name="Callum Stevenson" userId="86e384b4-b5e1-49b9-8ebe-6ed03b279095" providerId="ADAL" clId="{377E9E7B-4F6F-498B-9A03-A50CD8E91FE8}" dt="2024-07-24T13:49:14.457" v="4427" actId="478"/>
          <ac:spMkLst>
            <pc:docMk/>
            <pc:sldMk cId="1185043791" sldId="2147473243"/>
            <ac:spMk id="26" creationId="{3E9B6B88-0B39-765B-45D2-77A7A3C7D320}"/>
          </ac:spMkLst>
        </pc:spChg>
        <pc:spChg chg="del">
          <ac:chgData name="Callum Stevenson" userId="86e384b4-b5e1-49b9-8ebe-6ed03b279095" providerId="ADAL" clId="{377E9E7B-4F6F-498B-9A03-A50CD8E91FE8}" dt="2024-07-24T13:49:14.457" v="4427" actId="478"/>
          <ac:spMkLst>
            <pc:docMk/>
            <pc:sldMk cId="1185043791" sldId="2147473243"/>
            <ac:spMk id="27" creationId="{1C2662AD-9B0B-FBDB-D5D6-763B30481847}"/>
          </ac:spMkLst>
        </pc:spChg>
        <pc:spChg chg="add mod">
          <ac:chgData name="Callum Stevenson" userId="86e384b4-b5e1-49b9-8ebe-6ed03b279095" providerId="ADAL" clId="{377E9E7B-4F6F-498B-9A03-A50CD8E91FE8}" dt="2024-07-24T14:43:47.929" v="5002" actId="1076"/>
          <ac:spMkLst>
            <pc:docMk/>
            <pc:sldMk cId="1185043791" sldId="2147473243"/>
            <ac:spMk id="28" creationId="{52350810-6826-ACAB-7F31-410AD449AB07}"/>
          </ac:spMkLst>
        </pc:spChg>
        <pc:spChg chg="add mod">
          <ac:chgData name="Callum Stevenson" userId="86e384b4-b5e1-49b9-8ebe-6ed03b279095" providerId="ADAL" clId="{377E9E7B-4F6F-498B-9A03-A50CD8E91FE8}" dt="2024-07-24T14:43:47.929" v="5002" actId="1076"/>
          <ac:spMkLst>
            <pc:docMk/>
            <pc:sldMk cId="1185043791" sldId="2147473243"/>
            <ac:spMk id="29" creationId="{DAC3305B-ADD2-FFF0-5F70-074C29F15F45}"/>
          </ac:spMkLst>
        </pc:spChg>
        <pc:spChg chg="add mod">
          <ac:chgData name="Callum Stevenson" userId="86e384b4-b5e1-49b9-8ebe-6ed03b279095" providerId="ADAL" clId="{377E9E7B-4F6F-498B-9A03-A50CD8E91FE8}" dt="2024-07-24T14:43:47.929" v="5002" actId="1076"/>
          <ac:spMkLst>
            <pc:docMk/>
            <pc:sldMk cId="1185043791" sldId="2147473243"/>
            <ac:spMk id="30" creationId="{598E9DD6-6E50-EFDA-6900-0B3B07ABA514}"/>
          </ac:spMkLst>
        </pc:spChg>
        <pc:spChg chg="mod">
          <ac:chgData name="Callum Stevenson" userId="86e384b4-b5e1-49b9-8ebe-6ed03b279095" providerId="ADAL" clId="{377E9E7B-4F6F-498B-9A03-A50CD8E91FE8}" dt="2024-07-24T14:43:47.929" v="5002" actId="1076"/>
          <ac:spMkLst>
            <pc:docMk/>
            <pc:sldMk cId="1185043791" sldId="2147473243"/>
            <ac:spMk id="31" creationId="{408EE926-D0F8-60C4-3A33-8719841ADE7B}"/>
          </ac:spMkLst>
        </pc:spChg>
        <pc:spChg chg="del mod">
          <ac:chgData name="Callum Stevenson" userId="86e384b4-b5e1-49b9-8ebe-6ed03b279095" providerId="ADAL" clId="{377E9E7B-4F6F-498B-9A03-A50CD8E91FE8}" dt="2024-07-24T13:58:13.595" v="4565" actId="478"/>
          <ac:spMkLst>
            <pc:docMk/>
            <pc:sldMk cId="1185043791" sldId="2147473243"/>
            <ac:spMk id="32" creationId="{22CB9B3B-F565-6C94-53EA-E4F3E4496469}"/>
          </ac:spMkLst>
        </pc:spChg>
        <pc:spChg chg="del mod">
          <ac:chgData name="Callum Stevenson" userId="86e384b4-b5e1-49b9-8ebe-6ed03b279095" providerId="ADAL" clId="{377E9E7B-4F6F-498B-9A03-A50CD8E91FE8}" dt="2024-07-24T13:58:13.595" v="4565" actId="478"/>
          <ac:spMkLst>
            <pc:docMk/>
            <pc:sldMk cId="1185043791" sldId="2147473243"/>
            <ac:spMk id="33" creationId="{6ED723C2-E7BD-68F3-D7A1-BBE7C41E3CF4}"/>
          </ac:spMkLst>
        </pc:spChg>
        <pc:spChg chg="mod">
          <ac:chgData name="Callum Stevenson" userId="86e384b4-b5e1-49b9-8ebe-6ed03b279095" providerId="ADAL" clId="{377E9E7B-4F6F-498B-9A03-A50CD8E91FE8}" dt="2024-07-24T14:43:47.929" v="5002" actId="1076"/>
          <ac:spMkLst>
            <pc:docMk/>
            <pc:sldMk cId="1185043791" sldId="2147473243"/>
            <ac:spMk id="34" creationId="{4EC29F21-55F9-68B7-1DD1-5C39BB223DF2}"/>
          </ac:spMkLst>
        </pc:spChg>
        <pc:spChg chg="add del">
          <ac:chgData name="Callum Stevenson" userId="86e384b4-b5e1-49b9-8ebe-6ed03b279095" providerId="ADAL" clId="{377E9E7B-4F6F-498B-9A03-A50CD8E91FE8}" dt="2024-07-24T14:18:55.889" v="4665" actId="22"/>
          <ac:spMkLst>
            <pc:docMk/>
            <pc:sldMk cId="1185043791" sldId="2147473243"/>
            <ac:spMk id="36" creationId="{309FB695-B897-C668-CA7A-2766D0F6B3AF}"/>
          </ac:spMkLst>
        </pc:spChg>
        <pc:spChg chg="add mod">
          <ac:chgData name="Callum Stevenson" userId="86e384b4-b5e1-49b9-8ebe-6ed03b279095" providerId="ADAL" clId="{377E9E7B-4F6F-498B-9A03-A50CD8E91FE8}" dt="2024-07-24T14:44:45.723" v="5010" actId="14100"/>
          <ac:spMkLst>
            <pc:docMk/>
            <pc:sldMk cId="1185043791" sldId="2147473243"/>
            <ac:spMk id="37" creationId="{16EE4C13-CB91-DA0E-E1B6-CEAF5F801512}"/>
          </ac:spMkLst>
        </pc:spChg>
        <pc:spChg chg="add del mod">
          <ac:chgData name="Callum Stevenson" userId="86e384b4-b5e1-49b9-8ebe-6ed03b279095" providerId="ADAL" clId="{377E9E7B-4F6F-498B-9A03-A50CD8E91FE8}" dt="2024-07-24T14:38:43.132" v="4926" actId="478"/>
          <ac:spMkLst>
            <pc:docMk/>
            <pc:sldMk cId="1185043791" sldId="2147473243"/>
            <ac:spMk id="38" creationId="{6CC98CF6-AC40-78EB-36EA-791949E6ED4E}"/>
          </ac:spMkLst>
        </pc:spChg>
        <pc:spChg chg="add mod">
          <ac:chgData name="Callum Stevenson" userId="86e384b4-b5e1-49b9-8ebe-6ed03b279095" providerId="ADAL" clId="{377E9E7B-4F6F-498B-9A03-A50CD8E91FE8}" dt="2024-07-24T14:47:39.352" v="5035" actId="1076"/>
          <ac:spMkLst>
            <pc:docMk/>
            <pc:sldMk cId="1185043791" sldId="2147473243"/>
            <ac:spMk id="39" creationId="{4848C926-F794-2068-0A96-35209CFED4A8}"/>
          </ac:spMkLst>
        </pc:spChg>
        <pc:spChg chg="del">
          <ac:chgData name="Callum Stevenson" userId="86e384b4-b5e1-49b9-8ebe-6ed03b279095" providerId="ADAL" clId="{377E9E7B-4F6F-498B-9A03-A50CD8E91FE8}" dt="2024-07-24T13:49:14.457" v="4427" actId="478"/>
          <ac:spMkLst>
            <pc:docMk/>
            <pc:sldMk cId="1185043791" sldId="2147473243"/>
            <ac:spMk id="40" creationId="{37468E1F-9008-879E-CA28-FB1B2ACBA923}"/>
          </ac:spMkLst>
        </pc:spChg>
        <pc:spChg chg="mod">
          <ac:chgData name="Callum Stevenson" userId="86e384b4-b5e1-49b9-8ebe-6ed03b279095" providerId="ADAL" clId="{377E9E7B-4F6F-498B-9A03-A50CD8E91FE8}" dt="2024-07-24T14:43:47.929" v="5002" actId="1076"/>
          <ac:spMkLst>
            <pc:docMk/>
            <pc:sldMk cId="1185043791" sldId="2147473243"/>
            <ac:spMk id="41" creationId="{73CB9B3F-B558-C701-28E7-7FF8A0731FC0}"/>
          </ac:spMkLst>
        </pc:spChg>
        <pc:spChg chg="del">
          <ac:chgData name="Callum Stevenson" userId="86e384b4-b5e1-49b9-8ebe-6ed03b279095" providerId="ADAL" clId="{377E9E7B-4F6F-498B-9A03-A50CD8E91FE8}" dt="2024-07-24T13:49:14.457" v="4427" actId="478"/>
          <ac:spMkLst>
            <pc:docMk/>
            <pc:sldMk cId="1185043791" sldId="2147473243"/>
            <ac:spMk id="42" creationId="{FA936432-8119-491C-0D4A-5AAEF449A41B}"/>
          </ac:spMkLst>
        </pc:spChg>
        <pc:spChg chg="del">
          <ac:chgData name="Callum Stevenson" userId="86e384b4-b5e1-49b9-8ebe-6ed03b279095" providerId="ADAL" clId="{377E9E7B-4F6F-498B-9A03-A50CD8E91FE8}" dt="2024-07-24T13:49:14.457" v="4427" actId="478"/>
          <ac:spMkLst>
            <pc:docMk/>
            <pc:sldMk cId="1185043791" sldId="2147473243"/>
            <ac:spMk id="43" creationId="{38185062-04B4-0E29-C86D-A56C04646CF7}"/>
          </ac:spMkLst>
        </pc:spChg>
        <pc:spChg chg="add del mod">
          <ac:chgData name="Callum Stevenson" userId="86e384b4-b5e1-49b9-8ebe-6ed03b279095" providerId="ADAL" clId="{377E9E7B-4F6F-498B-9A03-A50CD8E91FE8}" dt="2024-07-24T14:48:04.696" v="5052" actId="478"/>
          <ac:spMkLst>
            <pc:docMk/>
            <pc:sldMk cId="1185043791" sldId="2147473243"/>
            <ac:spMk id="44" creationId="{1BCA7446-DC68-E850-0BC1-44935774FAD8}"/>
          </ac:spMkLst>
        </pc:spChg>
        <pc:spChg chg="add mod">
          <ac:chgData name="Callum Stevenson" userId="86e384b4-b5e1-49b9-8ebe-6ed03b279095" providerId="ADAL" clId="{377E9E7B-4F6F-498B-9A03-A50CD8E91FE8}" dt="2024-07-24T14:45:46.617" v="5020" actId="14100"/>
          <ac:spMkLst>
            <pc:docMk/>
            <pc:sldMk cId="1185043791" sldId="2147473243"/>
            <ac:spMk id="45" creationId="{FB4B9D8D-33B5-90C2-1C57-AC431BF8586D}"/>
          </ac:spMkLst>
        </pc:spChg>
        <pc:spChg chg="add mod">
          <ac:chgData name="Callum Stevenson" userId="86e384b4-b5e1-49b9-8ebe-6ed03b279095" providerId="ADAL" clId="{377E9E7B-4F6F-498B-9A03-A50CD8E91FE8}" dt="2024-07-24T14:46:26.457" v="5026" actId="1076"/>
          <ac:spMkLst>
            <pc:docMk/>
            <pc:sldMk cId="1185043791" sldId="2147473243"/>
            <ac:spMk id="46" creationId="{2CC58355-4F86-60A1-5A50-3C8E0AF8F169}"/>
          </ac:spMkLst>
        </pc:spChg>
        <pc:spChg chg="del">
          <ac:chgData name="Callum Stevenson" userId="86e384b4-b5e1-49b9-8ebe-6ed03b279095" providerId="ADAL" clId="{377E9E7B-4F6F-498B-9A03-A50CD8E91FE8}" dt="2024-07-24T13:49:10.822" v="4426" actId="478"/>
          <ac:spMkLst>
            <pc:docMk/>
            <pc:sldMk cId="1185043791" sldId="2147473243"/>
            <ac:spMk id="48" creationId="{B8F8F28F-1EB4-868E-C596-1090257C1D76}"/>
          </ac:spMkLst>
        </pc:spChg>
        <pc:spChg chg="add mod">
          <ac:chgData name="Callum Stevenson" userId="86e384b4-b5e1-49b9-8ebe-6ed03b279095" providerId="ADAL" clId="{377E9E7B-4F6F-498B-9A03-A50CD8E91FE8}" dt="2024-07-24T14:48:14.983" v="5056" actId="1076"/>
          <ac:spMkLst>
            <pc:docMk/>
            <pc:sldMk cId="1185043791" sldId="2147473243"/>
            <ac:spMk id="58" creationId="{2E55DF90-77E2-EB7B-1EA8-F4F3D458BDF9}"/>
          </ac:spMkLst>
        </pc:spChg>
        <pc:spChg chg="add mod">
          <ac:chgData name="Callum Stevenson" userId="86e384b4-b5e1-49b9-8ebe-6ed03b279095" providerId="ADAL" clId="{377E9E7B-4F6F-498B-9A03-A50CD8E91FE8}" dt="2024-07-24T14:51:01.743" v="5097" actId="1076"/>
          <ac:spMkLst>
            <pc:docMk/>
            <pc:sldMk cId="1185043791" sldId="2147473243"/>
            <ac:spMk id="59" creationId="{E6A7BECB-BC87-9395-568E-17EE88B30616}"/>
          </ac:spMkLst>
        </pc:spChg>
        <pc:spChg chg="add mod">
          <ac:chgData name="Callum Stevenson" userId="86e384b4-b5e1-49b9-8ebe-6ed03b279095" providerId="ADAL" clId="{377E9E7B-4F6F-498B-9A03-A50CD8E91FE8}" dt="2024-07-24T14:50:55.720" v="5096" actId="1076"/>
          <ac:spMkLst>
            <pc:docMk/>
            <pc:sldMk cId="1185043791" sldId="2147473243"/>
            <ac:spMk id="60" creationId="{91C04E38-FD65-DCEC-E16F-83A06768E5E8}"/>
          </ac:spMkLst>
        </pc:spChg>
        <pc:spChg chg="add mod">
          <ac:chgData name="Callum Stevenson" userId="86e384b4-b5e1-49b9-8ebe-6ed03b279095" providerId="ADAL" clId="{377E9E7B-4F6F-498B-9A03-A50CD8E91FE8}" dt="2024-07-24T14:51:34.712" v="5104" actId="20577"/>
          <ac:spMkLst>
            <pc:docMk/>
            <pc:sldMk cId="1185043791" sldId="2147473243"/>
            <ac:spMk id="63" creationId="{5DD473B4-D7C5-C463-0705-20F9C65EDB35}"/>
          </ac:spMkLst>
        </pc:spChg>
        <pc:spChg chg="add mod">
          <ac:chgData name="Callum Stevenson" userId="86e384b4-b5e1-49b9-8ebe-6ed03b279095" providerId="ADAL" clId="{377E9E7B-4F6F-498B-9A03-A50CD8E91FE8}" dt="2024-07-24T14:51:45.546" v="5110" actId="20577"/>
          <ac:spMkLst>
            <pc:docMk/>
            <pc:sldMk cId="1185043791" sldId="2147473243"/>
            <ac:spMk id="64" creationId="{BDD4DFB6-DFAA-5710-CA01-7E4984DC1188}"/>
          </ac:spMkLst>
        </pc:spChg>
        <pc:picChg chg="del">
          <ac:chgData name="Callum Stevenson" userId="86e384b4-b5e1-49b9-8ebe-6ed03b279095" providerId="ADAL" clId="{377E9E7B-4F6F-498B-9A03-A50CD8E91FE8}" dt="2024-07-24T13:48:34.965" v="4423" actId="478"/>
          <ac:picMkLst>
            <pc:docMk/>
            <pc:sldMk cId="1185043791" sldId="2147473243"/>
            <ac:picMk id="4" creationId="{3B9E96B3-DE0C-15F1-64E1-F5967161908A}"/>
          </ac:picMkLst>
        </pc:picChg>
        <pc:picChg chg="del">
          <ac:chgData name="Callum Stevenson" userId="86e384b4-b5e1-49b9-8ebe-6ed03b279095" providerId="ADAL" clId="{377E9E7B-4F6F-498B-9A03-A50CD8E91FE8}" dt="2024-07-24T13:49:09.081" v="4425" actId="478"/>
          <ac:picMkLst>
            <pc:docMk/>
            <pc:sldMk cId="1185043791" sldId="2147473243"/>
            <ac:picMk id="47" creationId="{ACE01DC7-519A-9A62-C250-ECB1B762FE63}"/>
          </ac:picMkLst>
        </pc:picChg>
        <pc:picChg chg="add mod">
          <ac:chgData name="Callum Stevenson" userId="86e384b4-b5e1-49b9-8ebe-6ed03b279095" providerId="ADAL" clId="{377E9E7B-4F6F-498B-9A03-A50CD8E91FE8}" dt="2024-07-24T14:45:38.473" v="5018" actId="1076"/>
          <ac:picMkLst>
            <pc:docMk/>
            <pc:sldMk cId="1185043791" sldId="2147473243"/>
            <ac:picMk id="50" creationId="{1342A9B8-4799-7256-EDEB-FD376DFE979A}"/>
          </ac:picMkLst>
        </pc:picChg>
        <pc:picChg chg="add mod">
          <ac:chgData name="Callum Stevenson" userId="86e384b4-b5e1-49b9-8ebe-6ed03b279095" providerId="ADAL" clId="{377E9E7B-4F6F-498B-9A03-A50CD8E91FE8}" dt="2024-07-24T14:47:23.265" v="5032" actId="14100"/>
          <ac:picMkLst>
            <pc:docMk/>
            <pc:sldMk cId="1185043791" sldId="2147473243"/>
            <ac:picMk id="57" creationId="{105D5CE3-4AB9-B30B-C762-36ED1FE2AF72}"/>
          </ac:picMkLst>
        </pc:picChg>
        <pc:cxnChg chg="add mod">
          <ac:chgData name="Callum Stevenson" userId="86e384b4-b5e1-49b9-8ebe-6ed03b279095" providerId="ADAL" clId="{377E9E7B-4F6F-498B-9A03-A50CD8E91FE8}" dt="2024-07-24T14:50:42.128" v="5095" actId="14100"/>
          <ac:cxnSpMkLst>
            <pc:docMk/>
            <pc:sldMk cId="1185043791" sldId="2147473243"/>
            <ac:cxnSpMk id="52" creationId="{EBA584EF-7CA8-D2C5-8D7F-80135B6840C5}"/>
          </ac:cxnSpMkLst>
        </pc:cxnChg>
        <pc:cxnChg chg="add del mod">
          <ac:chgData name="Callum Stevenson" userId="86e384b4-b5e1-49b9-8ebe-6ed03b279095" providerId="ADAL" clId="{377E9E7B-4F6F-498B-9A03-A50CD8E91FE8}" dt="2024-07-24T14:45:29.036" v="5016" actId="478"/>
          <ac:cxnSpMkLst>
            <pc:docMk/>
            <pc:sldMk cId="1185043791" sldId="2147473243"/>
            <ac:cxnSpMk id="54" creationId="{DADF1904-EC62-30BA-32D8-CF90C8428AF5}"/>
          </ac:cxnSpMkLst>
        </pc:cxnChg>
      </pc:sldChg>
      <pc:sldChg chg="addSp delSp modSp add mod modNotesTx">
        <pc:chgData name="Callum Stevenson" userId="86e384b4-b5e1-49b9-8ebe-6ed03b279095" providerId="ADAL" clId="{377E9E7B-4F6F-498B-9A03-A50CD8E91FE8}" dt="2024-07-25T14:17:52.215" v="13530" actId="313"/>
        <pc:sldMkLst>
          <pc:docMk/>
          <pc:sldMk cId="2803969439" sldId="2147473245"/>
        </pc:sldMkLst>
        <pc:spChg chg="add mod">
          <ac:chgData name="Callum Stevenson" userId="86e384b4-b5e1-49b9-8ebe-6ed03b279095" providerId="ADAL" clId="{377E9E7B-4F6F-498B-9A03-A50CD8E91FE8}" dt="2024-07-24T15:09:04.097" v="5383" actId="113"/>
          <ac:spMkLst>
            <pc:docMk/>
            <pc:sldMk cId="2803969439" sldId="2147473245"/>
            <ac:spMk id="2" creationId="{F4842AAE-7052-96A6-67A7-846B7217EF26}"/>
          </ac:spMkLst>
        </pc:spChg>
        <pc:spChg chg="mod">
          <ac:chgData name="Callum Stevenson" userId="86e384b4-b5e1-49b9-8ebe-6ed03b279095" providerId="ADAL" clId="{377E9E7B-4F6F-498B-9A03-A50CD8E91FE8}" dt="2024-07-24T14:53:36.600" v="5129" actId="20577"/>
          <ac:spMkLst>
            <pc:docMk/>
            <pc:sldMk cId="2803969439" sldId="2147473245"/>
            <ac:spMk id="3" creationId="{DA889A8D-C759-4AFA-51E1-2F2D342A129A}"/>
          </ac:spMkLst>
        </pc:spChg>
        <pc:spChg chg="add del mod">
          <ac:chgData name="Callum Stevenson" userId="86e384b4-b5e1-49b9-8ebe-6ed03b279095" providerId="ADAL" clId="{377E9E7B-4F6F-498B-9A03-A50CD8E91FE8}" dt="2024-07-24T15:03:59.500" v="5216" actId="478"/>
          <ac:spMkLst>
            <pc:docMk/>
            <pc:sldMk cId="2803969439" sldId="2147473245"/>
            <ac:spMk id="4" creationId="{85831C44-5B64-A2F3-1020-0C5246F5525B}"/>
          </ac:spMkLst>
        </pc:spChg>
        <pc:spChg chg="del">
          <ac:chgData name="Callum Stevenson" userId="86e384b4-b5e1-49b9-8ebe-6ed03b279095" providerId="ADAL" clId="{377E9E7B-4F6F-498B-9A03-A50CD8E91FE8}" dt="2024-07-24T15:08:57.437" v="5382" actId="478"/>
          <ac:spMkLst>
            <pc:docMk/>
            <pc:sldMk cId="2803969439" sldId="2147473245"/>
            <ac:spMk id="5" creationId="{7676F81A-67BE-E69C-8FCE-946FAACFAA74}"/>
          </ac:spMkLst>
        </pc:spChg>
        <pc:spChg chg="add mod">
          <ac:chgData name="Callum Stevenson" userId="86e384b4-b5e1-49b9-8ebe-6ed03b279095" providerId="ADAL" clId="{377E9E7B-4F6F-498B-9A03-A50CD8E91FE8}" dt="2024-07-24T15:11:36.831" v="5410" actId="404"/>
          <ac:spMkLst>
            <pc:docMk/>
            <pc:sldMk cId="2803969439" sldId="2147473245"/>
            <ac:spMk id="7" creationId="{9C269936-8C42-8233-88CC-34F63BCF79AD}"/>
          </ac:spMkLst>
        </pc:spChg>
        <pc:spChg chg="add mod">
          <ac:chgData name="Callum Stevenson" userId="86e384b4-b5e1-49b9-8ebe-6ed03b279095" providerId="ADAL" clId="{377E9E7B-4F6F-498B-9A03-A50CD8E91FE8}" dt="2024-07-24T15:04:54.086" v="5250" actId="207"/>
          <ac:spMkLst>
            <pc:docMk/>
            <pc:sldMk cId="2803969439" sldId="2147473245"/>
            <ac:spMk id="8" creationId="{5F6E7D68-B136-EA32-50D4-B70359523AF4}"/>
          </ac:spMkLst>
        </pc:spChg>
        <pc:spChg chg="add mod">
          <ac:chgData name="Callum Stevenson" userId="86e384b4-b5e1-49b9-8ebe-6ed03b279095" providerId="ADAL" clId="{377E9E7B-4F6F-498B-9A03-A50CD8E91FE8}" dt="2024-07-24T15:08:10.144" v="5381" actId="1076"/>
          <ac:spMkLst>
            <pc:docMk/>
            <pc:sldMk cId="2803969439" sldId="2147473245"/>
            <ac:spMk id="9" creationId="{F3B14C28-B63D-789F-6860-E42A05249577}"/>
          </ac:spMkLst>
        </pc:spChg>
        <pc:spChg chg="add mod">
          <ac:chgData name="Callum Stevenson" userId="86e384b4-b5e1-49b9-8ebe-6ed03b279095" providerId="ADAL" clId="{377E9E7B-4F6F-498B-9A03-A50CD8E91FE8}" dt="2024-07-24T15:08:10.144" v="5381" actId="1076"/>
          <ac:spMkLst>
            <pc:docMk/>
            <pc:sldMk cId="2803969439" sldId="2147473245"/>
            <ac:spMk id="10" creationId="{D4F9A45F-F8CF-BF57-2101-92F5D0F34D4E}"/>
          </ac:spMkLst>
        </pc:spChg>
        <pc:spChg chg="add mod">
          <ac:chgData name="Callum Stevenson" userId="86e384b4-b5e1-49b9-8ebe-6ed03b279095" providerId="ADAL" clId="{377E9E7B-4F6F-498B-9A03-A50CD8E91FE8}" dt="2024-07-24T15:08:10.144" v="5381" actId="1076"/>
          <ac:spMkLst>
            <pc:docMk/>
            <pc:sldMk cId="2803969439" sldId="2147473245"/>
            <ac:spMk id="11" creationId="{8E34B6F6-4524-95B3-CA85-7A8EFAB3E26F}"/>
          </ac:spMkLst>
        </pc:spChg>
        <pc:spChg chg="add mod ord">
          <ac:chgData name="Callum Stevenson" userId="86e384b4-b5e1-49b9-8ebe-6ed03b279095" providerId="ADAL" clId="{377E9E7B-4F6F-498B-9A03-A50CD8E91FE8}" dt="2024-07-24T15:07:43.603" v="5380" actId="167"/>
          <ac:spMkLst>
            <pc:docMk/>
            <pc:sldMk cId="2803969439" sldId="2147473245"/>
            <ac:spMk id="12" creationId="{854EB0AF-A700-1B9C-6EE0-E9FA73F15997}"/>
          </ac:spMkLst>
        </pc:spChg>
        <pc:spChg chg="del">
          <ac:chgData name="Callum Stevenson" userId="86e384b4-b5e1-49b9-8ebe-6ed03b279095" providerId="ADAL" clId="{377E9E7B-4F6F-498B-9A03-A50CD8E91FE8}" dt="2024-07-24T15:08:57.437" v="5382" actId="478"/>
          <ac:spMkLst>
            <pc:docMk/>
            <pc:sldMk cId="2803969439" sldId="2147473245"/>
            <ac:spMk id="13" creationId="{CA2B1CF4-1C18-B1C8-540C-CDD55D7EF864}"/>
          </ac:spMkLst>
        </pc:spChg>
        <pc:spChg chg="add mod">
          <ac:chgData name="Callum Stevenson" userId="86e384b4-b5e1-49b9-8ebe-6ed03b279095" providerId="ADAL" clId="{377E9E7B-4F6F-498B-9A03-A50CD8E91FE8}" dt="2024-07-24T15:11:29.071" v="5409" actId="404"/>
          <ac:spMkLst>
            <pc:docMk/>
            <pc:sldMk cId="2803969439" sldId="2147473245"/>
            <ac:spMk id="14" creationId="{4C1B7130-B985-5CCB-0466-2E1F1B505D48}"/>
          </ac:spMkLst>
        </pc:spChg>
        <pc:spChg chg="del">
          <ac:chgData name="Callum Stevenson" userId="86e384b4-b5e1-49b9-8ebe-6ed03b279095" providerId="ADAL" clId="{377E9E7B-4F6F-498B-9A03-A50CD8E91FE8}" dt="2024-07-24T15:08:57.437" v="5382" actId="478"/>
          <ac:spMkLst>
            <pc:docMk/>
            <pc:sldMk cId="2803969439" sldId="2147473245"/>
            <ac:spMk id="15" creationId="{D78C6814-D4F0-DC13-1815-FD891DEA2807}"/>
          </ac:spMkLst>
        </pc:spChg>
        <pc:spChg chg="add mod">
          <ac:chgData name="Callum Stevenson" userId="86e384b4-b5e1-49b9-8ebe-6ed03b279095" providerId="ADAL" clId="{377E9E7B-4F6F-498B-9A03-A50CD8E91FE8}" dt="2024-07-24T15:11:08.078" v="5387" actId="1076"/>
          <ac:spMkLst>
            <pc:docMk/>
            <pc:sldMk cId="2803969439" sldId="2147473245"/>
            <ac:spMk id="16" creationId="{10E60EFB-3A22-00A9-35F4-876B96A7A913}"/>
          </ac:spMkLst>
        </pc:spChg>
        <pc:spChg chg="del">
          <ac:chgData name="Callum Stevenson" userId="86e384b4-b5e1-49b9-8ebe-6ed03b279095" providerId="ADAL" clId="{377E9E7B-4F6F-498B-9A03-A50CD8E91FE8}" dt="2024-07-24T15:08:57.437" v="5382" actId="478"/>
          <ac:spMkLst>
            <pc:docMk/>
            <pc:sldMk cId="2803969439" sldId="2147473245"/>
            <ac:spMk id="19" creationId="{B138E0F5-760F-337E-5C3A-3BD6F64EBFCE}"/>
          </ac:spMkLst>
        </pc:spChg>
        <pc:spChg chg="add mod">
          <ac:chgData name="Callum Stevenson" userId="86e384b4-b5e1-49b9-8ebe-6ed03b279095" providerId="ADAL" clId="{377E9E7B-4F6F-498B-9A03-A50CD8E91FE8}" dt="2024-07-24T15:22:55.249" v="5491" actId="12789"/>
          <ac:spMkLst>
            <pc:docMk/>
            <pc:sldMk cId="2803969439" sldId="2147473245"/>
            <ac:spMk id="20" creationId="{CB72D95C-7933-68CC-A72D-DCFF1EE0BA23}"/>
          </ac:spMkLst>
        </pc:spChg>
        <pc:spChg chg="add mod">
          <ac:chgData name="Callum Stevenson" userId="86e384b4-b5e1-49b9-8ebe-6ed03b279095" providerId="ADAL" clId="{377E9E7B-4F6F-498B-9A03-A50CD8E91FE8}" dt="2024-07-24T15:23:30.157" v="5510" actId="14100"/>
          <ac:spMkLst>
            <pc:docMk/>
            <pc:sldMk cId="2803969439" sldId="2147473245"/>
            <ac:spMk id="23" creationId="{B5A6482C-595F-B342-7DD4-F8519C4A2B1D}"/>
          </ac:spMkLst>
        </pc:spChg>
        <pc:spChg chg="add del mod">
          <ac:chgData name="Callum Stevenson" userId="86e384b4-b5e1-49b9-8ebe-6ed03b279095" providerId="ADAL" clId="{377E9E7B-4F6F-498B-9A03-A50CD8E91FE8}" dt="2024-07-24T15:22:31.746" v="5486" actId="478"/>
          <ac:spMkLst>
            <pc:docMk/>
            <pc:sldMk cId="2803969439" sldId="2147473245"/>
            <ac:spMk id="24" creationId="{E2A5E1DE-4C95-F57C-17C4-D81E0681A654}"/>
          </ac:spMkLst>
        </pc:spChg>
        <pc:spChg chg="add mod">
          <ac:chgData name="Callum Stevenson" userId="86e384b4-b5e1-49b9-8ebe-6ed03b279095" providerId="ADAL" clId="{377E9E7B-4F6F-498B-9A03-A50CD8E91FE8}" dt="2024-07-24T15:23:13.906" v="5509" actId="20577"/>
          <ac:spMkLst>
            <pc:docMk/>
            <pc:sldMk cId="2803969439" sldId="2147473245"/>
            <ac:spMk id="27" creationId="{74907211-6C6F-CE90-2006-2031E8387DC6}"/>
          </ac:spMkLst>
        </pc:spChg>
        <pc:spChg chg="del">
          <ac:chgData name="Callum Stevenson" userId="86e384b4-b5e1-49b9-8ebe-6ed03b279095" providerId="ADAL" clId="{377E9E7B-4F6F-498B-9A03-A50CD8E91FE8}" dt="2024-07-24T15:09:15.318" v="5384" actId="478"/>
          <ac:spMkLst>
            <pc:docMk/>
            <pc:sldMk cId="2803969439" sldId="2147473245"/>
            <ac:spMk id="28" creationId="{52350810-6826-ACAB-7F31-410AD449AB07}"/>
          </ac:spMkLst>
        </pc:spChg>
        <pc:spChg chg="del">
          <ac:chgData name="Callum Stevenson" userId="86e384b4-b5e1-49b9-8ebe-6ed03b279095" providerId="ADAL" clId="{377E9E7B-4F6F-498B-9A03-A50CD8E91FE8}" dt="2024-07-24T15:08:57.437" v="5382" actId="478"/>
          <ac:spMkLst>
            <pc:docMk/>
            <pc:sldMk cId="2803969439" sldId="2147473245"/>
            <ac:spMk id="29" creationId="{DAC3305B-ADD2-FFF0-5F70-074C29F15F45}"/>
          </ac:spMkLst>
        </pc:spChg>
        <pc:spChg chg="del">
          <ac:chgData name="Callum Stevenson" userId="86e384b4-b5e1-49b9-8ebe-6ed03b279095" providerId="ADAL" clId="{377E9E7B-4F6F-498B-9A03-A50CD8E91FE8}" dt="2024-07-24T15:08:57.437" v="5382" actId="478"/>
          <ac:spMkLst>
            <pc:docMk/>
            <pc:sldMk cId="2803969439" sldId="2147473245"/>
            <ac:spMk id="30" creationId="{598E9DD6-6E50-EFDA-6900-0B3B07ABA514}"/>
          </ac:spMkLst>
        </pc:spChg>
        <pc:spChg chg="mod">
          <ac:chgData name="Callum Stevenson" userId="86e384b4-b5e1-49b9-8ebe-6ed03b279095" providerId="ADAL" clId="{377E9E7B-4F6F-498B-9A03-A50CD8E91FE8}" dt="2024-07-24T15:11:41.519" v="5411" actId="404"/>
          <ac:spMkLst>
            <pc:docMk/>
            <pc:sldMk cId="2803969439" sldId="2147473245"/>
            <ac:spMk id="31" creationId="{408EE926-D0F8-60C4-3A33-8719841ADE7B}"/>
          </ac:spMkLst>
        </pc:spChg>
        <pc:spChg chg="mod">
          <ac:chgData name="Callum Stevenson" userId="86e384b4-b5e1-49b9-8ebe-6ed03b279095" providerId="ADAL" clId="{377E9E7B-4F6F-498B-9A03-A50CD8E91FE8}" dt="2024-07-24T14:54:21.712" v="5140" actId="14100"/>
          <ac:spMkLst>
            <pc:docMk/>
            <pc:sldMk cId="2803969439" sldId="2147473245"/>
            <ac:spMk id="34" creationId="{4EC29F21-55F9-68B7-1DD1-5C39BB223DF2}"/>
          </ac:spMkLst>
        </pc:spChg>
        <pc:spChg chg="del">
          <ac:chgData name="Callum Stevenson" userId="86e384b4-b5e1-49b9-8ebe-6ed03b279095" providerId="ADAL" clId="{377E9E7B-4F6F-498B-9A03-A50CD8E91FE8}" dt="2024-07-24T14:53:17.781" v="5114" actId="478"/>
          <ac:spMkLst>
            <pc:docMk/>
            <pc:sldMk cId="2803969439" sldId="2147473245"/>
            <ac:spMk id="37" creationId="{16EE4C13-CB91-DA0E-E1B6-CEAF5F801512}"/>
          </ac:spMkLst>
        </pc:spChg>
        <pc:spChg chg="del">
          <ac:chgData name="Callum Stevenson" userId="86e384b4-b5e1-49b9-8ebe-6ed03b279095" providerId="ADAL" clId="{377E9E7B-4F6F-498B-9A03-A50CD8E91FE8}" dt="2024-07-24T14:53:15.680" v="5113" actId="478"/>
          <ac:spMkLst>
            <pc:docMk/>
            <pc:sldMk cId="2803969439" sldId="2147473245"/>
            <ac:spMk id="39" creationId="{4848C926-F794-2068-0A96-35209CFED4A8}"/>
          </ac:spMkLst>
        </pc:spChg>
        <pc:spChg chg="mod">
          <ac:chgData name="Callum Stevenson" userId="86e384b4-b5e1-49b9-8ebe-6ed03b279095" providerId="ADAL" clId="{377E9E7B-4F6F-498B-9A03-A50CD8E91FE8}" dt="2024-07-24T14:54:27.329" v="5141" actId="1076"/>
          <ac:spMkLst>
            <pc:docMk/>
            <pc:sldMk cId="2803969439" sldId="2147473245"/>
            <ac:spMk id="41" creationId="{73CB9B3F-B558-C701-28E7-7FF8A0731FC0}"/>
          </ac:spMkLst>
        </pc:spChg>
        <pc:spChg chg="del">
          <ac:chgData name="Callum Stevenson" userId="86e384b4-b5e1-49b9-8ebe-6ed03b279095" providerId="ADAL" clId="{377E9E7B-4F6F-498B-9A03-A50CD8E91FE8}" dt="2024-07-24T14:53:15.680" v="5113" actId="478"/>
          <ac:spMkLst>
            <pc:docMk/>
            <pc:sldMk cId="2803969439" sldId="2147473245"/>
            <ac:spMk id="45" creationId="{FB4B9D8D-33B5-90C2-1C57-AC431BF8586D}"/>
          </ac:spMkLst>
        </pc:spChg>
        <pc:spChg chg="del">
          <ac:chgData name="Callum Stevenson" userId="86e384b4-b5e1-49b9-8ebe-6ed03b279095" providerId="ADAL" clId="{377E9E7B-4F6F-498B-9A03-A50CD8E91FE8}" dt="2024-07-24T14:53:15.680" v="5113" actId="478"/>
          <ac:spMkLst>
            <pc:docMk/>
            <pc:sldMk cId="2803969439" sldId="2147473245"/>
            <ac:spMk id="46" creationId="{2CC58355-4F86-60A1-5A50-3C8E0AF8F169}"/>
          </ac:spMkLst>
        </pc:spChg>
        <pc:spChg chg="del">
          <ac:chgData name="Callum Stevenson" userId="86e384b4-b5e1-49b9-8ebe-6ed03b279095" providerId="ADAL" clId="{377E9E7B-4F6F-498B-9A03-A50CD8E91FE8}" dt="2024-07-24T14:53:15.680" v="5113" actId="478"/>
          <ac:spMkLst>
            <pc:docMk/>
            <pc:sldMk cId="2803969439" sldId="2147473245"/>
            <ac:spMk id="58" creationId="{2E55DF90-77E2-EB7B-1EA8-F4F3D458BDF9}"/>
          </ac:spMkLst>
        </pc:spChg>
        <pc:spChg chg="del">
          <ac:chgData name="Callum Stevenson" userId="86e384b4-b5e1-49b9-8ebe-6ed03b279095" providerId="ADAL" clId="{377E9E7B-4F6F-498B-9A03-A50CD8E91FE8}" dt="2024-07-24T14:53:15.680" v="5113" actId="478"/>
          <ac:spMkLst>
            <pc:docMk/>
            <pc:sldMk cId="2803969439" sldId="2147473245"/>
            <ac:spMk id="59" creationId="{E6A7BECB-BC87-9395-568E-17EE88B30616}"/>
          </ac:spMkLst>
        </pc:spChg>
        <pc:spChg chg="del">
          <ac:chgData name="Callum Stevenson" userId="86e384b4-b5e1-49b9-8ebe-6ed03b279095" providerId="ADAL" clId="{377E9E7B-4F6F-498B-9A03-A50CD8E91FE8}" dt="2024-07-24T14:53:15.680" v="5113" actId="478"/>
          <ac:spMkLst>
            <pc:docMk/>
            <pc:sldMk cId="2803969439" sldId="2147473245"/>
            <ac:spMk id="60" creationId="{91C04E38-FD65-DCEC-E16F-83A06768E5E8}"/>
          </ac:spMkLst>
        </pc:spChg>
        <pc:spChg chg="del">
          <ac:chgData name="Callum Stevenson" userId="86e384b4-b5e1-49b9-8ebe-6ed03b279095" providerId="ADAL" clId="{377E9E7B-4F6F-498B-9A03-A50CD8E91FE8}" dt="2024-07-24T14:53:15.680" v="5113" actId="478"/>
          <ac:spMkLst>
            <pc:docMk/>
            <pc:sldMk cId="2803969439" sldId="2147473245"/>
            <ac:spMk id="63" creationId="{5DD473B4-D7C5-C463-0705-20F9C65EDB35}"/>
          </ac:spMkLst>
        </pc:spChg>
        <pc:spChg chg="del">
          <ac:chgData name="Callum Stevenson" userId="86e384b4-b5e1-49b9-8ebe-6ed03b279095" providerId="ADAL" clId="{377E9E7B-4F6F-498B-9A03-A50CD8E91FE8}" dt="2024-07-24T14:53:15.680" v="5113" actId="478"/>
          <ac:spMkLst>
            <pc:docMk/>
            <pc:sldMk cId="2803969439" sldId="2147473245"/>
            <ac:spMk id="64" creationId="{BDD4DFB6-DFAA-5710-CA01-7E4984DC1188}"/>
          </ac:spMkLst>
        </pc:spChg>
        <pc:graphicFrameChg chg="add mod modGraphic">
          <ac:chgData name="Callum Stevenson" userId="86e384b4-b5e1-49b9-8ebe-6ed03b279095" providerId="ADAL" clId="{377E9E7B-4F6F-498B-9A03-A50CD8E91FE8}" dt="2024-07-24T15:33:09.269" v="5752" actId="404"/>
          <ac:graphicFrameMkLst>
            <pc:docMk/>
            <pc:sldMk cId="2803969439" sldId="2147473245"/>
            <ac:graphicFrameMk id="32" creationId="{532FE38F-A85E-6E46-A8B3-E74F0B34BF5B}"/>
          </ac:graphicFrameMkLst>
        </pc:graphicFrameChg>
        <pc:picChg chg="add del mod">
          <ac:chgData name="Callum Stevenson" userId="86e384b4-b5e1-49b9-8ebe-6ed03b279095" providerId="ADAL" clId="{377E9E7B-4F6F-498B-9A03-A50CD8E91FE8}" dt="2024-07-24T15:14:24.247" v="5416" actId="478"/>
          <ac:picMkLst>
            <pc:docMk/>
            <pc:sldMk cId="2803969439" sldId="2147473245"/>
            <ac:picMk id="18" creationId="{2435E0EA-45C9-FAEB-A821-AA0D9110219C}"/>
          </ac:picMkLst>
        </pc:picChg>
        <pc:picChg chg="add mod">
          <ac:chgData name="Callum Stevenson" userId="86e384b4-b5e1-49b9-8ebe-6ed03b279095" providerId="ADAL" clId="{377E9E7B-4F6F-498B-9A03-A50CD8E91FE8}" dt="2024-07-24T15:21:51.486" v="5481" actId="14100"/>
          <ac:picMkLst>
            <pc:docMk/>
            <pc:sldMk cId="2803969439" sldId="2147473245"/>
            <ac:picMk id="22" creationId="{645EBD9B-3124-F675-0CA3-5FDFBEF4EAEB}"/>
          </ac:picMkLst>
        </pc:picChg>
        <pc:picChg chg="add del">
          <ac:chgData name="Callum Stevenson" userId="86e384b4-b5e1-49b9-8ebe-6ed03b279095" providerId="ADAL" clId="{377E9E7B-4F6F-498B-9A03-A50CD8E91FE8}" dt="2024-07-24T15:22:38.234" v="5488" actId="478"/>
          <ac:picMkLst>
            <pc:docMk/>
            <pc:sldMk cId="2803969439" sldId="2147473245"/>
            <ac:picMk id="26" creationId="{33489585-9B05-0648-5602-E1DA91CB63D1}"/>
          </ac:picMkLst>
        </pc:picChg>
        <pc:picChg chg="del">
          <ac:chgData name="Callum Stevenson" userId="86e384b4-b5e1-49b9-8ebe-6ed03b279095" providerId="ADAL" clId="{377E9E7B-4F6F-498B-9A03-A50CD8E91FE8}" dt="2024-07-24T14:53:15.680" v="5113" actId="478"/>
          <ac:picMkLst>
            <pc:docMk/>
            <pc:sldMk cId="2803969439" sldId="2147473245"/>
            <ac:picMk id="50" creationId="{1342A9B8-4799-7256-EDEB-FD376DFE979A}"/>
          </ac:picMkLst>
        </pc:picChg>
        <pc:picChg chg="del">
          <ac:chgData name="Callum Stevenson" userId="86e384b4-b5e1-49b9-8ebe-6ed03b279095" providerId="ADAL" clId="{377E9E7B-4F6F-498B-9A03-A50CD8E91FE8}" dt="2024-07-24T14:53:15.680" v="5113" actId="478"/>
          <ac:picMkLst>
            <pc:docMk/>
            <pc:sldMk cId="2803969439" sldId="2147473245"/>
            <ac:picMk id="57" creationId="{105D5CE3-4AB9-B30B-C762-36ED1FE2AF72}"/>
          </ac:picMkLst>
        </pc:picChg>
        <pc:cxnChg chg="del">
          <ac:chgData name="Callum Stevenson" userId="86e384b4-b5e1-49b9-8ebe-6ed03b279095" providerId="ADAL" clId="{377E9E7B-4F6F-498B-9A03-A50CD8E91FE8}" dt="2024-07-24T14:53:15.680" v="5113" actId="478"/>
          <ac:cxnSpMkLst>
            <pc:docMk/>
            <pc:sldMk cId="2803969439" sldId="2147473245"/>
            <ac:cxnSpMk id="52" creationId="{EBA584EF-7CA8-D2C5-8D7F-80135B6840C5}"/>
          </ac:cxnSpMkLst>
        </pc:cxnChg>
      </pc:sldChg>
    </pc:docChg>
  </pc:docChgLst>
  <pc:docChgLst>
    <pc:chgData name="Tim Sankey" userId="b928130f-c400-476a-9847-7f451832e377" providerId="ADAL" clId="{BB3D6405-5679-3D4A-8A0B-854D5FAA4889}"/>
    <pc:docChg chg="undo redo custSel addSld delSld modSld sldOrd modSection">
      <pc:chgData name="Tim Sankey" userId="b928130f-c400-476a-9847-7f451832e377" providerId="ADAL" clId="{BB3D6405-5679-3D4A-8A0B-854D5FAA4889}" dt="2024-07-25T18:25:27.444" v="5332" actId="20577"/>
      <pc:docMkLst>
        <pc:docMk/>
      </pc:docMkLst>
      <pc:sldChg chg="addSp delSp modSp mod">
        <pc:chgData name="Tim Sankey" userId="b928130f-c400-476a-9847-7f451832e377" providerId="ADAL" clId="{BB3D6405-5679-3D4A-8A0B-854D5FAA4889}" dt="2024-07-24T21:06:39.122" v="4135" actId="20577"/>
        <pc:sldMkLst>
          <pc:docMk/>
          <pc:sldMk cId="1811224657" sldId="2147472684"/>
        </pc:sldMkLst>
        <pc:spChg chg="mod">
          <ac:chgData name="Tim Sankey" userId="b928130f-c400-476a-9847-7f451832e377" providerId="ADAL" clId="{BB3D6405-5679-3D4A-8A0B-854D5FAA4889}" dt="2024-07-24T21:06:00.798" v="4103" actId="1076"/>
          <ac:spMkLst>
            <pc:docMk/>
            <pc:sldMk cId="1811224657" sldId="2147472684"/>
            <ac:spMk id="4" creationId="{8335350E-91DE-E8C0-56CF-AB990C2B2617}"/>
          </ac:spMkLst>
        </pc:spChg>
        <pc:spChg chg="add mod">
          <ac:chgData name="Tim Sankey" userId="b928130f-c400-476a-9847-7f451832e377" providerId="ADAL" clId="{BB3D6405-5679-3D4A-8A0B-854D5FAA4889}" dt="2024-07-24T21:06:39.122" v="4135" actId="20577"/>
          <ac:spMkLst>
            <pc:docMk/>
            <pc:sldMk cId="1811224657" sldId="2147472684"/>
            <ac:spMk id="5" creationId="{6B8C194F-2612-E8D8-729D-F7CF78463FA6}"/>
          </ac:spMkLst>
        </pc:spChg>
        <pc:spChg chg="mod">
          <ac:chgData name="Tim Sankey" userId="b928130f-c400-476a-9847-7f451832e377" providerId="ADAL" clId="{BB3D6405-5679-3D4A-8A0B-854D5FAA4889}" dt="2024-07-24T21:06:00.798" v="4103" actId="1076"/>
          <ac:spMkLst>
            <pc:docMk/>
            <pc:sldMk cId="1811224657" sldId="2147472684"/>
            <ac:spMk id="6" creationId="{FAA768AB-7F41-9E39-9E6B-0B971E266D08}"/>
          </ac:spMkLst>
        </pc:spChg>
        <pc:spChg chg="del">
          <ac:chgData name="Tim Sankey" userId="b928130f-c400-476a-9847-7f451832e377" providerId="ADAL" clId="{BB3D6405-5679-3D4A-8A0B-854D5FAA4889}" dt="2024-07-24T18:43:34.342" v="3582" actId="478"/>
          <ac:spMkLst>
            <pc:docMk/>
            <pc:sldMk cId="1811224657" sldId="2147472684"/>
            <ac:spMk id="7" creationId="{33150DD7-833E-5492-C340-207A5F35DAFA}"/>
          </ac:spMkLst>
        </pc:spChg>
        <pc:spChg chg="mod">
          <ac:chgData name="Tim Sankey" userId="b928130f-c400-476a-9847-7f451832e377" providerId="ADAL" clId="{BB3D6405-5679-3D4A-8A0B-854D5FAA4889}" dt="2024-07-24T21:06:00.798" v="4103" actId="1076"/>
          <ac:spMkLst>
            <pc:docMk/>
            <pc:sldMk cId="1811224657" sldId="2147472684"/>
            <ac:spMk id="9" creationId="{589E023C-A381-71B0-529A-B0D6C844E82C}"/>
          </ac:spMkLst>
        </pc:spChg>
        <pc:spChg chg="mod">
          <ac:chgData name="Tim Sankey" userId="b928130f-c400-476a-9847-7f451832e377" providerId="ADAL" clId="{BB3D6405-5679-3D4A-8A0B-854D5FAA4889}" dt="2024-07-24T21:06:00.798" v="4103" actId="1076"/>
          <ac:spMkLst>
            <pc:docMk/>
            <pc:sldMk cId="1811224657" sldId="2147472684"/>
            <ac:spMk id="10" creationId="{DA81CF2A-1121-93F2-1035-A0D7F455EFA9}"/>
          </ac:spMkLst>
        </pc:spChg>
        <pc:spChg chg="mod">
          <ac:chgData name="Tim Sankey" userId="b928130f-c400-476a-9847-7f451832e377" providerId="ADAL" clId="{BB3D6405-5679-3D4A-8A0B-854D5FAA4889}" dt="2024-07-24T21:06:00.798" v="4103" actId="1076"/>
          <ac:spMkLst>
            <pc:docMk/>
            <pc:sldMk cId="1811224657" sldId="2147472684"/>
            <ac:spMk id="11" creationId="{85A2BB92-5A7F-287C-07F4-E034209F6011}"/>
          </ac:spMkLst>
        </pc:spChg>
        <pc:spChg chg="mod">
          <ac:chgData name="Tim Sankey" userId="b928130f-c400-476a-9847-7f451832e377" providerId="ADAL" clId="{BB3D6405-5679-3D4A-8A0B-854D5FAA4889}" dt="2024-07-24T21:06:00.798" v="4103" actId="1076"/>
          <ac:spMkLst>
            <pc:docMk/>
            <pc:sldMk cId="1811224657" sldId="2147472684"/>
            <ac:spMk id="12" creationId="{85B2A427-B7DF-81BD-10F4-F48A019F6610}"/>
          </ac:spMkLst>
        </pc:spChg>
        <pc:spChg chg="mod">
          <ac:chgData name="Tim Sankey" userId="b928130f-c400-476a-9847-7f451832e377" providerId="ADAL" clId="{BB3D6405-5679-3D4A-8A0B-854D5FAA4889}" dt="2024-07-24T21:06:00.798" v="4103" actId="1076"/>
          <ac:spMkLst>
            <pc:docMk/>
            <pc:sldMk cId="1811224657" sldId="2147472684"/>
            <ac:spMk id="13" creationId="{24AE2EF1-9FB9-8266-5641-A3AC28AB1CCA}"/>
          </ac:spMkLst>
        </pc:spChg>
        <pc:spChg chg="del">
          <ac:chgData name="Tim Sankey" userId="b928130f-c400-476a-9847-7f451832e377" providerId="ADAL" clId="{BB3D6405-5679-3D4A-8A0B-854D5FAA4889}" dt="2024-07-24T20:56:26.359" v="3979" actId="478"/>
          <ac:spMkLst>
            <pc:docMk/>
            <pc:sldMk cId="1811224657" sldId="2147472684"/>
            <ac:spMk id="42" creationId="{4F073E1E-A369-0BAA-CC5E-4105BBFFB8EE}"/>
          </ac:spMkLst>
        </pc:spChg>
        <pc:grpChg chg="add mod">
          <ac:chgData name="Tim Sankey" userId="b928130f-c400-476a-9847-7f451832e377" providerId="ADAL" clId="{BB3D6405-5679-3D4A-8A0B-854D5FAA4889}" dt="2024-07-24T21:06:00.798" v="4103" actId="1076"/>
          <ac:grpSpMkLst>
            <pc:docMk/>
            <pc:sldMk cId="1811224657" sldId="2147472684"/>
            <ac:grpSpMk id="3" creationId="{2F2AEDBB-9A19-E3B7-A8AA-2B996874CBA7}"/>
          </ac:grpSpMkLst>
        </pc:grpChg>
      </pc:sldChg>
      <pc:sldChg chg="addSp delSp modSp mod">
        <pc:chgData name="Tim Sankey" userId="b928130f-c400-476a-9847-7f451832e377" providerId="ADAL" clId="{BB3D6405-5679-3D4A-8A0B-854D5FAA4889}" dt="2024-07-24T17:13:52.811" v="3571" actId="732"/>
        <pc:sldMkLst>
          <pc:docMk/>
          <pc:sldMk cId="3357051749" sldId="2147472762"/>
        </pc:sldMkLst>
        <pc:spChg chg="del mod">
          <ac:chgData name="Tim Sankey" userId="b928130f-c400-476a-9847-7f451832e377" providerId="ADAL" clId="{BB3D6405-5679-3D4A-8A0B-854D5FAA4889}" dt="2024-07-24T17:11:52.240" v="3550" actId="478"/>
          <ac:spMkLst>
            <pc:docMk/>
            <pc:sldMk cId="3357051749" sldId="2147472762"/>
            <ac:spMk id="4" creationId="{F46638C7-ADBF-00C7-E782-A6A6FFADD6CC}"/>
          </ac:spMkLst>
        </pc:spChg>
        <pc:picChg chg="add del mod">
          <ac:chgData name="Tim Sankey" userId="b928130f-c400-476a-9847-7f451832e377" providerId="ADAL" clId="{BB3D6405-5679-3D4A-8A0B-854D5FAA4889}" dt="2024-07-24T17:13:12.503" v="3561" actId="478"/>
          <ac:picMkLst>
            <pc:docMk/>
            <pc:sldMk cId="3357051749" sldId="2147472762"/>
            <ac:picMk id="1026" creationId="{1E5C14EB-8FF5-431E-0285-2EC65D532EA5}"/>
          </ac:picMkLst>
        </pc:picChg>
        <pc:picChg chg="add del mod">
          <ac:chgData name="Tim Sankey" userId="b928130f-c400-476a-9847-7f451832e377" providerId="ADAL" clId="{BB3D6405-5679-3D4A-8A0B-854D5FAA4889}" dt="2024-07-24T17:13:52.811" v="3571" actId="732"/>
          <ac:picMkLst>
            <pc:docMk/>
            <pc:sldMk cId="3357051749" sldId="2147472762"/>
            <ac:picMk id="1028" creationId="{21E4F7A5-D498-07ED-0148-33B5FFD1C363}"/>
          </ac:picMkLst>
        </pc:picChg>
      </pc:sldChg>
      <pc:sldChg chg="modSp mod">
        <pc:chgData name="Tim Sankey" userId="b928130f-c400-476a-9847-7f451832e377" providerId="ADAL" clId="{BB3D6405-5679-3D4A-8A0B-854D5FAA4889}" dt="2024-07-24T18:47:06.870" v="3595" actId="1035"/>
        <pc:sldMkLst>
          <pc:docMk/>
          <pc:sldMk cId="102905530" sldId="2147472924"/>
        </pc:sldMkLst>
        <pc:spChg chg="mod">
          <ac:chgData name="Tim Sankey" userId="b928130f-c400-476a-9847-7f451832e377" providerId="ADAL" clId="{BB3D6405-5679-3D4A-8A0B-854D5FAA4889}" dt="2024-07-24T18:47:06.870" v="3595" actId="1035"/>
          <ac:spMkLst>
            <pc:docMk/>
            <pc:sldMk cId="102905530" sldId="2147472924"/>
            <ac:spMk id="3" creationId="{DA889A8D-C759-4AFA-51E1-2F2D342A129A}"/>
          </ac:spMkLst>
        </pc:spChg>
        <pc:spChg chg="mod">
          <ac:chgData name="Tim Sankey" userId="b928130f-c400-476a-9847-7f451832e377" providerId="ADAL" clId="{BB3D6405-5679-3D4A-8A0B-854D5FAA4889}" dt="2024-07-24T18:46:43.592" v="3591" actId="692"/>
          <ac:spMkLst>
            <pc:docMk/>
            <pc:sldMk cId="102905530" sldId="2147472924"/>
            <ac:spMk id="320" creationId="{8FF08C60-994E-49E9-89B3-5F9CB665D1A8}"/>
          </ac:spMkLst>
        </pc:spChg>
      </pc:sldChg>
      <pc:sldChg chg="modSp mod">
        <pc:chgData name="Tim Sankey" userId="b928130f-c400-476a-9847-7f451832e377" providerId="ADAL" clId="{BB3D6405-5679-3D4A-8A0B-854D5FAA4889}" dt="2024-07-24T18:48:32.518" v="3606" actId="207"/>
        <pc:sldMkLst>
          <pc:docMk/>
          <pc:sldMk cId="3738188456" sldId="2147473214"/>
        </pc:sldMkLst>
        <pc:spChg chg="mod">
          <ac:chgData name="Tim Sankey" userId="b928130f-c400-476a-9847-7f451832e377" providerId="ADAL" clId="{BB3D6405-5679-3D4A-8A0B-854D5FAA4889}" dt="2024-07-24T18:46:26" v="3589" actId="692"/>
          <ac:spMkLst>
            <pc:docMk/>
            <pc:sldMk cId="3738188456" sldId="2147473214"/>
            <ac:spMk id="11" creationId="{3E75D156-641F-A9C9-8843-92D424F32966}"/>
          </ac:spMkLst>
        </pc:spChg>
        <pc:spChg chg="mod">
          <ac:chgData name="Tim Sankey" userId="b928130f-c400-476a-9847-7f451832e377" providerId="ADAL" clId="{BB3D6405-5679-3D4A-8A0B-854D5FAA4889}" dt="2024-07-24T18:48:28.757" v="3605" actId="207"/>
          <ac:spMkLst>
            <pc:docMk/>
            <pc:sldMk cId="3738188456" sldId="2147473214"/>
            <ac:spMk id="27" creationId="{2C0F55AF-C443-04CC-5128-049B4A097985}"/>
          </ac:spMkLst>
        </pc:spChg>
        <pc:spChg chg="mod">
          <ac:chgData name="Tim Sankey" userId="b928130f-c400-476a-9847-7f451832e377" providerId="ADAL" clId="{BB3D6405-5679-3D4A-8A0B-854D5FAA4889}" dt="2024-07-24T18:48:09.302" v="3603" actId="1076"/>
          <ac:spMkLst>
            <pc:docMk/>
            <pc:sldMk cId="3738188456" sldId="2147473214"/>
            <ac:spMk id="41" creationId="{F810AC31-12B2-AD2E-DCBF-00F4B988BF3D}"/>
          </ac:spMkLst>
        </pc:spChg>
        <pc:spChg chg="mod">
          <ac:chgData name="Tim Sankey" userId="b928130f-c400-476a-9847-7f451832e377" providerId="ADAL" clId="{BB3D6405-5679-3D4A-8A0B-854D5FAA4889}" dt="2024-07-24T18:48:20.336" v="3604" actId="14100"/>
          <ac:spMkLst>
            <pc:docMk/>
            <pc:sldMk cId="3738188456" sldId="2147473214"/>
            <ac:spMk id="43" creationId="{E6A3C8B0-2B7D-1578-43B4-1174134821E1}"/>
          </ac:spMkLst>
        </pc:spChg>
        <pc:spChg chg="mod">
          <ac:chgData name="Tim Sankey" userId="b928130f-c400-476a-9847-7f451832e377" providerId="ADAL" clId="{BB3D6405-5679-3D4A-8A0B-854D5FAA4889}" dt="2024-07-24T18:48:32.518" v="3606" actId="207"/>
          <ac:spMkLst>
            <pc:docMk/>
            <pc:sldMk cId="3738188456" sldId="2147473214"/>
            <ac:spMk id="45" creationId="{CD9D0E78-047D-3DA3-D1F4-A066F006D2D1}"/>
          </ac:spMkLst>
        </pc:spChg>
      </pc:sldChg>
      <pc:sldChg chg="modSp mod">
        <pc:chgData name="Tim Sankey" userId="b928130f-c400-476a-9847-7f451832e377" providerId="ADAL" clId="{BB3D6405-5679-3D4A-8A0B-854D5FAA4889}" dt="2024-07-24T19:33:14.567" v="3610" actId="692"/>
        <pc:sldMkLst>
          <pc:docMk/>
          <pc:sldMk cId="478299678" sldId="2147473217"/>
        </pc:sldMkLst>
        <pc:spChg chg="mod">
          <ac:chgData name="Tim Sankey" userId="b928130f-c400-476a-9847-7f451832e377" providerId="ADAL" clId="{BB3D6405-5679-3D4A-8A0B-854D5FAA4889}" dt="2024-07-24T19:33:14.567" v="3610" actId="692"/>
          <ac:spMkLst>
            <pc:docMk/>
            <pc:sldMk cId="478299678" sldId="2147473217"/>
            <ac:spMk id="17" creationId="{238F00B1-A825-ACCA-FD5B-DE08A37E5836}"/>
          </ac:spMkLst>
        </pc:spChg>
      </pc:sldChg>
      <pc:sldChg chg="addSp delSp modSp mod">
        <pc:chgData name="Tim Sankey" userId="b928130f-c400-476a-9847-7f451832e377" providerId="ADAL" clId="{BB3D6405-5679-3D4A-8A0B-854D5FAA4889}" dt="2024-07-24T21:46:52.868" v="4431" actId="207"/>
        <pc:sldMkLst>
          <pc:docMk/>
          <pc:sldMk cId="2357753741" sldId="2147473220"/>
        </pc:sldMkLst>
        <pc:spChg chg="mod">
          <ac:chgData name="Tim Sankey" userId="b928130f-c400-476a-9847-7f451832e377" providerId="ADAL" clId="{BB3D6405-5679-3D4A-8A0B-854D5FAA4889}" dt="2024-07-24T21:01:10.940" v="4012" actId="1076"/>
          <ac:spMkLst>
            <pc:docMk/>
            <pc:sldMk cId="2357753741" sldId="2147473220"/>
            <ac:spMk id="2" creationId="{2586AC7D-2C94-3C6B-F76B-1670FDEE94C8}"/>
          </ac:spMkLst>
        </pc:spChg>
        <pc:spChg chg="add mod">
          <ac:chgData name="Tim Sankey" userId="b928130f-c400-476a-9847-7f451832e377" providerId="ADAL" clId="{BB3D6405-5679-3D4A-8A0B-854D5FAA4889}" dt="2024-07-24T21:00:21.925" v="4005" actId="20577"/>
          <ac:spMkLst>
            <pc:docMk/>
            <pc:sldMk cId="2357753741" sldId="2147473220"/>
            <ac:spMk id="3" creationId="{BF39D44D-A565-CC98-662F-ECC2D8E187D7}"/>
          </ac:spMkLst>
        </pc:spChg>
        <pc:spChg chg="del mod">
          <ac:chgData name="Tim Sankey" userId="b928130f-c400-476a-9847-7f451832e377" providerId="ADAL" clId="{BB3D6405-5679-3D4A-8A0B-854D5FAA4889}" dt="2024-07-24T20:56:37.230" v="3983" actId="478"/>
          <ac:spMkLst>
            <pc:docMk/>
            <pc:sldMk cId="2357753741" sldId="2147473220"/>
            <ac:spMk id="7" creationId="{33150DD7-833E-5492-C340-207A5F35DAFA}"/>
          </ac:spMkLst>
        </pc:spChg>
        <pc:spChg chg="del">
          <ac:chgData name="Tim Sankey" userId="b928130f-c400-476a-9847-7f451832e377" providerId="ADAL" clId="{BB3D6405-5679-3D4A-8A0B-854D5FAA4889}" dt="2024-07-24T20:56:19.810" v="3977" actId="478"/>
          <ac:spMkLst>
            <pc:docMk/>
            <pc:sldMk cId="2357753741" sldId="2147473220"/>
            <ac:spMk id="42" creationId="{4F073E1E-A369-0BAA-CC5E-4105BBFFB8EE}"/>
          </ac:spMkLst>
        </pc:spChg>
        <pc:picChg chg="add mod">
          <ac:chgData name="Tim Sankey" userId="b928130f-c400-476a-9847-7f451832e377" providerId="ADAL" clId="{BB3D6405-5679-3D4A-8A0B-854D5FAA4889}" dt="2024-07-24T21:46:52.868" v="4431" actId="207"/>
          <ac:picMkLst>
            <pc:docMk/>
            <pc:sldMk cId="2357753741" sldId="2147473220"/>
            <ac:picMk id="5" creationId="{BADDF5AB-5CE0-6B27-8DFE-97666B8352DD}"/>
          </ac:picMkLst>
        </pc:picChg>
      </pc:sldChg>
      <pc:sldChg chg="addSp delSp modSp mod">
        <pc:chgData name="Tim Sankey" userId="b928130f-c400-476a-9847-7f451832e377" providerId="ADAL" clId="{BB3D6405-5679-3D4A-8A0B-854D5FAA4889}" dt="2024-07-24T21:01:37.552" v="4035" actId="20577"/>
        <pc:sldMkLst>
          <pc:docMk/>
          <pc:sldMk cId="2372402531" sldId="2147473222"/>
        </pc:sldMkLst>
        <pc:spChg chg="del mod">
          <ac:chgData name="Tim Sankey" userId="b928130f-c400-476a-9847-7f451832e377" providerId="ADAL" clId="{BB3D6405-5679-3D4A-8A0B-854D5FAA4889}" dt="2024-07-24T21:01:20.457" v="4014" actId="478"/>
          <ac:spMkLst>
            <pc:docMk/>
            <pc:sldMk cId="2372402531" sldId="2147473222"/>
            <ac:spMk id="2" creationId="{2586AC7D-2C94-3C6B-F76B-1670FDEE94C8}"/>
          </ac:spMkLst>
        </pc:spChg>
        <pc:spChg chg="add mod">
          <ac:chgData name="Tim Sankey" userId="b928130f-c400-476a-9847-7f451832e377" providerId="ADAL" clId="{BB3D6405-5679-3D4A-8A0B-854D5FAA4889}" dt="2024-07-24T21:01:37.552" v="4035" actId="20577"/>
          <ac:spMkLst>
            <pc:docMk/>
            <pc:sldMk cId="2372402531" sldId="2147473222"/>
            <ac:spMk id="5" creationId="{394C6314-94E1-68D4-8925-A0B0EDDD1656}"/>
          </ac:spMkLst>
        </pc:spChg>
        <pc:spChg chg="add mod">
          <ac:chgData name="Tim Sankey" userId="b928130f-c400-476a-9847-7f451832e377" providerId="ADAL" clId="{BB3D6405-5679-3D4A-8A0B-854D5FAA4889}" dt="2024-07-24T21:01:15.582" v="4013"/>
          <ac:spMkLst>
            <pc:docMk/>
            <pc:sldMk cId="2372402531" sldId="2147473222"/>
            <ac:spMk id="6" creationId="{10F0BB9B-17BC-81A6-556C-97980BC836AF}"/>
          </ac:spMkLst>
        </pc:spChg>
        <pc:spChg chg="del">
          <ac:chgData name="Tim Sankey" userId="b928130f-c400-476a-9847-7f451832e377" providerId="ADAL" clId="{BB3D6405-5679-3D4A-8A0B-854D5FAA4889}" dt="2024-07-24T20:56:35.319" v="3981" actId="478"/>
          <ac:spMkLst>
            <pc:docMk/>
            <pc:sldMk cId="2372402531" sldId="2147473222"/>
            <ac:spMk id="7" creationId="{33150DD7-833E-5492-C340-207A5F35DAFA}"/>
          </ac:spMkLst>
        </pc:spChg>
        <pc:spChg chg="add mod">
          <ac:chgData name="Tim Sankey" userId="b928130f-c400-476a-9847-7f451832e377" providerId="ADAL" clId="{BB3D6405-5679-3D4A-8A0B-854D5FAA4889}" dt="2024-07-24T21:01:32.786" v="4034" actId="20577"/>
          <ac:spMkLst>
            <pc:docMk/>
            <pc:sldMk cId="2372402531" sldId="2147473222"/>
            <ac:spMk id="8" creationId="{9DC55ACA-CDFB-326A-95B2-768E32BD8508}"/>
          </ac:spMkLst>
        </pc:spChg>
        <pc:spChg chg="del">
          <ac:chgData name="Tim Sankey" userId="b928130f-c400-476a-9847-7f451832e377" providerId="ADAL" clId="{BB3D6405-5679-3D4A-8A0B-854D5FAA4889}" dt="2024-07-24T20:56:23.246" v="3978" actId="478"/>
          <ac:spMkLst>
            <pc:docMk/>
            <pc:sldMk cId="2372402531" sldId="2147473222"/>
            <ac:spMk id="42" creationId="{4F073E1E-A369-0BAA-CC5E-4105BBFFB8EE}"/>
          </ac:spMkLst>
        </pc:spChg>
        <pc:picChg chg="add mod">
          <ac:chgData name="Tim Sankey" userId="b928130f-c400-476a-9847-7f451832e377" providerId="ADAL" clId="{BB3D6405-5679-3D4A-8A0B-854D5FAA4889}" dt="2024-07-24T20:58:22.510" v="3993" actId="1038"/>
          <ac:picMkLst>
            <pc:docMk/>
            <pc:sldMk cId="2372402531" sldId="2147473222"/>
            <ac:picMk id="4" creationId="{1038CAAB-939A-3445-AC46-19C8E5F53234}"/>
          </ac:picMkLst>
        </pc:picChg>
      </pc:sldChg>
      <pc:sldChg chg="modSp mod">
        <pc:chgData name="Tim Sankey" userId="b928130f-c400-476a-9847-7f451832e377" providerId="ADAL" clId="{BB3D6405-5679-3D4A-8A0B-854D5FAA4889}" dt="2024-07-24T17:07:39.802" v="3538" actId="692"/>
        <pc:sldMkLst>
          <pc:docMk/>
          <pc:sldMk cId="537899077" sldId="2147473224"/>
        </pc:sldMkLst>
        <pc:spChg chg="mod">
          <ac:chgData name="Tim Sankey" userId="b928130f-c400-476a-9847-7f451832e377" providerId="ADAL" clId="{BB3D6405-5679-3D4A-8A0B-854D5FAA4889}" dt="2024-07-24T17:07:39.802" v="3538" actId="692"/>
          <ac:spMkLst>
            <pc:docMk/>
            <pc:sldMk cId="537899077" sldId="2147473224"/>
            <ac:spMk id="11" creationId="{3E75D156-641F-A9C9-8843-92D424F32966}"/>
          </ac:spMkLst>
        </pc:spChg>
      </pc:sldChg>
      <pc:sldChg chg="modSp mod">
        <pc:chgData name="Tim Sankey" userId="b928130f-c400-476a-9847-7f451832e377" providerId="ADAL" clId="{BB3D6405-5679-3D4A-8A0B-854D5FAA4889}" dt="2024-07-24T17:08:19.633" v="3541" actId="692"/>
        <pc:sldMkLst>
          <pc:docMk/>
          <pc:sldMk cId="313628890" sldId="2147473225"/>
        </pc:sldMkLst>
        <pc:spChg chg="mod">
          <ac:chgData name="Tim Sankey" userId="b928130f-c400-476a-9847-7f451832e377" providerId="ADAL" clId="{BB3D6405-5679-3D4A-8A0B-854D5FAA4889}" dt="2024-07-24T17:08:19.633" v="3541" actId="692"/>
          <ac:spMkLst>
            <pc:docMk/>
            <pc:sldMk cId="313628890" sldId="2147473225"/>
            <ac:spMk id="11" creationId="{3E75D156-641F-A9C9-8843-92D424F32966}"/>
          </ac:spMkLst>
        </pc:spChg>
      </pc:sldChg>
      <pc:sldChg chg="addSp delSp modSp new mod">
        <pc:chgData name="Tim Sankey" userId="b928130f-c400-476a-9847-7f451832e377" providerId="ADAL" clId="{BB3D6405-5679-3D4A-8A0B-854D5FAA4889}" dt="2024-07-25T18:25:27.444" v="5332" actId="20577"/>
        <pc:sldMkLst>
          <pc:docMk/>
          <pc:sldMk cId="1798023390" sldId="2147473226"/>
        </pc:sldMkLst>
        <pc:spChg chg="del">
          <ac:chgData name="Tim Sankey" userId="b928130f-c400-476a-9847-7f451832e377" providerId="ADAL" clId="{BB3D6405-5679-3D4A-8A0B-854D5FAA4889}" dt="2024-07-23T23:33:29.881" v="76" actId="478"/>
          <ac:spMkLst>
            <pc:docMk/>
            <pc:sldMk cId="1798023390" sldId="2147473226"/>
            <ac:spMk id="2" creationId="{4ACB8938-0FD0-0614-1C4F-104690092F89}"/>
          </ac:spMkLst>
        </pc:spChg>
        <pc:spChg chg="mod">
          <ac:chgData name="Tim Sankey" userId="b928130f-c400-476a-9847-7f451832e377" providerId="ADAL" clId="{BB3D6405-5679-3D4A-8A0B-854D5FAA4889}" dt="2024-07-25T17:02:48.271" v="4928" actId="20577"/>
          <ac:spMkLst>
            <pc:docMk/>
            <pc:sldMk cId="1798023390" sldId="2147473226"/>
            <ac:spMk id="3" creationId="{06369ECC-B4BB-1AA3-CBA5-738B855E393D}"/>
          </ac:spMkLst>
        </pc:spChg>
        <pc:spChg chg="add del mod">
          <ac:chgData name="Tim Sankey" userId="b928130f-c400-476a-9847-7f451832e377" providerId="ADAL" clId="{BB3D6405-5679-3D4A-8A0B-854D5FAA4889}" dt="2024-07-23T23:35:18.684" v="86" actId="478"/>
          <ac:spMkLst>
            <pc:docMk/>
            <pc:sldMk cId="1798023390" sldId="2147473226"/>
            <ac:spMk id="5" creationId="{236E7B25-92DE-B567-C944-BA63FD6D1F5B}"/>
          </ac:spMkLst>
        </pc:spChg>
        <pc:spChg chg="add del mod">
          <ac:chgData name="Tim Sankey" userId="b928130f-c400-476a-9847-7f451832e377" providerId="ADAL" clId="{BB3D6405-5679-3D4A-8A0B-854D5FAA4889}" dt="2024-07-23T23:35:36.448" v="94" actId="478"/>
          <ac:spMkLst>
            <pc:docMk/>
            <pc:sldMk cId="1798023390" sldId="2147473226"/>
            <ac:spMk id="6" creationId="{9A839161-F94D-C5E3-24A2-9A36A4DF5D13}"/>
          </ac:spMkLst>
        </pc:spChg>
        <pc:spChg chg="add mod">
          <ac:chgData name="Tim Sankey" userId="b928130f-c400-476a-9847-7f451832e377" providerId="ADAL" clId="{BB3D6405-5679-3D4A-8A0B-854D5FAA4889}" dt="2024-07-25T18:25:27.444" v="5332" actId="20577"/>
          <ac:spMkLst>
            <pc:docMk/>
            <pc:sldMk cId="1798023390" sldId="2147473226"/>
            <ac:spMk id="7" creationId="{BC10AC3D-8F3D-3C22-0005-F996D0538BDE}"/>
          </ac:spMkLst>
        </pc:spChg>
        <pc:spChg chg="add mod">
          <ac:chgData name="Tim Sankey" userId="b928130f-c400-476a-9847-7f451832e377" providerId="ADAL" clId="{BB3D6405-5679-3D4A-8A0B-854D5FAA4889}" dt="2024-07-24T00:08:13.460" v="1718" actId="207"/>
          <ac:spMkLst>
            <pc:docMk/>
            <pc:sldMk cId="1798023390" sldId="2147473226"/>
            <ac:spMk id="8" creationId="{A6C57D2B-BE11-6778-2699-4C3253D1CB78}"/>
          </ac:spMkLst>
        </pc:spChg>
        <pc:spChg chg="add mod">
          <ac:chgData name="Tim Sankey" userId="b928130f-c400-476a-9847-7f451832e377" providerId="ADAL" clId="{BB3D6405-5679-3D4A-8A0B-854D5FAA4889}" dt="2024-07-25T00:33:44.667" v="4628" actId="2711"/>
          <ac:spMkLst>
            <pc:docMk/>
            <pc:sldMk cId="1798023390" sldId="2147473226"/>
            <ac:spMk id="9" creationId="{05A47369-2460-357A-C5E0-4BCEAA32A813}"/>
          </ac:spMkLst>
        </pc:spChg>
        <pc:spChg chg="add mod">
          <ac:chgData name="Tim Sankey" userId="b928130f-c400-476a-9847-7f451832e377" providerId="ADAL" clId="{BB3D6405-5679-3D4A-8A0B-854D5FAA4889}" dt="2024-07-24T00:08:16.207" v="1719" actId="207"/>
          <ac:spMkLst>
            <pc:docMk/>
            <pc:sldMk cId="1798023390" sldId="2147473226"/>
            <ac:spMk id="10" creationId="{6576AA7C-02A4-63A0-27E4-A24FDDA5C5F0}"/>
          </ac:spMkLst>
        </pc:spChg>
        <pc:spChg chg="add mod">
          <ac:chgData name="Tim Sankey" userId="b928130f-c400-476a-9847-7f451832e377" providerId="ADAL" clId="{BB3D6405-5679-3D4A-8A0B-854D5FAA4889}" dt="2024-07-25T00:33:44.667" v="4628" actId="2711"/>
          <ac:spMkLst>
            <pc:docMk/>
            <pc:sldMk cId="1798023390" sldId="2147473226"/>
            <ac:spMk id="11" creationId="{839E24DA-C8AC-7BFF-09D4-375C9E02B20B}"/>
          </ac:spMkLst>
        </pc:spChg>
        <pc:spChg chg="add del mod">
          <ac:chgData name="Tim Sankey" userId="b928130f-c400-476a-9847-7f451832e377" providerId="ADAL" clId="{BB3D6405-5679-3D4A-8A0B-854D5FAA4889}" dt="2024-07-23T23:38:47.778" v="240" actId="478"/>
          <ac:spMkLst>
            <pc:docMk/>
            <pc:sldMk cId="1798023390" sldId="2147473226"/>
            <ac:spMk id="12" creationId="{0C919117-0639-9CEF-0624-E242E25654ED}"/>
          </ac:spMkLst>
        </pc:spChg>
        <pc:spChg chg="add mod">
          <ac:chgData name="Tim Sankey" userId="b928130f-c400-476a-9847-7f451832e377" providerId="ADAL" clId="{BB3D6405-5679-3D4A-8A0B-854D5FAA4889}" dt="2024-07-25T00:33:44.667" v="4628" actId="2711"/>
          <ac:spMkLst>
            <pc:docMk/>
            <pc:sldMk cId="1798023390" sldId="2147473226"/>
            <ac:spMk id="13" creationId="{DECED5D6-1AA0-D340-0641-B50C828F8DF1}"/>
          </ac:spMkLst>
        </pc:spChg>
        <pc:spChg chg="add mod">
          <ac:chgData name="Tim Sankey" userId="b928130f-c400-476a-9847-7f451832e377" providerId="ADAL" clId="{BB3D6405-5679-3D4A-8A0B-854D5FAA4889}" dt="2024-07-24T00:08:10.206" v="1717" actId="207"/>
          <ac:spMkLst>
            <pc:docMk/>
            <pc:sldMk cId="1798023390" sldId="2147473226"/>
            <ac:spMk id="14" creationId="{A4732923-ED1F-046A-E1D8-E75CD2418BFF}"/>
          </ac:spMkLst>
        </pc:spChg>
        <pc:spChg chg="add mod">
          <ac:chgData name="Tim Sankey" userId="b928130f-c400-476a-9847-7f451832e377" providerId="ADAL" clId="{BB3D6405-5679-3D4A-8A0B-854D5FAA4889}" dt="2024-07-25T00:33:44.667" v="4628" actId="2711"/>
          <ac:spMkLst>
            <pc:docMk/>
            <pc:sldMk cId="1798023390" sldId="2147473226"/>
            <ac:spMk id="15" creationId="{3B308975-9A57-58FA-3890-E4AB45CAFAE7}"/>
          </ac:spMkLst>
        </pc:spChg>
        <pc:spChg chg="add mod">
          <ac:chgData name="Tim Sankey" userId="b928130f-c400-476a-9847-7f451832e377" providerId="ADAL" clId="{BB3D6405-5679-3D4A-8A0B-854D5FAA4889}" dt="2024-07-25T18:25:11.842" v="5326" actId="20577"/>
          <ac:spMkLst>
            <pc:docMk/>
            <pc:sldMk cId="1798023390" sldId="2147473226"/>
            <ac:spMk id="16" creationId="{49AA138C-1119-C4D9-09B0-0BA66E035FA7}"/>
          </ac:spMkLst>
        </pc:spChg>
        <pc:spChg chg="add mod">
          <ac:chgData name="Tim Sankey" userId="b928130f-c400-476a-9847-7f451832e377" providerId="ADAL" clId="{BB3D6405-5679-3D4A-8A0B-854D5FAA4889}" dt="2024-07-25T00:33:44.667" v="4628" actId="2711"/>
          <ac:spMkLst>
            <pc:docMk/>
            <pc:sldMk cId="1798023390" sldId="2147473226"/>
            <ac:spMk id="17" creationId="{800C7926-5A60-372B-6125-D7CD08A84CAD}"/>
          </ac:spMkLst>
        </pc:spChg>
        <pc:spChg chg="add mod">
          <ac:chgData name="Tim Sankey" userId="b928130f-c400-476a-9847-7f451832e377" providerId="ADAL" clId="{BB3D6405-5679-3D4A-8A0B-854D5FAA4889}" dt="2024-07-25T00:33:44.667" v="4628" actId="2711"/>
          <ac:spMkLst>
            <pc:docMk/>
            <pc:sldMk cId="1798023390" sldId="2147473226"/>
            <ac:spMk id="18" creationId="{44E65274-9B47-D1DF-DBD8-5950F9C33F96}"/>
          </ac:spMkLst>
        </pc:spChg>
        <pc:spChg chg="add mod">
          <ac:chgData name="Tim Sankey" userId="b928130f-c400-476a-9847-7f451832e377" providerId="ADAL" clId="{BB3D6405-5679-3D4A-8A0B-854D5FAA4889}" dt="2024-07-23T23:47:33.987" v="504"/>
          <ac:spMkLst>
            <pc:docMk/>
            <pc:sldMk cId="1798023390" sldId="2147473226"/>
            <ac:spMk id="19" creationId="{ABC733FB-AAEB-C2E7-BC5A-B6847FD19D9E}"/>
          </ac:spMkLst>
        </pc:spChg>
        <pc:spChg chg="add mod">
          <ac:chgData name="Tim Sankey" userId="b928130f-c400-476a-9847-7f451832e377" providerId="ADAL" clId="{BB3D6405-5679-3D4A-8A0B-854D5FAA4889}" dt="2024-07-25T00:33:44.667" v="4628" actId="2711"/>
          <ac:spMkLst>
            <pc:docMk/>
            <pc:sldMk cId="1798023390" sldId="2147473226"/>
            <ac:spMk id="20" creationId="{986E1291-5D97-EB1D-95F9-4A81FEACCFB1}"/>
          </ac:spMkLst>
        </pc:spChg>
        <pc:graphicFrameChg chg="add del mod modGraphic">
          <ac:chgData name="Tim Sankey" userId="b928130f-c400-476a-9847-7f451832e377" providerId="ADAL" clId="{BB3D6405-5679-3D4A-8A0B-854D5FAA4889}" dt="2024-07-23T23:29:56.006" v="65" actId="478"/>
          <ac:graphicFrameMkLst>
            <pc:docMk/>
            <pc:sldMk cId="1798023390" sldId="2147473226"/>
            <ac:graphicFrameMk id="4" creationId="{C3440355-25EF-B8DE-BA31-D73416167DB9}"/>
          </ac:graphicFrameMkLst>
        </pc:graphicFrameChg>
      </pc:sldChg>
      <pc:sldChg chg="addSp delSp modSp mod ord">
        <pc:chgData name="Tim Sankey" userId="b928130f-c400-476a-9847-7f451832e377" providerId="ADAL" clId="{BB3D6405-5679-3D4A-8A0B-854D5FAA4889}" dt="2024-07-24T21:45:35.256" v="4425" actId="1076"/>
        <pc:sldMkLst>
          <pc:docMk/>
          <pc:sldMk cId="415219194" sldId="2147473227"/>
        </pc:sldMkLst>
        <pc:spChg chg="mod">
          <ac:chgData name="Tim Sankey" userId="b928130f-c400-476a-9847-7f451832e377" providerId="ADAL" clId="{BB3D6405-5679-3D4A-8A0B-854D5FAA4889}" dt="2024-07-24T21:45:02.662" v="4419" actId="14100"/>
          <ac:spMkLst>
            <pc:docMk/>
            <pc:sldMk cId="415219194" sldId="2147473227"/>
            <ac:spMk id="2" creationId="{2586AC7D-2C94-3C6B-F76B-1670FDEE94C8}"/>
          </ac:spMkLst>
        </pc:spChg>
        <pc:spChg chg="add mod">
          <ac:chgData name="Tim Sankey" userId="b928130f-c400-476a-9847-7f451832e377" providerId="ADAL" clId="{BB3D6405-5679-3D4A-8A0B-854D5FAA4889}" dt="2024-07-23T23:23:42.577" v="51"/>
          <ac:spMkLst>
            <pc:docMk/>
            <pc:sldMk cId="415219194" sldId="2147473227"/>
            <ac:spMk id="3" creationId="{DB405396-057B-1BED-F444-2104F0A740D1}"/>
          </ac:spMkLst>
        </pc:spChg>
        <pc:spChg chg="add mod">
          <ac:chgData name="Tim Sankey" userId="b928130f-c400-476a-9847-7f451832e377" providerId="ADAL" clId="{BB3D6405-5679-3D4A-8A0B-854D5FAA4889}" dt="2024-07-24T21:45:35.256" v="4425" actId="1076"/>
          <ac:spMkLst>
            <pc:docMk/>
            <pc:sldMk cId="415219194" sldId="2147473227"/>
            <ac:spMk id="4" creationId="{650A7E07-7684-BD28-966E-0464C6E7728D}"/>
          </ac:spMkLst>
        </pc:spChg>
        <pc:spChg chg="add del mod">
          <ac:chgData name="Tim Sankey" userId="b928130f-c400-476a-9847-7f451832e377" providerId="ADAL" clId="{BB3D6405-5679-3D4A-8A0B-854D5FAA4889}" dt="2024-07-23T23:04:16.485" v="22" actId="478"/>
          <ac:spMkLst>
            <pc:docMk/>
            <pc:sldMk cId="415219194" sldId="2147473227"/>
            <ac:spMk id="4" creationId="{C6DBE6B5-5579-757D-0D4A-9E72A79ADAE1}"/>
          </ac:spMkLst>
        </pc:spChg>
        <pc:spChg chg="del mod">
          <ac:chgData name="Tim Sankey" userId="b928130f-c400-476a-9847-7f451832e377" providerId="ADAL" clId="{BB3D6405-5679-3D4A-8A0B-854D5FAA4889}" dt="2024-07-23T23:04:14.294" v="21" actId="478"/>
          <ac:spMkLst>
            <pc:docMk/>
            <pc:sldMk cId="415219194" sldId="2147473227"/>
            <ac:spMk id="5" creationId="{91ECD430-ADF2-C30F-B6D4-C31BB2083886}"/>
          </ac:spMkLst>
        </pc:spChg>
        <pc:spChg chg="add del mod">
          <ac:chgData name="Tim Sankey" userId="b928130f-c400-476a-9847-7f451832e377" providerId="ADAL" clId="{BB3D6405-5679-3D4A-8A0B-854D5FAA4889}" dt="2024-07-23T23:23:50.903" v="57" actId="478"/>
          <ac:spMkLst>
            <pc:docMk/>
            <pc:sldMk cId="415219194" sldId="2147473227"/>
            <ac:spMk id="7" creationId="{33150DD7-833E-5492-C340-207A5F35DAFA}"/>
          </ac:spMkLst>
        </pc:spChg>
        <pc:spChg chg="del">
          <ac:chgData name="Tim Sankey" userId="b928130f-c400-476a-9847-7f451832e377" providerId="ADAL" clId="{BB3D6405-5679-3D4A-8A0B-854D5FAA4889}" dt="2024-07-23T23:04:17.966" v="23" actId="478"/>
          <ac:spMkLst>
            <pc:docMk/>
            <pc:sldMk cId="415219194" sldId="2147473227"/>
            <ac:spMk id="8" creationId="{5D29D2FF-2485-59A3-F1AD-21DA341FE40A}"/>
          </ac:spMkLst>
        </pc:spChg>
        <pc:spChg chg="add del mod">
          <ac:chgData name="Tim Sankey" userId="b928130f-c400-476a-9847-7f451832e377" providerId="ADAL" clId="{BB3D6405-5679-3D4A-8A0B-854D5FAA4889}" dt="2024-07-23T23:04:20.457" v="24" actId="478"/>
          <ac:spMkLst>
            <pc:docMk/>
            <pc:sldMk cId="415219194" sldId="2147473227"/>
            <ac:spMk id="9" creationId="{79F24BF7-CF50-4992-F946-3C2DEAEED1FA}"/>
          </ac:spMkLst>
        </pc:spChg>
        <pc:spChg chg="add del mod">
          <ac:chgData name="Tim Sankey" userId="b928130f-c400-476a-9847-7f451832e377" providerId="ADAL" clId="{BB3D6405-5679-3D4A-8A0B-854D5FAA4889}" dt="2024-07-23T23:04:58.716" v="48"/>
          <ac:spMkLst>
            <pc:docMk/>
            <pc:sldMk cId="415219194" sldId="2147473227"/>
            <ac:spMk id="10" creationId="{B2FCC358-092B-8BD4-F798-2C157C83E716}"/>
          </ac:spMkLst>
        </pc:spChg>
        <pc:spChg chg="mod">
          <ac:chgData name="Tim Sankey" userId="b928130f-c400-476a-9847-7f451832e377" providerId="ADAL" clId="{BB3D6405-5679-3D4A-8A0B-854D5FAA4889}" dt="2024-07-23T23:04:29.080" v="45" actId="20577"/>
          <ac:spMkLst>
            <pc:docMk/>
            <pc:sldMk cId="415219194" sldId="2147473227"/>
            <ac:spMk id="41" creationId="{0FBB6F4D-55B7-3717-B972-FB57E2F0FD84}"/>
          </ac:spMkLst>
        </pc:spChg>
        <pc:spChg chg="del mod">
          <ac:chgData name="Tim Sankey" userId="b928130f-c400-476a-9847-7f451832e377" providerId="ADAL" clId="{BB3D6405-5679-3D4A-8A0B-854D5FAA4889}" dt="2024-07-23T23:04:09.424" v="17" actId="478"/>
          <ac:spMkLst>
            <pc:docMk/>
            <pc:sldMk cId="415219194" sldId="2147473227"/>
            <ac:spMk id="42" creationId="{4F073E1E-A369-0BAA-CC5E-4105BBFFB8EE}"/>
          </ac:spMkLst>
        </pc:spChg>
        <pc:picChg chg="del">
          <ac:chgData name="Tim Sankey" userId="b928130f-c400-476a-9847-7f451832e377" providerId="ADAL" clId="{BB3D6405-5679-3D4A-8A0B-854D5FAA4889}" dt="2024-07-24T20:59:18.959" v="3999" actId="478"/>
          <ac:picMkLst>
            <pc:docMk/>
            <pc:sldMk cId="415219194" sldId="2147473227"/>
            <ac:picMk id="3" creationId="{408A914D-B578-A0C3-EC83-FF76CA559CBA}"/>
          </ac:picMkLst>
        </pc:picChg>
      </pc:sldChg>
      <pc:sldChg chg="addSp delSp modSp new mod">
        <pc:chgData name="Tim Sankey" userId="b928130f-c400-476a-9847-7f451832e377" providerId="ADAL" clId="{BB3D6405-5679-3D4A-8A0B-854D5FAA4889}" dt="2024-07-25T17:43:05.585" v="5270" actId="20577"/>
        <pc:sldMkLst>
          <pc:docMk/>
          <pc:sldMk cId="3106654355" sldId="2147473234"/>
        </pc:sldMkLst>
        <pc:spChg chg="del">
          <ac:chgData name="Tim Sankey" userId="b928130f-c400-476a-9847-7f451832e377" providerId="ADAL" clId="{BB3D6405-5679-3D4A-8A0B-854D5FAA4889}" dt="2024-07-24T00:09:51.007" v="1742" actId="478"/>
          <ac:spMkLst>
            <pc:docMk/>
            <pc:sldMk cId="3106654355" sldId="2147473234"/>
            <ac:spMk id="2" creationId="{069150C6-04A7-FD9F-7802-C1E4DD0CDAAB}"/>
          </ac:spMkLst>
        </pc:spChg>
        <pc:spChg chg="add mod">
          <ac:chgData name="Tim Sankey" userId="b928130f-c400-476a-9847-7f451832e377" providerId="ADAL" clId="{BB3D6405-5679-3D4A-8A0B-854D5FAA4889}" dt="2024-07-24T01:11:07.169" v="2306" actId="14100"/>
          <ac:spMkLst>
            <pc:docMk/>
            <pc:sldMk cId="3106654355" sldId="2147473234"/>
            <ac:spMk id="2" creationId="{270F85EE-7843-3BBC-7B94-1B51436B6C4A}"/>
          </ac:spMkLst>
        </pc:spChg>
        <pc:spChg chg="mod">
          <ac:chgData name="Tim Sankey" userId="b928130f-c400-476a-9847-7f451832e377" providerId="ADAL" clId="{BB3D6405-5679-3D4A-8A0B-854D5FAA4889}" dt="2024-07-24T00:43:31.975" v="1797" actId="20577"/>
          <ac:spMkLst>
            <pc:docMk/>
            <pc:sldMk cId="3106654355" sldId="2147473234"/>
            <ac:spMk id="3" creationId="{75050DA6-5C57-B73C-8F9F-43BF07A81657}"/>
          </ac:spMkLst>
        </pc:spChg>
        <pc:spChg chg="add mod">
          <ac:chgData name="Tim Sankey" userId="b928130f-c400-476a-9847-7f451832e377" providerId="ADAL" clId="{BB3D6405-5679-3D4A-8A0B-854D5FAA4889}" dt="2024-07-24T01:11:04.812" v="2305" actId="14100"/>
          <ac:spMkLst>
            <pc:docMk/>
            <pc:sldMk cId="3106654355" sldId="2147473234"/>
            <ac:spMk id="11" creationId="{7D21BE7E-3C12-B51B-48D2-26EAC1942132}"/>
          </ac:spMkLst>
        </pc:spChg>
        <pc:spChg chg="add mod">
          <ac:chgData name="Tim Sankey" userId="b928130f-c400-476a-9847-7f451832e377" providerId="ADAL" clId="{BB3D6405-5679-3D4A-8A0B-854D5FAA4889}" dt="2024-07-24T01:11:13.248" v="2307" actId="14100"/>
          <ac:spMkLst>
            <pc:docMk/>
            <pc:sldMk cId="3106654355" sldId="2147473234"/>
            <ac:spMk id="12" creationId="{CB1F57C4-584A-5CF9-F359-624EC5900C6B}"/>
          </ac:spMkLst>
        </pc:spChg>
        <pc:spChg chg="add mod">
          <ac:chgData name="Tim Sankey" userId="b928130f-c400-476a-9847-7f451832e377" providerId="ADAL" clId="{BB3D6405-5679-3D4A-8A0B-854D5FAA4889}" dt="2024-07-25T17:43:05.585" v="5270" actId="20577"/>
          <ac:spMkLst>
            <pc:docMk/>
            <pc:sldMk cId="3106654355" sldId="2147473234"/>
            <ac:spMk id="14" creationId="{8CF59EB6-CCFE-F7E9-3C44-B7CE03700487}"/>
          </ac:spMkLst>
        </pc:spChg>
        <pc:graphicFrameChg chg="add mod modGraphic">
          <ac:chgData name="Tim Sankey" userId="b928130f-c400-476a-9847-7f451832e377" providerId="ADAL" clId="{BB3D6405-5679-3D4A-8A0B-854D5FAA4889}" dt="2024-07-25T00:33:28.021" v="4627" actId="14734"/>
          <ac:graphicFrameMkLst>
            <pc:docMk/>
            <pc:sldMk cId="3106654355" sldId="2147473234"/>
            <ac:graphicFrameMk id="4" creationId="{14744057-BD15-115F-F61B-9686D071A0B7}"/>
          </ac:graphicFrameMkLst>
        </pc:graphicFrameChg>
        <pc:picChg chg="add mod">
          <ac:chgData name="Tim Sankey" userId="b928130f-c400-476a-9847-7f451832e377" providerId="ADAL" clId="{BB3D6405-5679-3D4A-8A0B-854D5FAA4889}" dt="2024-07-24T00:25:25.540" v="1744"/>
          <ac:picMkLst>
            <pc:docMk/>
            <pc:sldMk cId="3106654355" sldId="2147473234"/>
            <ac:picMk id="5" creationId="{B859D997-2E2E-DBD4-86EE-3D8132A9F6E4}"/>
          </ac:picMkLst>
        </pc:picChg>
        <pc:picChg chg="add mod">
          <ac:chgData name="Tim Sankey" userId="b928130f-c400-476a-9847-7f451832e377" providerId="ADAL" clId="{BB3D6405-5679-3D4A-8A0B-854D5FAA4889}" dt="2024-07-24T00:25:33.330" v="1745"/>
          <ac:picMkLst>
            <pc:docMk/>
            <pc:sldMk cId="3106654355" sldId="2147473234"/>
            <ac:picMk id="6" creationId="{2ADCA5ED-CAE8-4B23-3A1A-0741B9F453E3}"/>
          </ac:picMkLst>
        </pc:picChg>
        <pc:picChg chg="add mod">
          <ac:chgData name="Tim Sankey" userId="b928130f-c400-476a-9847-7f451832e377" providerId="ADAL" clId="{BB3D6405-5679-3D4A-8A0B-854D5FAA4889}" dt="2024-07-24T00:25:38.437" v="1746"/>
          <ac:picMkLst>
            <pc:docMk/>
            <pc:sldMk cId="3106654355" sldId="2147473234"/>
            <ac:picMk id="7" creationId="{61A2AC2F-A89D-D400-50C1-41D087BC8B41}"/>
          </ac:picMkLst>
        </pc:picChg>
        <pc:picChg chg="add mod">
          <ac:chgData name="Tim Sankey" userId="b928130f-c400-476a-9847-7f451832e377" providerId="ADAL" clId="{BB3D6405-5679-3D4A-8A0B-854D5FAA4889}" dt="2024-07-24T00:25:42.195" v="1747"/>
          <ac:picMkLst>
            <pc:docMk/>
            <pc:sldMk cId="3106654355" sldId="2147473234"/>
            <ac:picMk id="8" creationId="{0CD54DAA-C54C-DBDF-1BFF-46DD0C915ADC}"/>
          </ac:picMkLst>
        </pc:picChg>
        <pc:picChg chg="add mod">
          <ac:chgData name="Tim Sankey" userId="b928130f-c400-476a-9847-7f451832e377" providerId="ADAL" clId="{BB3D6405-5679-3D4A-8A0B-854D5FAA4889}" dt="2024-07-24T00:25:47.107" v="1748"/>
          <ac:picMkLst>
            <pc:docMk/>
            <pc:sldMk cId="3106654355" sldId="2147473234"/>
            <ac:picMk id="9" creationId="{809057FF-2BE6-8121-4CB6-3F544E736E91}"/>
          </ac:picMkLst>
        </pc:picChg>
        <pc:picChg chg="add mod">
          <ac:chgData name="Tim Sankey" userId="b928130f-c400-476a-9847-7f451832e377" providerId="ADAL" clId="{BB3D6405-5679-3D4A-8A0B-854D5FAA4889}" dt="2024-07-24T00:25:50.947" v="1749"/>
          <ac:picMkLst>
            <pc:docMk/>
            <pc:sldMk cId="3106654355" sldId="2147473234"/>
            <ac:picMk id="10" creationId="{D6687024-E9CC-26CF-716D-2D6D577435B6}"/>
          </ac:picMkLst>
        </pc:picChg>
        <pc:picChg chg="add mod">
          <ac:chgData name="Tim Sankey" userId="b928130f-c400-476a-9847-7f451832e377" providerId="ADAL" clId="{BB3D6405-5679-3D4A-8A0B-854D5FAA4889}" dt="2024-07-24T01:11:23.236" v="2309" actId="1076"/>
          <ac:picMkLst>
            <pc:docMk/>
            <pc:sldMk cId="3106654355" sldId="2147473234"/>
            <ac:picMk id="13" creationId="{1DB517DA-52AA-D92F-F6DD-912451ABC758}"/>
          </ac:picMkLst>
        </pc:picChg>
        <pc:picChg chg="add del mod">
          <ac:chgData name="Tim Sankey" userId="b928130f-c400-476a-9847-7f451832e377" providerId="ADAL" clId="{BB3D6405-5679-3D4A-8A0B-854D5FAA4889}" dt="2024-07-24T01:09:43.932" v="2281" actId="478"/>
          <ac:picMkLst>
            <pc:docMk/>
            <pc:sldMk cId="3106654355" sldId="2147473234"/>
            <ac:picMk id="15" creationId="{ACF96100-197D-AA19-F74B-8821C607DA74}"/>
          </ac:picMkLst>
        </pc:picChg>
        <pc:picChg chg="add mod">
          <ac:chgData name="Tim Sankey" userId="b928130f-c400-476a-9847-7f451832e377" providerId="ADAL" clId="{BB3D6405-5679-3D4A-8A0B-854D5FAA4889}" dt="2024-07-24T01:11:25.683" v="2310" actId="1076"/>
          <ac:picMkLst>
            <pc:docMk/>
            <pc:sldMk cId="3106654355" sldId="2147473234"/>
            <ac:picMk id="16" creationId="{DF5878B9-4B17-4263-631D-AFF92B99D14D}"/>
          </ac:picMkLst>
        </pc:picChg>
      </pc:sldChg>
      <pc:sldChg chg="addSp delSp modSp new mod ord">
        <pc:chgData name="Tim Sankey" userId="b928130f-c400-476a-9847-7f451832e377" providerId="ADAL" clId="{BB3D6405-5679-3D4A-8A0B-854D5FAA4889}" dt="2024-07-25T00:36:59.047" v="4669" actId="20578"/>
        <pc:sldMkLst>
          <pc:docMk/>
          <pc:sldMk cId="4110593447" sldId="2147473235"/>
        </pc:sldMkLst>
        <pc:spChg chg="del">
          <ac:chgData name="Tim Sankey" userId="b928130f-c400-476a-9847-7f451832e377" providerId="ADAL" clId="{BB3D6405-5679-3D4A-8A0B-854D5FAA4889}" dt="2024-07-24T01:13:29.370" v="2312" actId="478"/>
          <ac:spMkLst>
            <pc:docMk/>
            <pc:sldMk cId="4110593447" sldId="2147473235"/>
            <ac:spMk id="2" creationId="{BF6D2129-904C-6657-4366-8AE9047081A8}"/>
          </ac:spMkLst>
        </pc:spChg>
        <pc:spChg chg="mod">
          <ac:chgData name="Tim Sankey" userId="b928130f-c400-476a-9847-7f451832e377" providerId="ADAL" clId="{BB3D6405-5679-3D4A-8A0B-854D5FAA4889}" dt="2024-07-24T01:18:38.449" v="2378" actId="20577"/>
          <ac:spMkLst>
            <pc:docMk/>
            <pc:sldMk cId="4110593447" sldId="2147473235"/>
            <ac:spMk id="3" creationId="{0FD4C2A8-F6BC-78FF-FD2C-33FAF89BC058}"/>
          </ac:spMkLst>
        </pc:spChg>
        <pc:spChg chg="add mod">
          <ac:chgData name="Tim Sankey" userId="b928130f-c400-476a-9847-7f451832e377" providerId="ADAL" clId="{BB3D6405-5679-3D4A-8A0B-854D5FAA4889}" dt="2024-07-24T03:42:59.193" v="3531" actId="20577"/>
          <ac:spMkLst>
            <pc:docMk/>
            <pc:sldMk cId="4110593447" sldId="2147473235"/>
            <ac:spMk id="5" creationId="{327AB118-D032-4AC1-ACA4-3E39FB725901}"/>
          </ac:spMkLst>
        </pc:spChg>
        <pc:spChg chg="add del mod">
          <ac:chgData name="Tim Sankey" userId="b928130f-c400-476a-9847-7f451832e377" providerId="ADAL" clId="{BB3D6405-5679-3D4A-8A0B-854D5FAA4889}" dt="2024-07-24T01:34:52.386" v="2616" actId="478"/>
          <ac:spMkLst>
            <pc:docMk/>
            <pc:sldMk cId="4110593447" sldId="2147473235"/>
            <ac:spMk id="7" creationId="{5A6BC5E4-C002-5D78-B519-941E1EDB8FAF}"/>
          </ac:spMkLst>
        </pc:spChg>
        <pc:spChg chg="add mod">
          <ac:chgData name="Tim Sankey" userId="b928130f-c400-476a-9847-7f451832e377" providerId="ADAL" clId="{BB3D6405-5679-3D4A-8A0B-854D5FAA4889}" dt="2024-07-24T03:43:01.260" v="3532" actId="20577"/>
          <ac:spMkLst>
            <pc:docMk/>
            <pc:sldMk cId="4110593447" sldId="2147473235"/>
            <ac:spMk id="13" creationId="{23342738-EF1E-0E73-3BF8-AE64D301ABB4}"/>
          </ac:spMkLst>
        </pc:spChg>
        <pc:graphicFrameChg chg="add mod">
          <ac:chgData name="Tim Sankey" userId="b928130f-c400-476a-9847-7f451832e377" providerId="ADAL" clId="{BB3D6405-5679-3D4A-8A0B-854D5FAA4889}" dt="2024-07-25T00:34:36.673" v="4642"/>
          <ac:graphicFrameMkLst>
            <pc:docMk/>
            <pc:sldMk cId="4110593447" sldId="2147473235"/>
            <ac:graphicFrameMk id="4" creationId="{9CEF3D7B-43D5-E11B-622C-88BDA87CC052}"/>
          </ac:graphicFrameMkLst>
        </pc:graphicFrameChg>
        <pc:picChg chg="add del mod">
          <ac:chgData name="Tim Sankey" userId="b928130f-c400-476a-9847-7f451832e377" providerId="ADAL" clId="{BB3D6405-5679-3D4A-8A0B-854D5FAA4889}" dt="2024-07-24T19:45:39.734" v="3626" actId="478"/>
          <ac:picMkLst>
            <pc:docMk/>
            <pc:sldMk cId="4110593447" sldId="2147473235"/>
            <ac:picMk id="2" creationId="{00D26835-AFBE-DF2A-278E-2AA845AF50B5}"/>
          </ac:picMkLst>
        </pc:picChg>
        <pc:picChg chg="add mod">
          <ac:chgData name="Tim Sankey" userId="b928130f-c400-476a-9847-7f451832e377" providerId="ADAL" clId="{BB3D6405-5679-3D4A-8A0B-854D5FAA4889}" dt="2024-07-24T19:44:27.472" v="3624" actId="1076"/>
          <ac:picMkLst>
            <pc:docMk/>
            <pc:sldMk cId="4110593447" sldId="2147473235"/>
            <ac:picMk id="6" creationId="{A2E6AB69-1108-284F-30E9-4E09D132588E}"/>
          </ac:picMkLst>
        </pc:picChg>
        <pc:picChg chg="add del mod">
          <ac:chgData name="Tim Sankey" userId="b928130f-c400-476a-9847-7f451832e377" providerId="ADAL" clId="{BB3D6405-5679-3D4A-8A0B-854D5FAA4889}" dt="2024-07-24T01:31:56.537" v="2475" actId="478"/>
          <ac:picMkLst>
            <pc:docMk/>
            <pc:sldMk cId="4110593447" sldId="2147473235"/>
            <ac:picMk id="6" creationId="{B79BC718-461E-7317-8B52-9AF1D04D4A20}"/>
          </ac:picMkLst>
        </pc:picChg>
        <pc:picChg chg="add del mod">
          <ac:chgData name="Tim Sankey" userId="b928130f-c400-476a-9847-7f451832e377" providerId="ADAL" clId="{BB3D6405-5679-3D4A-8A0B-854D5FAA4889}" dt="2024-07-24T01:31:55.349" v="2474" actId="478"/>
          <ac:picMkLst>
            <pc:docMk/>
            <pc:sldMk cId="4110593447" sldId="2147473235"/>
            <ac:picMk id="8" creationId="{A49F740E-294B-7680-4833-1B11F385A46C}"/>
          </ac:picMkLst>
        </pc:picChg>
        <pc:picChg chg="add mod">
          <ac:chgData name="Tim Sankey" userId="b928130f-c400-476a-9847-7f451832e377" providerId="ADAL" clId="{BB3D6405-5679-3D4A-8A0B-854D5FAA4889}" dt="2024-07-24T01:32:24.626" v="2482" actId="1076"/>
          <ac:picMkLst>
            <pc:docMk/>
            <pc:sldMk cId="4110593447" sldId="2147473235"/>
            <ac:picMk id="9" creationId="{CB0ABCB8-B32F-F64A-AB08-A0B745DB983B}"/>
          </ac:picMkLst>
        </pc:picChg>
        <pc:picChg chg="add mod">
          <ac:chgData name="Tim Sankey" userId="b928130f-c400-476a-9847-7f451832e377" providerId="ADAL" clId="{BB3D6405-5679-3D4A-8A0B-854D5FAA4889}" dt="2024-07-24T01:32:37.118" v="2483" actId="1076"/>
          <ac:picMkLst>
            <pc:docMk/>
            <pc:sldMk cId="4110593447" sldId="2147473235"/>
            <ac:picMk id="10" creationId="{F61400EB-7BDD-86D1-D104-0711B1DCB677}"/>
          </ac:picMkLst>
        </pc:picChg>
        <pc:picChg chg="add mod">
          <ac:chgData name="Tim Sankey" userId="b928130f-c400-476a-9847-7f451832e377" providerId="ADAL" clId="{BB3D6405-5679-3D4A-8A0B-854D5FAA4889}" dt="2024-07-24T01:32:51.764" v="2487" actId="1076"/>
          <ac:picMkLst>
            <pc:docMk/>
            <pc:sldMk cId="4110593447" sldId="2147473235"/>
            <ac:picMk id="11" creationId="{0CB34F58-DEB8-B312-6CC0-89BCB528F6F7}"/>
          </ac:picMkLst>
        </pc:picChg>
        <pc:picChg chg="add del mod">
          <ac:chgData name="Tim Sankey" userId="b928130f-c400-476a-9847-7f451832e377" providerId="ADAL" clId="{BB3D6405-5679-3D4A-8A0B-854D5FAA4889}" dt="2024-07-24T19:45:39.091" v="3625" actId="478"/>
          <ac:picMkLst>
            <pc:docMk/>
            <pc:sldMk cId="4110593447" sldId="2147473235"/>
            <ac:picMk id="12" creationId="{F15062F6-192E-DAE1-E682-0E5B65B238A5}"/>
          </ac:picMkLst>
        </pc:picChg>
      </pc:sldChg>
      <pc:sldChg chg="addSp delSp modSp new mod ord">
        <pc:chgData name="Tim Sankey" userId="b928130f-c400-476a-9847-7f451832e377" providerId="ADAL" clId="{BB3D6405-5679-3D4A-8A0B-854D5FAA4889}" dt="2024-07-25T17:52:39.187" v="5281" actId="20577"/>
        <pc:sldMkLst>
          <pc:docMk/>
          <pc:sldMk cId="2049575005" sldId="2147473237"/>
        </pc:sldMkLst>
        <pc:spChg chg="del">
          <ac:chgData name="Tim Sankey" userId="b928130f-c400-476a-9847-7f451832e377" providerId="ADAL" clId="{BB3D6405-5679-3D4A-8A0B-854D5FAA4889}" dt="2024-07-24T01:39:00.989" v="2636" actId="478"/>
          <ac:spMkLst>
            <pc:docMk/>
            <pc:sldMk cId="2049575005" sldId="2147473237"/>
            <ac:spMk id="2" creationId="{9A7FC0CE-0BA6-CBF4-86FB-B00A33A4196C}"/>
          </ac:spMkLst>
        </pc:spChg>
        <pc:spChg chg="mod">
          <ac:chgData name="Tim Sankey" userId="b928130f-c400-476a-9847-7f451832e377" providerId="ADAL" clId="{BB3D6405-5679-3D4A-8A0B-854D5FAA4889}" dt="2024-07-25T00:37:09.040" v="4676" actId="20577"/>
          <ac:spMkLst>
            <pc:docMk/>
            <pc:sldMk cId="2049575005" sldId="2147473237"/>
            <ac:spMk id="3" creationId="{B62AB24C-7131-F6B8-873A-3655500FC98E}"/>
          </ac:spMkLst>
        </pc:spChg>
        <pc:spChg chg="add mod">
          <ac:chgData name="Tim Sankey" userId="b928130f-c400-476a-9847-7f451832e377" providerId="ADAL" clId="{BB3D6405-5679-3D4A-8A0B-854D5FAA4889}" dt="2024-07-25T17:52:39.187" v="5281" actId="20577"/>
          <ac:spMkLst>
            <pc:docMk/>
            <pc:sldMk cId="2049575005" sldId="2147473237"/>
            <ac:spMk id="6" creationId="{189E79BD-7289-5EA0-6FAE-A4FA6607A2A7}"/>
          </ac:spMkLst>
        </pc:spChg>
        <pc:graphicFrameChg chg="add mod modGraphic">
          <ac:chgData name="Tim Sankey" userId="b928130f-c400-476a-9847-7f451832e377" providerId="ADAL" clId="{BB3D6405-5679-3D4A-8A0B-854D5FAA4889}" dt="2024-07-25T17:33:17.716" v="5246" actId="20577"/>
          <ac:graphicFrameMkLst>
            <pc:docMk/>
            <pc:sldMk cId="2049575005" sldId="2147473237"/>
            <ac:graphicFrameMk id="4" creationId="{878955A9-CBF7-9AE8-026E-6A1BBC35C28A}"/>
          </ac:graphicFrameMkLst>
        </pc:graphicFrameChg>
        <pc:picChg chg="mod">
          <ac:chgData name="Tim Sankey" userId="b928130f-c400-476a-9847-7f451832e377" providerId="ADAL" clId="{BB3D6405-5679-3D4A-8A0B-854D5FAA4889}" dt="2024-07-25T00:48:02.483" v="4792" actId="1076"/>
          <ac:picMkLst>
            <pc:docMk/>
            <pc:sldMk cId="2049575005" sldId="2147473237"/>
            <ac:picMk id="2" creationId="{9271E59F-3E84-E923-D270-7DEDA512A4E2}"/>
          </ac:picMkLst>
        </pc:picChg>
        <pc:picChg chg="add mod">
          <ac:chgData name="Tim Sankey" userId="b928130f-c400-476a-9847-7f451832e377" providerId="ADAL" clId="{BB3D6405-5679-3D4A-8A0B-854D5FAA4889}" dt="2024-07-25T00:48:07.607" v="4795" actId="1076"/>
          <ac:picMkLst>
            <pc:docMk/>
            <pc:sldMk cId="2049575005" sldId="2147473237"/>
            <ac:picMk id="5" creationId="{DEA5736F-72F9-519B-FF95-00EFFEB9136C}"/>
          </ac:picMkLst>
        </pc:picChg>
        <pc:picChg chg="add mod">
          <ac:chgData name="Tim Sankey" userId="b928130f-c400-476a-9847-7f451832e377" providerId="ADAL" clId="{BB3D6405-5679-3D4A-8A0B-854D5FAA4889}" dt="2024-07-24T01:49:53.260" v="2957" actId="1076"/>
          <ac:picMkLst>
            <pc:docMk/>
            <pc:sldMk cId="2049575005" sldId="2147473237"/>
            <ac:picMk id="6" creationId="{7B34F4CD-9064-7BAD-84E9-011A6978356D}"/>
          </ac:picMkLst>
        </pc:picChg>
        <pc:picChg chg="add del mod">
          <ac:chgData name="Tim Sankey" userId="b928130f-c400-476a-9847-7f451832e377" providerId="ADAL" clId="{BB3D6405-5679-3D4A-8A0B-854D5FAA4889}" dt="2024-07-25T17:32:23.820" v="5173" actId="478"/>
          <ac:picMkLst>
            <pc:docMk/>
            <pc:sldMk cId="2049575005" sldId="2147473237"/>
            <ac:picMk id="7" creationId="{DD15FCCF-B100-D6AC-8318-3CBADDC1B329}"/>
          </ac:picMkLst>
        </pc:picChg>
      </pc:sldChg>
      <pc:sldChg chg="delSp modSp new del mod">
        <pc:chgData name="Tim Sankey" userId="b928130f-c400-476a-9847-7f451832e377" providerId="ADAL" clId="{BB3D6405-5679-3D4A-8A0B-854D5FAA4889}" dt="2024-07-24T02:11:29.220" v="3061" actId="2696"/>
        <pc:sldMkLst>
          <pc:docMk/>
          <pc:sldMk cId="1122257447" sldId="2147473238"/>
        </pc:sldMkLst>
        <pc:spChg chg="del mod">
          <ac:chgData name="Tim Sankey" userId="b928130f-c400-476a-9847-7f451832e377" providerId="ADAL" clId="{BB3D6405-5679-3D4A-8A0B-854D5FAA4889}" dt="2024-07-24T01:56:22.938" v="3007" actId="478"/>
          <ac:spMkLst>
            <pc:docMk/>
            <pc:sldMk cId="1122257447" sldId="2147473238"/>
            <ac:spMk id="2" creationId="{86756ECC-9300-095C-ACDF-C1254D186FB6}"/>
          </ac:spMkLst>
        </pc:spChg>
        <pc:spChg chg="mod">
          <ac:chgData name="Tim Sankey" userId="b928130f-c400-476a-9847-7f451832e377" providerId="ADAL" clId="{BB3D6405-5679-3D4A-8A0B-854D5FAA4889}" dt="2024-07-24T02:00:41.813" v="3023" actId="20577"/>
          <ac:spMkLst>
            <pc:docMk/>
            <pc:sldMk cId="1122257447" sldId="2147473238"/>
            <ac:spMk id="3" creationId="{A777A1F0-CAD9-BAD6-F0AE-34F694BEBE8A}"/>
          </ac:spMkLst>
        </pc:spChg>
      </pc:sldChg>
      <pc:sldChg chg="new del">
        <pc:chgData name="Tim Sankey" userId="b928130f-c400-476a-9847-7f451832e377" providerId="ADAL" clId="{BB3D6405-5679-3D4A-8A0B-854D5FAA4889}" dt="2024-07-24T02:00:49.025" v="3026" actId="2696"/>
        <pc:sldMkLst>
          <pc:docMk/>
          <pc:sldMk cId="1202152846" sldId="2147473240"/>
        </pc:sldMkLst>
      </pc:sldChg>
      <pc:sldChg chg="addSp delSp modSp add mod">
        <pc:chgData name="Tim Sankey" userId="b928130f-c400-476a-9847-7f451832e377" providerId="ADAL" clId="{BB3D6405-5679-3D4A-8A0B-854D5FAA4889}" dt="2024-07-24T21:00:01.497" v="4003" actId="1076"/>
        <pc:sldMkLst>
          <pc:docMk/>
          <pc:sldMk cId="2616875118" sldId="2147473241"/>
        </pc:sldMkLst>
        <pc:spChg chg="mod">
          <ac:chgData name="Tim Sankey" userId="b928130f-c400-476a-9847-7f451832e377" providerId="ADAL" clId="{BB3D6405-5679-3D4A-8A0B-854D5FAA4889}" dt="2024-07-24T02:01:07.537" v="3037" actId="20577"/>
          <ac:spMkLst>
            <pc:docMk/>
            <pc:sldMk cId="2616875118" sldId="2147473241"/>
            <ac:spMk id="2" creationId="{2586AC7D-2C94-3C6B-F76B-1670FDEE94C8}"/>
          </ac:spMkLst>
        </pc:spChg>
        <pc:spChg chg="del">
          <ac:chgData name="Tim Sankey" userId="b928130f-c400-476a-9847-7f451832e377" providerId="ADAL" clId="{BB3D6405-5679-3D4A-8A0B-854D5FAA4889}" dt="2024-07-24T02:01:24.911" v="3054" actId="478"/>
          <ac:spMkLst>
            <pc:docMk/>
            <pc:sldMk cId="2616875118" sldId="2147473241"/>
            <ac:spMk id="4" creationId="{650A7E07-7684-BD28-966E-0464C6E7728D}"/>
          </ac:spMkLst>
        </pc:spChg>
        <pc:spChg chg="mod">
          <ac:chgData name="Tim Sankey" userId="b928130f-c400-476a-9847-7f451832e377" providerId="ADAL" clId="{BB3D6405-5679-3D4A-8A0B-854D5FAA4889}" dt="2024-07-24T02:01:20.895" v="3053" actId="20577"/>
          <ac:spMkLst>
            <pc:docMk/>
            <pc:sldMk cId="2616875118" sldId="2147473241"/>
            <ac:spMk id="41" creationId="{0FBB6F4D-55B7-3717-B972-FB57E2F0FD84}"/>
          </ac:spMkLst>
        </pc:spChg>
        <pc:picChg chg="add mod">
          <ac:chgData name="Tim Sankey" userId="b928130f-c400-476a-9847-7f451832e377" providerId="ADAL" clId="{BB3D6405-5679-3D4A-8A0B-854D5FAA4889}" dt="2024-07-24T21:00:01.497" v="4003" actId="1076"/>
          <ac:picMkLst>
            <pc:docMk/>
            <pc:sldMk cId="2616875118" sldId="2147473241"/>
            <ac:picMk id="3" creationId="{D2D69C4A-068E-C787-E99F-E8042AB93136}"/>
          </ac:picMkLst>
        </pc:picChg>
      </pc:sldChg>
      <pc:sldChg chg="addSp delSp modSp add mod">
        <pc:chgData name="Tim Sankey" userId="b928130f-c400-476a-9847-7f451832e377" providerId="ADAL" clId="{BB3D6405-5679-3D4A-8A0B-854D5FAA4889}" dt="2024-07-25T17:49:07.392" v="5274" actId="27918"/>
        <pc:sldMkLst>
          <pc:docMk/>
          <pc:sldMk cId="1019241543" sldId="2147473242"/>
        </pc:sldMkLst>
        <pc:spChg chg="del">
          <ac:chgData name="Tim Sankey" userId="b928130f-c400-476a-9847-7f451832e377" providerId="ADAL" clId="{BB3D6405-5679-3D4A-8A0B-854D5FAA4889}" dt="2024-07-24T02:11:33.395" v="3062" actId="478"/>
          <ac:spMkLst>
            <pc:docMk/>
            <pc:sldMk cId="1019241543" sldId="2147473242"/>
            <ac:spMk id="2" creationId="{5E054B18-AA74-AAF7-0509-D9B6FAF43F68}"/>
          </ac:spMkLst>
        </pc:spChg>
        <pc:spChg chg="add mod">
          <ac:chgData name="Tim Sankey" userId="b928130f-c400-476a-9847-7f451832e377" providerId="ADAL" clId="{BB3D6405-5679-3D4A-8A0B-854D5FAA4889}" dt="2024-07-25T00:47:28.523" v="4787" actId="164"/>
          <ac:spMkLst>
            <pc:docMk/>
            <pc:sldMk cId="1019241543" sldId="2147473242"/>
            <ac:spMk id="2" creationId="{652EA4A0-B658-EF9D-D756-A797A06083CE}"/>
          </ac:spMkLst>
        </pc:spChg>
        <pc:spChg chg="mod">
          <ac:chgData name="Tim Sankey" userId="b928130f-c400-476a-9847-7f451832e377" providerId="ADAL" clId="{BB3D6405-5679-3D4A-8A0B-854D5FAA4889}" dt="2024-07-25T00:43:44.235" v="4693" actId="14100"/>
          <ac:spMkLst>
            <pc:docMk/>
            <pc:sldMk cId="1019241543" sldId="2147473242"/>
            <ac:spMk id="3" creationId="{0B96FCD6-830C-00F6-6AE6-581EFA67FB9C}"/>
          </ac:spMkLst>
        </pc:spChg>
        <pc:spChg chg="del">
          <ac:chgData name="Tim Sankey" userId="b928130f-c400-476a-9847-7f451832e377" providerId="ADAL" clId="{BB3D6405-5679-3D4A-8A0B-854D5FAA4889}" dt="2024-07-24T02:16:43.008" v="3144" actId="478"/>
          <ac:spMkLst>
            <pc:docMk/>
            <pc:sldMk cId="1019241543" sldId="2147473242"/>
            <ac:spMk id="4" creationId="{921BE018-6029-9D49-E1BF-3A188AB8CD3F}"/>
          </ac:spMkLst>
        </pc:spChg>
        <pc:spChg chg="add del mod">
          <ac:chgData name="Tim Sankey" userId="b928130f-c400-476a-9847-7f451832e377" providerId="ADAL" clId="{BB3D6405-5679-3D4A-8A0B-854D5FAA4889}" dt="2024-07-25T00:46:55.580" v="4779" actId="478"/>
          <ac:spMkLst>
            <pc:docMk/>
            <pc:sldMk cId="1019241543" sldId="2147473242"/>
            <ac:spMk id="4" creationId="{ACBB131D-65C6-F99A-9B14-5CA5A411E4B3}"/>
          </ac:spMkLst>
        </pc:spChg>
        <pc:spChg chg="add mod">
          <ac:chgData name="Tim Sankey" userId="b928130f-c400-476a-9847-7f451832e377" providerId="ADAL" clId="{BB3D6405-5679-3D4A-8A0B-854D5FAA4889}" dt="2024-07-25T00:47:28.523" v="4787" actId="164"/>
          <ac:spMkLst>
            <pc:docMk/>
            <pc:sldMk cId="1019241543" sldId="2147473242"/>
            <ac:spMk id="5" creationId="{E9B02F5D-27AD-84FC-6A46-B0FE5FBAC212}"/>
          </ac:spMkLst>
        </pc:spChg>
        <pc:spChg chg="add del mod">
          <ac:chgData name="Tim Sankey" userId="b928130f-c400-476a-9847-7f451832e377" providerId="ADAL" clId="{BB3D6405-5679-3D4A-8A0B-854D5FAA4889}" dt="2024-07-24T02:11:36.063" v="3063" actId="478"/>
          <ac:spMkLst>
            <pc:docMk/>
            <pc:sldMk cId="1019241543" sldId="2147473242"/>
            <ac:spMk id="7" creationId="{5333D82A-C89E-C1E8-EB5D-70A5720EA4DD}"/>
          </ac:spMkLst>
        </pc:spChg>
        <pc:spChg chg="add mod">
          <ac:chgData name="Tim Sankey" userId="b928130f-c400-476a-9847-7f451832e377" providerId="ADAL" clId="{BB3D6405-5679-3D4A-8A0B-854D5FAA4889}" dt="2024-07-25T00:35:32.019" v="4645" actId="2711"/>
          <ac:spMkLst>
            <pc:docMk/>
            <pc:sldMk cId="1019241543" sldId="2147473242"/>
            <ac:spMk id="8" creationId="{F10EBFF6-B12A-5BDF-3F84-D3B3CE81CB57}"/>
          </ac:spMkLst>
        </pc:spChg>
        <pc:spChg chg="add del mod">
          <ac:chgData name="Tim Sankey" userId="b928130f-c400-476a-9847-7f451832e377" providerId="ADAL" clId="{BB3D6405-5679-3D4A-8A0B-854D5FAA4889}" dt="2024-07-24T02:13:03.666" v="3126"/>
          <ac:spMkLst>
            <pc:docMk/>
            <pc:sldMk cId="1019241543" sldId="2147473242"/>
            <ac:spMk id="10" creationId="{8AF22344-CAA2-89D8-5C54-22264F681E95}"/>
          </ac:spMkLst>
        </pc:spChg>
        <pc:spChg chg="del">
          <ac:chgData name="Tim Sankey" userId="b928130f-c400-476a-9847-7f451832e377" providerId="ADAL" clId="{BB3D6405-5679-3D4A-8A0B-854D5FAA4889}" dt="2024-07-24T02:12:11.623" v="3084" actId="478"/>
          <ac:spMkLst>
            <pc:docMk/>
            <pc:sldMk cId="1019241543" sldId="2147473242"/>
            <ac:spMk id="11" creationId="{6904F4C9-1EE6-6133-1DB6-E7C25AE959C4}"/>
          </ac:spMkLst>
        </pc:spChg>
        <pc:spChg chg="del">
          <ac:chgData name="Tim Sankey" userId="b928130f-c400-476a-9847-7f451832e377" providerId="ADAL" clId="{BB3D6405-5679-3D4A-8A0B-854D5FAA4889}" dt="2024-07-24T02:13:03.415" v="3124" actId="478"/>
          <ac:spMkLst>
            <pc:docMk/>
            <pc:sldMk cId="1019241543" sldId="2147473242"/>
            <ac:spMk id="13" creationId="{63297803-5B89-E7A0-9D72-469B1647B17B}"/>
          </ac:spMkLst>
        </pc:spChg>
        <pc:spChg chg="add mod">
          <ac:chgData name="Tim Sankey" userId="b928130f-c400-476a-9847-7f451832e377" providerId="ADAL" clId="{BB3D6405-5679-3D4A-8A0B-854D5FAA4889}" dt="2024-07-25T00:35:32.019" v="4645" actId="2711"/>
          <ac:spMkLst>
            <pc:docMk/>
            <pc:sldMk cId="1019241543" sldId="2147473242"/>
            <ac:spMk id="14" creationId="{5EAC2325-9853-EF43-FAA8-0446B00320CA}"/>
          </ac:spMkLst>
        </pc:spChg>
        <pc:spChg chg="add del mod">
          <ac:chgData name="Tim Sankey" userId="b928130f-c400-476a-9847-7f451832e377" providerId="ADAL" clId="{BB3D6405-5679-3D4A-8A0B-854D5FAA4889}" dt="2024-07-25T17:23:16.583" v="4964" actId="20577"/>
          <ac:spMkLst>
            <pc:docMk/>
            <pc:sldMk cId="1019241543" sldId="2147473242"/>
            <ac:spMk id="15" creationId="{4CD6E20B-A406-1241-300C-8AF60BB6932F}"/>
          </ac:spMkLst>
        </pc:spChg>
        <pc:spChg chg="add mod">
          <ac:chgData name="Tim Sankey" userId="b928130f-c400-476a-9847-7f451832e377" providerId="ADAL" clId="{BB3D6405-5679-3D4A-8A0B-854D5FAA4889}" dt="2024-07-25T17:23:37.460" v="4973" actId="108"/>
          <ac:spMkLst>
            <pc:docMk/>
            <pc:sldMk cId="1019241543" sldId="2147473242"/>
            <ac:spMk id="16" creationId="{FC817700-9FF8-91C5-F834-17A6EB793F23}"/>
          </ac:spMkLst>
        </pc:spChg>
        <pc:spChg chg="add mod">
          <ac:chgData name="Tim Sankey" userId="b928130f-c400-476a-9847-7f451832e377" providerId="ADAL" clId="{BB3D6405-5679-3D4A-8A0B-854D5FAA4889}" dt="2024-07-25T00:35:32.019" v="4645" actId="2711"/>
          <ac:spMkLst>
            <pc:docMk/>
            <pc:sldMk cId="1019241543" sldId="2147473242"/>
            <ac:spMk id="19" creationId="{2E19F644-7745-208D-749E-1B9564086F4A}"/>
          </ac:spMkLst>
        </pc:spChg>
        <pc:spChg chg="add mod">
          <ac:chgData name="Tim Sankey" userId="b928130f-c400-476a-9847-7f451832e377" providerId="ADAL" clId="{BB3D6405-5679-3D4A-8A0B-854D5FAA4889}" dt="2024-07-25T00:35:32.019" v="4645" actId="2711"/>
          <ac:spMkLst>
            <pc:docMk/>
            <pc:sldMk cId="1019241543" sldId="2147473242"/>
            <ac:spMk id="20" creationId="{CFF1B04D-5B49-3D12-1D94-D3D185ED3EDB}"/>
          </ac:spMkLst>
        </pc:spChg>
        <pc:spChg chg="add del mod">
          <ac:chgData name="Tim Sankey" userId="b928130f-c400-476a-9847-7f451832e377" providerId="ADAL" clId="{BB3D6405-5679-3D4A-8A0B-854D5FAA4889}" dt="2024-07-24T02:45:23.576" v="3397" actId="1076"/>
          <ac:spMkLst>
            <pc:docMk/>
            <pc:sldMk cId="1019241543" sldId="2147473242"/>
            <ac:spMk id="21" creationId="{EE998443-6EF4-8EC0-A015-74F5BCD6956C}"/>
          </ac:spMkLst>
        </pc:spChg>
        <pc:spChg chg="add mod">
          <ac:chgData name="Tim Sankey" userId="b928130f-c400-476a-9847-7f451832e377" providerId="ADAL" clId="{BB3D6405-5679-3D4A-8A0B-854D5FAA4889}" dt="2024-07-24T02:45:22.137" v="3395"/>
          <ac:spMkLst>
            <pc:docMk/>
            <pc:sldMk cId="1019241543" sldId="2147473242"/>
            <ac:spMk id="22" creationId="{1072890B-B781-81A6-976B-13C8F6B58CCD}"/>
          </ac:spMkLst>
        </pc:spChg>
        <pc:grpChg chg="add mod">
          <ac:chgData name="Tim Sankey" userId="b928130f-c400-476a-9847-7f451832e377" providerId="ADAL" clId="{BB3D6405-5679-3D4A-8A0B-854D5FAA4889}" dt="2024-07-25T00:47:30.956" v="4788" actId="12788"/>
          <ac:grpSpMkLst>
            <pc:docMk/>
            <pc:sldMk cId="1019241543" sldId="2147473242"/>
            <ac:grpSpMk id="7" creationId="{232404AA-FD31-D8BD-47FD-D9204BB64AA1}"/>
          </ac:grpSpMkLst>
        </pc:grpChg>
        <pc:graphicFrameChg chg="del mod">
          <ac:chgData name="Tim Sankey" userId="b928130f-c400-476a-9847-7f451832e377" providerId="ADAL" clId="{BB3D6405-5679-3D4A-8A0B-854D5FAA4889}" dt="2024-07-24T02:30:17.513" v="3213" actId="478"/>
          <ac:graphicFrameMkLst>
            <pc:docMk/>
            <pc:sldMk cId="1019241543" sldId="2147473242"/>
            <ac:graphicFrameMk id="9" creationId="{CED1BE4E-301E-6F62-6333-D4EDE7C57C71}"/>
          </ac:graphicFrameMkLst>
        </pc:graphicFrameChg>
        <pc:graphicFrameChg chg="del mod">
          <ac:chgData name="Tim Sankey" userId="b928130f-c400-476a-9847-7f451832e377" providerId="ADAL" clId="{BB3D6405-5679-3D4A-8A0B-854D5FAA4889}" dt="2024-07-24T02:30:18.302" v="3214" actId="478"/>
          <ac:graphicFrameMkLst>
            <pc:docMk/>
            <pc:sldMk cId="1019241543" sldId="2147473242"/>
            <ac:graphicFrameMk id="12" creationId="{0C953CD3-FF40-9E32-EA6F-38532D95759A}"/>
          </ac:graphicFrameMkLst>
        </pc:graphicFrameChg>
        <pc:graphicFrameChg chg="add mod">
          <ac:chgData name="Tim Sankey" userId="b928130f-c400-476a-9847-7f451832e377" providerId="ADAL" clId="{BB3D6405-5679-3D4A-8A0B-854D5FAA4889}" dt="2024-07-25T00:44:48.898" v="4698" actId="12788"/>
          <ac:graphicFrameMkLst>
            <pc:docMk/>
            <pc:sldMk cId="1019241543" sldId="2147473242"/>
            <ac:graphicFrameMk id="17" creationId="{71BCC0DB-1060-00FA-8709-D2C96AC69999}"/>
          </ac:graphicFrameMkLst>
        </pc:graphicFrameChg>
        <pc:graphicFrameChg chg="add mod">
          <ac:chgData name="Tim Sankey" userId="b928130f-c400-476a-9847-7f451832e377" providerId="ADAL" clId="{BB3D6405-5679-3D4A-8A0B-854D5FAA4889}" dt="2024-07-25T00:44:40.808" v="4697" actId="12788"/>
          <ac:graphicFrameMkLst>
            <pc:docMk/>
            <pc:sldMk cId="1019241543" sldId="2147473242"/>
            <ac:graphicFrameMk id="18" creationId="{DE340413-DA2C-617F-D84A-81D80DD342AD}"/>
          </ac:graphicFrameMkLst>
        </pc:graphicFrameChg>
      </pc:sldChg>
      <pc:sldChg chg="addSp delSp modSp mod">
        <pc:chgData name="Tim Sankey" userId="b928130f-c400-476a-9847-7f451832e377" providerId="ADAL" clId="{BB3D6405-5679-3D4A-8A0B-854D5FAA4889}" dt="2024-07-24T21:06:36.701" v="4134" actId="20577"/>
        <pc:sldMkLst>
          <pc:docMk/>
          <pc:sldMk cId="3686999811" sldId="2147473244"/>
        </pc:sldMkLst>
        <pc:spChg chg="del mod">
          <ac:chgData name="Tim Sankey" userId="b928130f-c400-476a-9847-7f451832e377" providerId="ADAL" clId="{BB3D6405-5679-3D4A-8A0B-854D5FAA4889}" dt="2024-07-24T21:06:18.542" v="4109" actId="478"/>
          <ac:spMkLst>
            <pc:docMk/>
            <pc:sldMk cId="3686999811" sldId="2147473244"/>
            <ac:spMk id="2" creationId="{2586AC7D-2C94-3C6B-F76B-1670FDEE94C8}"/>
          </ac:spMkLst>
        </pc:spChg>
        <pc:spChg chg="add mod">
          <ac:chgData name="Tim Sankey" userId="b928130f-c400-476a-9847-7f451832e377" providerId="ADAL" clId="{BB3D6405-5679-3D4A-8A0B-854D5FAA4889}" dt="2024-07-24T21:05:42.660" v="4101" actId="1076"/>
          <ac:spMkLst>
            <pc:docMk/>
            <pc:sldMk cId="3686999811" sldId="2147473244"/>
            <ac:spMk id="3" creationId="{CF9BE560-FAFB-E60E-CC8A-AF895887E7A6}"/>
          </ac:spMkLst>
        </pc:spChg>
        <pc:spChg chg="add mod">
          <ac:chgData name="Tim Sankey" userId="b928130f-c400-476a-9847-7f451832e377" providerId="ADAL" clId="{BB3D6405-5679-3D4A-8A0B-854D5FAA4889}" dt="2024-07-24T21:06:36.701" v="4134" actId="20577"/>
          <ac:spMkLst>
            <pc:docMk/>
            <pc:sldMk cId="3686999811" sldId="2147473244"/>
            <ac:spMk id="4" creationId="{03E942F2-BA33-F1CD-A78E-45E3539785C5}"/>
          </ac:spMkLst>
        </pc:spChg>
        <pc:spChg chg="add mod">
          <ac:chgData name="Tim Sankey" userId="b928130f-c400-476a-9847-7f451832e377" providerId="ADAL" clId="{BB3D6405-5679-3D4A-8A0B-854D5FAA4889}" dt="2024-07-24T21:06:31.902" v="4133" actId="20577"/>
          <ac:spMkLst>
            <pc:docMk/>
            <pc:sldMk cId="3686999811" sldId="2147473244"/>
            <ac:spMk id="5" creationId="{2D391B25-AB3D-4E98-9D6A-2D2165594A68}"/>
          </ac:spMkLst>
        </pc:spChg>
        <pc:spChg chg="del">
          <ac:chgData name="Tim Sankey" userId="b928130f-c400-476a-9847-7f451832e377" providerId="ADAL" clId="{BB3D6405-5679-3D4A-8A0B-854D5FAA4889}" dt="2024-07-24T18:42:56.628" v="3572" actId="478"/>
          <ac:spMkLst>
            <pc:docMk/>
            <pc:sldMk cId="3686999811" sldId="2147473244"/>
            <ac:spMk id="7" creationId="{33150DD7-833E-5492-C340-207A5F35DAFA}"/>
          </ac:spMkLst>
        </pc:spChg>
        <pc:spChg chg="del">
          <ac:chgData name="Tim Sankey" userId="b928130f-c400-476a-9847-7f451832e377" providerId="ADAL" clId="{BB3D6405-5679-3D4A-8A0B-854D5FAA4889}" dt="2024-07-24T20:56:30.207" v="3980" actId="478"/>
          <ac:spMkLst>
            <pc:docMk/>
            <pc:sldMk cId="3686999811" sldId="2147473244"/>
            <ac:spMk id="42" creationId="{4F073E1E-A369-0BAA-CC5E-4105BBFFB8EE}"/>
          </ac:spMkLst>
        </pc:spChg>
      </pc:sldChg>
      <pc:sldChg chg="modSp">
        <pc:chgData name="Tim Sankey" userId="b928130f-c400-476a-9847-7f451832e377" providerId="ADAL" clId="{BB3D6405-5679-3D4A-8A0B-854D5FAA4889}" dt="2024-07-24T17:06:45.451" v="3536" actId="1076"/>
        <pc:sldMkLst>
          <pc:docMk/>
          <pc:sldMk cId="1883354529" sldId="2147473246"/>
        </pc:sldMkLst>
        <pc:picChg chg="mod">
          <ac:chgData name="Tim Sankey" userId="b928130f-c400-476a-9847-7f451832e377" providerId="ADAL" clId="{BB3D6405-5679-3D4A-8A0B-854D5FAA4889}" dt="2024-07-24T17:06:35.422" v="3534" actId="1076"/>
          <ac:picMkLst>
            <pc:docMk/>
            <pc:sldMk cId="1883354529" sldId="2147473246"/>
            <ac:picMk id="8" creationId="{10893C23-416D-1678-86A4-7E8577702551}"/>
          </ac:picMkLst>
        </pc:picChg>
        <pc:picChg chg="mod">
          <ac:chgData name="Tim Sankey" userId="b928130f-c400-476a-9847-7f451832e377" providerId="ADAL" clId="{BB3D6405-5679-3D4A-8A0B-854D5FAA4889}" dt="2024-07-24T17:06:45.451" v="3536" actId="1076"/>
          <ac:picMkLst>
            <pc:docMk/>
            <pc:sldMk cId="1883354529" sldId="2147473246"/>
            <ac:picMk id="17" creationId="{17414220-FC24-AF76-A666-549C40629242}"/>
          </ac:picMkLst>
        </pc:picChg>
      </pc:sldChg>
      <pc:sldChg chg="addSp delSp modSp new mod ord">
        <pc:chgData name="Tim Sankey" userId="b928130f-c400-476a-9847-7f451832e377" providerId="ADAL" clId="{BB3D6405-5679-3D4A-8A0B-854D5FAA4889}" dt="2024-07-25T00:54:26.832" v="4915" actId="1076"/>
        <pc:sldMkLst>
          <pc:docMk/>
          <pc:sldMk cId="2192708937" sldId="2147473250"/>
        </pc:sldMkLst>
        <pc:spChg chg="del">
          <ac:chgData name="Tim Sankey" userId="b928130f-c400-476a-9847-7f451832e377" providerId="ADAL" clId="{BB3D6405-5679-3D4A-8A0B-854D5FAA4889}" dt="2024-07-24T20:26:22.754" v="3658" actId="478"/>
          <ac:spMkLst>
            <pc:docMk/>
            <pc:sldMk cId="2192708937" sldId="2147473250"/>
            <ac:spMk id="2" creationId="{800AFEA6-2A64-A8E3-FE2F-511099E501D4}"/>
          </ac:spMkLst>
        </pc:spChg>
        <pc:spChg chg="add mod">
          <ac:chgData name="Tim Sankey" userId="b928130f-c400-476a-9847-7f451832e377" providerId="ADAL" clId="{BB3D6405-5679-3D4A-8A0B-854D5FAA4889}" dt="2024-07-24T20:31:21.173" v="3705" actId="164"/>
          <ac:spMkLst>
            <pc:docMk/>
            <pc:sldMk cId="2192708937" sldId="2147473250"/>
            <ac:spMk id="2" creationId="{BBA15E7C-F5BF-9849-EE43-E04D3919826B}"/>
          </ac:spMkLst>
        </pc:spChg>
        <pc:spChg chg="mod">
          <ac:chgData name="Tim Sankey" userId="b928130f-c400-476a-9847-7f451832e377" providerId="ADAL" clId="{BB3D6405-5679-3D4A-8A0B-854D5FAA4889}" dt="2024-07-24T20:26:17.369" v="3657" actId="20577"/>
          <ac:spMkLst>
            <pc:docMk/>
            <pc:sldMk cId="2192708937" sldId="2147473250"/>
            <ac:spMk id="3" creationId="{E30D6F01-8F5A-F203-F332-DBC7E1696E1D}"/>
          </ac:spMkLst>
        </pc:spChg>
        <pc:spChg chg="del">
          <ac:chgData name="Tim Sankey" userId="b928130f-c400-476a-9847-7f451832e377" providerId="ADAL" clId="{BB3D6405-5679-3D4A-8A0B-854D5FAA4889}" dt="2024-07-24T20:26:25.610" v="3659" actId="478"/>
          <ac:spMkLst>
            <pc:docMk/>
            <pc:sldMk cId="2192708937" sldId="2147473250"/>
            <ac:spMk id="4" creationId="{71BE491E-4D0C-B15A-C9A1-4E0AD5B07BB4}"/>
          </ac:spMkLst>
        </pc:spChg>
        <pc:spChg chg="add mod">
          <ac:chgData name="Tim Sankey" userId="b928130f-c400-476a-9847-7f451832e377" providerId="ADAL" clId="{BB3D6405-5679-3D4A-8A0B-854D5FAA4889}" dt="2024-07-25T00:54:26.832" v="4915" actId="1076"/>
          <ac:spMkLst>
            <pc:docMk/>
            <pc:sldMk cId="2192708937" sldId="2147473250"/>
            <ac:spMk id="5" creationId="{9B16C0DE-9B9F-E519-CAA7-E2AD19A11942}"/>
          </ac:spMkLst>
        </pc:spChg>
        <pc:spChg chg="add mod">
          <ac:chgData name="Tim Sankey" userId="b928130f-c400-476a-9847-7f451832e377" providerId="ADAL" clId="{BB3D6405-5679-3D4A-8A0B-854D5FAA4889}" dt="2024-07-25T00:51:47.436" v="4858" actId="12788"/>
          <ac:spMkLst>
            <pc:docMk/>
            <pc:sldMk cId="2192708937" sldId="2147473250"/>
            <ac:spMk id="6" creationId="{82347AE5-E11F-925B-A34E-2A8732CD3700}"/>
          </ac:spMkLst>
        </pc:spChg>
        <pc:spChg chg="add mod">
          <ac:chgData name="Tim Sankey" userId="b928130f-c400-476a-9847-7f451832e377" providerId="ADAL" clId="{BB3D6405-5679-3D4A-8A0B-854D5FAA4889}" dt="2024-07-25T00:51:47.436" v="4858" actId="12788"/>
          <ac:spMkLst>
            <pc:docMk/>
            <pc:sldMk cId="2192708937" sldId="2147473250"/>
            <ac:spMk id="7" creationId="{7159BCF0-A705-A258-EE4F-1FE2D84AFE1A}"/>
          </ac:spMkLst>
        </pc:spChg>
        <pc:spChg chg="add mod">
          <ac:chgData name="Tim Sankey" userId="b928130f-c400-476a-9847-7f451832e377" providerId="ADAL" clId="{BB3D6405-5679-3D4A-8A0B-854D5FAA4889}" dt="2024-07-25T00:51:47.436" v="4858" actId="12788"/>
          <ac:spMkLst>
            <pc:docMk/>
            <pc:sldMk cId="2192708937" sldId="2147473250"/>
            <ac:spMk id="8" creationId="{8C8E5823-0E68-E0C9-EE7D-255C9C4A4260}"/>
          </ac:spMkLst>
        </pc:spChg>
        <pc:spChg chg="add mod">
          <ac:chgData name="Tim Sankey" userId="b928130f-c400-476a-9847-7f451832e377" providerId="ADAL" clId="{BB3D6405-5679-3D4A-8A0B-854D5FAA4889}" dt="2024-07-25T00:51:47.436" v="4858" actId="12788"/>
          <ac:spMkLst>
            <pc:docMk/>
            <pc:sldMk cId="2192708937" sldId="2147473250"/>
            <ac:spMk id="9" creationId="{E02ECC97-323C-C8B4-8F69-B58DD6E0A660}"/>
          </ac:spMkLst>
        </pc:spChg>
        <pc:spChg chg="add mod">
          <ac:chgData name="Tim Sankey" userId="b928130f-c400-476a-9847-7f451832e377" providerId="ADAL" clId="{BB3D6405-5679-3D4A-8A0B-854D5FAA4889}" dt="2024-07-25T00:51:47.436" v="4858" actId="12788"/>
          <ac:spMkLst>
            <pc:docMk/>
            <pc:sldMk cId="2192708937" sldId="2147473250"/>
            <ac:spMk id="10" creationId="{6FC2ACE9-C971-9BB7-B1B3-DFDC26F400C6}"/>
          </ac:spMkLst>
        </pc:spChg>
        <pc:spChg chg="add mod">
          <ac:chgData name="Tim Sankey" userId="b928130f-c400-476a-9847-7f451832e377" providerId="ADAL" clId="{BB3D6405-5679-3D4A-8A0B-854D5FAA4889}" dt="2024-07-25T00:51:47.436" v="4858" actId="12788"/>
          <ac:spMkLst>
            <pc:docMk/>
            <pc:sldMk cId="2192708937" sldId="2147473250"/>
            <ac:spMk id="11" creationId="{16994B77-C702-3A38-E557-D54C6180F883}"/>
          </ac:spMkLst>
        </pc:spChg>
        <pc:spChg chg="add mod">
          <ac:chgData name="Tim Sankey" userId="b928130f-c400-476a-9847-7f451832e377" providerId="ADAL" clId="{BB3D6405-5679-3D4A-8A0B-854D5FAA4889}" dt="2024-07-25T00:52:52.683" v="4900" actId="12789"/>
          <ac:spMkLst>
            <pc:docMk/>
            <pc:sldMk cId="2192708937" sldId="2147473250"/>
            <ac:spMk id="12" creationId="{2ACFD477-33BF-FB75-05FC-67A9E378C204}"/>
          </ac:spMkLst>
        </pc:spChg>
        <pc:spChg chg="add mod">
          <ac:chgData name="Tim Sankey" userId="b928130f-c400-476a-9847-7f451832e377" providerId="ADAL" clId="{BB3D6405-5679-3D4A-8A0B-854D5FAA4889}" dt="2024-07-25T00:53:48.840" v="4908" actId="164"/>
          <ac:spMkLst>
            <pc:docMk/>
            <pc:sldMk cId="2192708937" sldId="2147473250"/>
            <ac:spMk id="14" creationId="{FC3EF743-B3CE-C9BF-1F60-C5BB73F7723E}"/>
          </ac:spMkLst>
        </pc:spChg>
        <pc:spChg chg="add mod">
          <ac:chgData name="Tim Sankey" userId="b928130f-c400-476a-9847-7f451832e377" providerId="ADAL" clId="{BB3D6405-5679-3D4A-8A0B-854D5FAA4889}" dt="2024-07-25T00:53:48.840" v="4908" actId="164"/>
          <ac:spMkLst>
            <pc:docMk/>
            <pc:sldMk cId="2192708937" sldId="2147473250"/>
            <ac:spMk id="15" creationId="{C2DEACDB-129A-7FA6-43D5-D8CDF240B2BE}"/>
          </ac:spMkLst>
        </pc:spChg>
        <pc:spChg chg="add mod">
          <ac:chgData name="Tim Sankey" userId="b928130f-c400-476a-9847-7f451832e377" providerId="ADAL" clId="{BB3D6405-5679-3D4A-8A0B-854D5FAA4889}" dt="2024-07-25T00:53:48.840" v="4908" actId="164"/>
          <ac:spMkLst>
            <pc:docMk/>
            <pc:sldMk cId="2192708937" sldId="2147473250"/>
            <ac:spMk id="16" creationId="{C13E7CAD-A0E8-B937-5C5E-64E6B02AAA25}"/>
          </ac:spMkLst>
        </pc:spChg>
        <pc:spChg chg="add mod">
          <ac:chgData name="Tim Sankey" userId="b928130f-c400-476a-9847-7f451832e377" providerId="ADAL" clId="{BB3D6405-5679-3D4A-8A0B-854D5FAA4889}" dt="2024-07-25T00:53:48.840" v="4908" actId="164"/>
          <ac:spMkLst>
            <pc:docMk/>
            <pc:sldMk cId="2192708937" sldId="2147473250"/>
            <ac:spMk id="17" creationId="{A8B31D81-8514-8FFD-6DFE-93E2B6B551B6}"/>
          </ac:spMkLst>
        </pc:spChg>
        <pc:spChg chg="add mod">
          <ac:chgData name="Tim Sankey" userId="b928130f-c400-476a-9847-7f451832e377" providerId="ADAL" clId="{BB3D6405-5679-3D4A-8A0B-854D5FAA4889}" dt="2024-07-25T00:53:48.840" v="4908" actId="164"/>
          <ac:spMkLst>
            <pc:docMk/>
            <pc:sldMk cId="2192708937" sldId="2147473250"/>
            <ac:spMk id="18" creationId="{A0B5E989-A7B7-7F72-67AA-012EE9A67655}"/>
          </ac:spMkLst>
        </pc:spChg>
        <pc:spChg chg="add mod">
          <ac:chgData name="Tim Sankey" userId="b928130f-c400-476a-9847-7f451832e377" providerId="ADAL" clId="{BB3D6405-5679-3D4A-8A0B-854D5FAA4889}" dt="2024-07-25T00:53:48.840" v="4908" actId="164"/>
          <ac:spMkLst>
            <pc:docMk/>
            <pc:sldMk cId="2192708937" sldId="2147473250"/>
            <ac:spMk id="19" creationId="{2F265457-4585-3D50-283C-CE721BC932A9}"/>
          </ac:spMkLst>
        </pc:spChg>
        <pc:spChg chg="add mod">
          <ac:chgData name="Tim Sankey" userId="b928130f-c400-476a-9847-7f451832e377" providerId="ADAL" clId="{BB3D6405-5679-3D4A-8A0B-854D5FAA4889}" dt="2024-07-25T00:53:27.643" v="4904" actId="164"/>
          <ac:spMkLst>
            <pc:docMk/>
            <pc:sldMk cId="2192708937" sldId="2147473250"/>
            <ac:spMk id="20" creationId="{16A8B801-1C64-3C35-16F5-5ED2F3A2BA4C}"/>
          </ac:spMkLst>
        </pc:spChg>
        <pc:spChg chg="add mod">
          <ac:chgData name="Tim Sankey" userId="b928130f-c400-476a-9847-7f451832e377" providerId="ADAL" clId="{BB3D6405-5679-3D4A-8A0B-854D5FAA4889}" dt="2024-07-25T00:53:27.643" v="4904" actId="164"/>
          <ac:spMkLst>
            <pc:docMk/>
            <pc:sldMk cId="2192708937" sldId="2147473250"/>
            <ac:spMk id="21" creationId="{386A9853-80E6-D1EE-ED52-BA2F3635FC83}"/>
          </ac:spMkLst>
        </pc:spChg>
        <pc:spChg chg="add mod">
          <ac:chgData name="Tim Sankey" userId="b928130f-c400-476a-9847-7f451832e377" providerId="ADAL" clId="{BB3D6405-5679-3D4A-8A0B-854D5FAA4889}" dt="2024-07-25T00:53:27.643" v="4904" actId="164"/>
          <ac:spMkLst>
            <pc:docMk/>
            <pc:sldMk cId="2192708937" sldId="2147473250"/>
            <ac:spMk id="22" creationId="{053BA9E4-BCB2-E5B7-D28C-5D04BECF680E}"/>
          </ac:spMkLst>
        </pc:spChg>
        <pc:spChg chg="add mod">
          <ac:chgData name="Tim Sankey" userId="b928130f-c400-476a-9847-7f451832e377" providerId="ADAL" clId="{BB3D6405-5679-3D4A-8A0B-854D5FAA4889}" dt="2024-07-25T00:53:27.643" v="4904" actId="164"/>
          <ac:spMkLst>
            <pc:docMk/>
            <pc:sldMk cId="2192708937" sldId="2147473250"/>
            <ac:spMk id="23" creationId="{F3095E07-8285-0814-1EF7-562A0AA05568}"/>
          </ac:spMkLst>
        </pc:spChg>
        <pc:spChg chg="add mod">
          <ac:chgData name="Tim Sankey" userId="b928130f-c400-476a-9847-7f451832e377" providerId="ADAL" clId="{BB3D6405-5679-3D4A-8A0B-854D5FAA4889}" dt="2024-07-25T00:53:27.643" v="4904" actId="164"/>
          <ac:spMkLst>
            <pc:docMk/>
            <pc:sldMk cId="2192708937" sldId="2147473250"/>
            <ac:spMk id="24" creationId="{8AA4CBEA-3421-712E-05F5-7677773C6698}"/>
          </ac:spMkLst>
        </pc:spChg>
        <pc:spChg chg="add mod">
          <ac:chgData name="Tim Sankey" userId="b928130f-c400-476a-9847-7f451832e377" providerId="ADAL" clId="{BB3D6405-5679-3D4A-8A0B-854D5FAA4889}" dt="2024-07-25T00:53:27.643" v="4904" actId="164"/>
          <ac:spMkLst>
            <pc:docMk/>
            <pc:sldMk cId="2192708937" sldId="2147473250"/>
            <ac:spMk id="25" creationId="{E7293F22-675E-6AC3-AC4F-025163AAC6FE}"/>
          </ac:spMkLst>
        </pc:spChg>
        <pc:spChg chg="add del mod">
          <ac:chgData name="Tim Sankey" userId="b928130f-c400-476a-9847-7f451832e377" providerId="ADAL" clId="{BB3D6405-5679-3D4A-8A0B-854D5FAA4889}" dt="2024-07-24T20:39:22.833" v="3916" actId="478"/>
          <ac:spMkLst>
            <pc:docMk/>
            <pc:sldMk cId="2192708937" sldId="2147473250"/>
            <ac:spMk id="26" creationId="{5E3A25CB-EB04-6D76-E7E3-4B828F32B4F8}"/>
          </ac:spMkLst>
        </pc:spChg>
        <pc:spChg chg="add del mod">
          <ac:chgData name="Tim Sankey" userId="b928130f-c400-476a-9847-7f451832e377" providerId="ADAL" clId="{BB3D6405-5679-3D4A-8A0B-854D5FAA4889}" dt="2024-07-24T20:39:06.763" v="3911" actId="478"/>
          <ac:spMkLst>
            <pc:docMk/>
            <pc:sldMk cId="2192708937" sldId="2147473250"/>
            <ac:spMk id="27" creationId="{E126328C-913A-9589-98BC-B65FBF305787}"/>
          </ac:spMkLst>
        </pc:spChg>
        <pc:spChg chg="add mod">
          <ac:chgData name="Tim Sankey" userId="b928130f-c400-476a-9847-7f451832e377" providerId="ADAL" clId="{BB3D6405-5679-3D4A-8A0B-854D5FAA4889}" dt="2024-07-24T20:38:35.507" v="3902" actId="14100"/>
          <ac:spMkLst>
            <pc:docMk/>
            <pc:sldMk cId="2192708937" sldId="2147473250"/>
            <ac:spMk id="29" creationId="{1DFD156D-D88E-1753-2833-BEF8509E8ACE}"/>
          </ac:spMkLst>
        </pc:spChg>
        <pc:spChg chg="add mod">
          <ac:chgData name="Tim Sankey" userId="b928130f-c400-476a-9847-7f451832e377" providerId="ADAL" clId="{BB3D6405-5679-3D4A-8A0B-854D5FAA4889}" dt="2024-07-24T21:18:17.877" v="4266" actId="20577"/>
          <ac:spMkLst>
            <pc:docMk/>
            <pc:sldMk cId="2192708937" sldId="2147473250"/>
            <ac:spMk id="30" creationId="{6C2687DD-8C66-6022-6131-D42C55056810}"/>
          </ac:spMkLst>
        </pc:spChg>
        <pc:spChg chg="mod">
          <ac:chgData name="Tim Sankey" userId="b928130f-c400-476a-9847-7f451832e377" providerId="ADAL" clId="{BB3D6405-5679-3D4A-8A0B-854D5FAA4889}" dt="2024-07-24T20:39:08.553" v="3912"/>
          <ac:spMkLst>
            <pc:docMk/>
            <pc:sldMk cId="2192708937" sldId="2147473250"/>
            <ac:spMk id="32" creationId="{92DABA48-4E10-D51D-0223-A872EEA8C4BF}"/>
          </ac:spMkLst>
        </pc:spChg>
        <pc:spChg chg="mod">
          <ac:chgData name="Tim Sankey" userId="b928130f-c400-476a-9847-7f451832e377" providerId="ADAL" clId="{BB3D6405-5679-3D4A-8A0B-854D5FAA4889}" dt="2024-07-24T21:18:07.955" v="4262" actId="20577"/>
          <ac:spMkLst>
            <pc:docMk/>
            <pc:sldMk cId="2192708937" sldId="2147473250"/>
            <ac:spMk id="33" creationId="{106F2E83-14BA-7F51-87DC-CE257F222AB3}"/>
          </ac:spMkLst>
        </pc:spChg>
        <pc:spChg chg="mod">
          <ac:chgData name="Tim Sankey" userId="b928130f-c400-476a-9847-7f451832e377" providerId="ADAL" clId="{BB3D6405-5679-3D4A-8A0B-854D5FAA4889}" dt="2024-07-24T20:39:17.251" v="3914"/>
          <ac:spMkLst>
            <pc:docMk/>
            <pc:sldMk cId="2192708937" sldId="2147473250"/>
            <ac:spMk id="35" creationId="{3599AF6D-F51C-49D5-F9B8-8F3DB74B5B46}"/>
          </ac:spMkLst>
        </pc:spChg>
        <pc:spChg chg="mod">
          <ac:chgData name="Tim Sankey" userId="b928130f-c400-476a-9847-7f451832e377" providerId="ADAL" clId="{BB3D6405-5679-3D4A-8A0B-854D5FAA4889}" dt="2024-07-24T21:05:04.647" v="4094" actId="20577"/>
          <ac:spMkLst>
            <pc:docMk/>
            <pc:sldMk cId="2192708937" sldId="2147473250"/>
            <ac:spMk id="36" creationId="{5DA1B4DE-3D58-5D53-8B7D-B3DD33BEF55D}"/>
          </ac:spMkLst>
        </pc:spChg>
        <pc:spChg chg="mod">
          <ac:chgData name="Tim Sankey" userId="b928130f-c400-476a-9847-7f451832e377" providerId="ADAL" clId="{BB3D6405-5679-3D4A-8A0B-854D5FAA4889}" dt="2024-07-24T20:41:15.061" v="3935" actId="108"/>
          <ac:spMkLst>
            <pc:docMk/>
            <pc:sldMk cId="2192708937" sldId="2147473250"/>
            <ac:spMk id="38" creationId="{D19B7097-1F3E-1916-4D7B-99C42766E97A}"/>
          </ac:spMkLst>
        </pc:spChg>
        <pc:spChg chg="mod">
          <ac:chgData name="Tim Sankey" userId="b928130f-c400-476a-9847-7f451832e377" providerId="ADAL" clId="{BB3D6405-5679-3D4A-8A0B-854D5FAA4889}" dt="2024-07-24T21:17:09.720" v="4180" actId="20577"/>
          <ac:spMkLst>
            <pc:docMk/>
            <pc:sldMk cId="2192708937" sldId="2147473250"/>
            <ac:spMk id="39" creationId="{43854A21-AB27-8CD8-6AFF-33D68239D013}"/>
          </ac:spMkLst>
        </pc:spChg>
        <pc:spChg chg="mod">
          <ac:chgData name="Tim Sankey" userId="b928130f-c400-476a-9847-7f451832e377" providerId="ADAL" clId="{BB3D6405-5679-3D4A-8A0B-854D5FAA4889}" dt="2024-07-24T20:39:45.909" v="3921"/>
          <ac:spMkLst>
            <pc:docMk/>
            <pc:sldMk cId="2192708937" sldId="2147473250"/>
            <ac:spMk id="41" creationId="{7052F7BF-0CEE-5A74-0A4D-AE7BA6715B0A}"/>
          </ac:spMkLst>
        </pc:spChg>
        <pc:spChg chg="mod">
          <ac:chgData name="Tim Sankey" userId="b928130f-c400-476a-9847-7f451832e377" providerId="ADAL" clId="{BB3D6405-5679-3D4A-8A0B-854D5FAA4889}" dt="2024-07-24T21:17:47.348" v="4229" actId="20577"/>
          <ac:spMkLst>
            <pc:docMk/>
            <pc:sldMk cId="2192708937" sldId="2147473250"/>
            <ac:spMk id="42" creationId="{838FB5F1-DE53-C5BF-2E39-2770B139EB74}"/>
          </ac:spMkLst>
        </pc:spChg>
        <pc:spChg chg="mod">
          <ac:chgData name="Tim Sankey" userId="b928130f-c400-476a-9847-7f451832e377" providerId="ADAL" clId="{BB3D6405-5679-3D4A-8A0B-854D5FAA4889}" dt="2024-07-24T20:41:15.061" v="3935" actId="108"/>
          <ac:spMkLst>
            <pc:docMk/>
            <pc:sldMk cId="2192708937" sldId="2147473250"/>
            <ac:spMk id="44" creationId="{9D4F87D5-B167-E277-262B-4289E2D2C560}"/>
          </ac:spMkLst>
        </pc:spChg>
        <pc:spChg chg="mod">
          <ac:chgData name="Tim Sankey" userId="b928130f-c400-476a-9847-7f451832e377" providerId="ADAL" clId="{BB3D6405-5679-3D4A-8A0B-854D5FAA4889}" dt="2024-07-24T21:17:20.015" v="4183" actId="20577"/>
          <ac:spMkLst>
            <pc:docMk/>
            <pc:sldMk cId="2192708937" sldId="2147473250"/>
            <ac:spMk id="45" creationId="{AE479FB4-43B1-7759-75FB-781D165EF0DD}"/>
          </ac:spMkLst>
        </pc:spChg>
        <pc:spChg chg="mod">
          <ac:chgData name="Tim Sankey" userId="b928130f-c400-476a-9847-7f451832e377" providerId="ADAL" clId="{BB3D6405-5679-3D4A-8A0B-854D5FAA4889}" dt="2024-07-24T21:02:57.952" v="4045"/>
          <ac:spMkLst>
            <pc:docMk/>
            <pc:sldMk cId="2192708937" sldId="2147473250"/>
            <ac:spMk id="47" creationId="{80AAEA3C-301C-9E0A-0AF9-1E5A1AB18239}"/>
          </ac:spMkLst>
        </pc:spChg>
        <pc:spChg chg="mod">
          <ac:chgData name="Tim Sankey" userId="b928130f-c400-476a-9847-7f451832e377" providerId="ADAL" clId="{BB3D6405-5679-3D4A-8A0B-854D5FAA4889}" dt="2024-07-24T21:03:21.542" v="4052"/>
          <ac:spMkLst>
            <pc:docMk/>
            <pc:sldMk cId="2192708937" sldId="2147473250"/>
            <ac:spMk id="48" creationId="{3868C8B2-0FFA-CFA2-6451-39E98D24ABEC}"/>
          </ac:spMkLst>
        </pc:spChg>
        <pc:spChg chg="add del mod">
          <ac:chgData name="Tim Sankey" userId="b928130f-c400-476a-9847-7f451832e377" providerId="ADAL" clId="{BB3D6405-5679-3D4A-8A0B-854D5FAA4889}" dt="2024-07-24T21:05:09.746" v="4097" actId="478"/>
          <ac:spMkLst>
            <pc:docMk/>
            <pc:sldMk cId="2192708937" sldId="2147473250"/>
            <ac:spMk id="49" creationId="{E4A6E1B6-BF20-F3B8-DB8C-DB21B6849ADC}"/>
          </ac:spMkLst>
        </pc:spChg>
        <pc:spChg chg="add del">
          <ac:chgData name="Tim Sankey" userId="b928130f-c400-476a-9847-7f451832e377" providerId="ADAL" clId="{BB3D6405-5679-3D4A-8A0B-854D5FAA4889}" dt="2024-07-24T21:03:40.223" v="4058" actId="22"/>
          <ac:spMkLst>
            <pc:docMk/>
            <pc:sldMk cId="2192708937" sldId="2147473250"/>
            <ac:spMk id="51" creationId="{43D9731D-96E3-1124-3F8B-811FCE84236D}"/>
          </ac:spMkLst>
        </pc:spChg>
        <pc:spChg chg="add del">
          <ac:chgData name="Tim Sankey" userId="b928130f-c400-476a-9847-7f451832e377" providerId="ADAL" clId="{BB3D6405-5679-3D4A-8A0B-854D5FAA4889}" dt="2024-07-24T21:04:43.224" v="4084" actId="22"/>
          <ac:spMkLst>
            <pc:docMk/>
            <pc:sldMk cId="2192708937" sldId="2147473250"/>
            <ac:spMk id="53" creationId="{BFDF5D46-293A-062B-574A-492315B62E50}"/>
          </ac:spMkLst>
        </pc:spChg>
        <pc:grpChg chg="add del mod">
          <ac:chgData name="Tim Sankey" userId="b928130f-c400-476a-9847-7f451832e377" providerId="ADAL" clId="{BB3D6405-5679-3D4A-8A0B-854D5FAA4889}" dt="2024-07-25T00:54:20.865" v="4914" actId="1076"/>
          <ac:grpSpMkLst>
            <pc:docMk/>
            <pc:sldMk cId="2192708937" sldId="2147473250"/>
            <ac:grpSpMk id="4" creationId="{47B67802-13AA-8549-C1C7-28BAF6CDB620}"/>
          </ac:grpSpMkLst>
        </pc:grpChg>
        <pc:grpChg chg="add mod">
          <ac:chgData name="Tim Sankey" userId="b928130f-c400-476a-9847-7f451832e377" providerId="ADAL" clId="{BB3D6405-5679-3D4A-8A0B-854D5FAA4889}" dt="2024-07-25T00:54:20.865" v="4914" actId="1076"/>
          <ac:grpSpMkLst>
            <pc:docMk/>
            <pc:sldMk cId="2192708937" sldId="2147473250"/>
            <ac:grpSpMk id="13" creationId="{7472A748-A74F-C075-D9B0-3C79AF5C6D2A}"/>
          </ac:grpSpMkLst>
        </pc:grpChg>
        <pc:grpChg chg="add mod">
          <ac:chgData name="Tim Sankey" userId="b928130f-c400-476a-9847-7f451832e377" providerId="ADAL" clId="{BB3D6405-5679-3D4A-8A0B-854D5FAA4889}" dt="2024-07-25T00:53:27.643" v="4904" actId="164"/>
          <ac:grpSpMkLst>
            <pc:docMk/>
            <pc:sldMk cId="2192708937" sldId="2147473250"/>
            <ac:grpSpMk id="28" creationId="{F9E6E86B-62C0-49EC-F76A-632523C36198}"/>
          </ac:grpSpMkLst>
        </pc:grpChg>
        <pc:grpChg chg="add mod">
          <ac:chgData name="Tim Sankey" userId="b928130f-c400-476a-9847-7f451832e377" providerId="ADAL" clId="{BB3D6405-5679-3D4A-8A0B-854D5FAA4889}" dt="2024-07-25T00:53:27.643" v="4904" actId="164"/>
          <ac:grpSpMkLst>
            <pc:docMk/>
            <pc:sldMk cId="2192708937" sldId="2147473250"/>
            <ac:grpSpMk id="31" creationId="{37F20CD6-C419-4069-FCEC-2D191BA47052}"/>
          </ac:grpSpMkLst>
        </pc:grpChg>
        <pc:grpChg chg="add mod">
          <ac:chgData name="Tim Sankey" userId="b928130f-c400-476a-9847-7f451832e377" providerId="ADAL" clId="{BB3D6405-5679-3D4A-8A0B-854D5FAA4889}" dt="2024-07-25T00:53:27.643" v="4904" actId="164"/>
          <ac:grpSpMkLst>
            <pc:docMk/>
            <pc:sldMk cId="2192708937" sldId="2147473250"/>
            <ac:grpSpMk id="34" creationId="{0B91A1C4-6C8D-C0C0-51A8-5783A47DDFEC}"/>
          </ac:grpSpMkLst>
        </pc:grpChg>
        <pc:grpChg chg="add mod">
          <ac:chgData name="Tim Sankey" userId="b928130f-c400-476a-9847-7f451832e377" providerId="ADAL" clId="{BB3D6405-5679-3D4A-8A0B-854D5FAA4889}" dt="2024-07-25T00:53:27.643" v="4904" actId="164"/>
          <ac:grpSpMkLst>
            <pc:docMk/>
            <pc:sldMk cId="2192708937" sldId="2147473250"/>
            <ac:grpSpMk id="37" creationId="{B67CA8B3-E72A-CEBF-B7AC-E70F4606CEB1}"/>
          </ac:grpSpMkLst>
        </pc:grpChg>
        <pc:grpChg chg="add mod">
          <ac:chgData name="Tim Sankey" userId="b928130f-c400-476a-9847-7f451832e377" providerId="ADAL" clId="{BB3D6405-5679-3D4A-8A0B-854D5FAA4889}" dt="2024-07-25T00:53:27.643" v="4904" actId="164"/>
          <ac:grpSpMkLst>
            <pc:docMk/>
            <pc:sldMk cId="2192708937" sldId="2147473250"/>
            <ac:grpSpMk id="40" creationId="{BFB8B63A-2077-7503-A53F-02115781EAAD}"/>
          </ac:grpSpMkLst>
        </pc:grpChg>
        <pc:grpChg chg="add mod">
          <ac:chgData name="Tim Sankey" userId="b928130f-c400-476a-9847-7f451832e377" providerId="ADAL" clId="{BB3D6405-5679-3D4A-8A0B-854D5FAA4889}" dt="2024-07-25T00:53:27.643" v="4904" actId="164"/>
          <ac:grpSpMkLst>
            <pc:docMk/>
            <pc:sldMk cId="2192708937" sldId="2147473250"/>
            <ac:grpSpMk id="43" creationId="{1882EBD6-947C-014A-2161-44FA99938EC2}"/>
          </ac:grpSpMkLst>
        </pc:grpChg>
        <pc:grpChg chg="add del mod">
          <ac:chgData name="Tim Sankey" userId="b928130f-c400-476a-9847-7f451832e377" providerId="ADAL" clId="{BB3D6405-5679-3D4A-8A0B-854D5FAA4889}" dt="2024-07-24T21:05:10.427" v="4098" actId="478"/>
          <ac:grpSpMkLst>
            <pc:docMk/>
            <pc:sldMk cId="2192708937" sldId="2147473250"/>
            <ac:grpSpMk id="46" creationId="{99A4D0EF-A103-B302-F0DA-B3778A315E6D}"/>
          </ac:grpSpMkLst>
        </pc:grpChg>
        <pc:grpChg chg="add mod">
          <ac:chgData name="Tim Sankey" userId="b928130f-c400-476a-9847-7f451832e377" providerId="ADAL" clId="{BB3D6405-5679-3D4A-8A0B-854D5FAA4889}" dt="2024-07-25T00:53:48.840" v="4908" actId="164"/>
          <ac:grpSpMkLst>
            <pc:docMk/>
            <pc:sldMk cId="2192708937" sldId="2147473250"/>
            <ac:grpSpMk id="54" creationId="{E1909CF2-4E28-8868-2F52-CD4674A367FF}"/>
          </ac:grpSpMkLst>
        </pc:grpChg>
        <pc:grpChg chg="add mod">
          <ac:chgData name="Tim Sankey" userId="b928130f-c400-476a-9847-7f451832e377" providerId="ADAL" clId="{BB3D6405-5679-3D4A-8A0B-854D5FAA4889}" dt="2024-07-25T00:54:20.865" v="4914" actId="1076"/>
          <ac:grpSpMkLst>
            <pc:docMk/>
            <pc:sldMk cId="2192708937" sldId="2147473250"/>
            <ac:grpSpMk id="55" creationId="{BD2CF49C-CE55-DDAB-B0BB-6F769111A3C9}"/>
          </ac:grpSpMkLst>
        </pc:grpChg>
      </pc:sldChg>
      <pc:sldChg chg="modSp add mod">
        <pc:chgData name="Tim Sankey" userId="b928130f-c400-476a-9847-7f451832e377" providerId="ADAL" clId="{BB3D6405-5679-3D4A-8A0B-854D5FAA4889}" dt="2024-07-24T21:06:58.292" v="4141" actId="20577"/>
        <pc:sldMkLst>
          <pc:docMk/>
          <pc:sldMk cId="1683894061" sldId="2147473251"/>
        </pc:sldMkLst>
        <pc:spChg chg="mod">
          <ac:chgData name="Tim Sankey" userId="b928130f-c400-476a-9847-7f451832e377" providerId="ADAL" clId="{BB3D6405-5679-3D4A-8A0B-854D5FAA4889}" dt="2024-07-24T21:06:58.292" v="4141" actId="20577"/>
          <ac:spMkLst>
            <pc:docMk/>
            <pc:sldMk cId="1683894061" sldId="2147473251"/>
            <ac:spMk id="4" creationId="{03E942F2-BA33-F1CD-A78E-45E3539785C5}"/>
          </ac:spMkLst>
        </pc:spChg>
        <pc:spChg chg="mod">
          <ac:chgData name="Tim Sankey" userId="b928130f-c400-476a-9847-7f451832e377" providerId="ADAL" clId="{BB3D6405-5679-3D4A-8A0B-854D5FAA4889}" dt="2024-07-24T21:06:56.048" v="4140" actId="20577"/>
          <ac:spMkLst>
            <pc:docMk/>
            <pc:sldMk cId="1683894061" sldId="2147473251"/>
            <ac:spMk id="5" creationId="{2D391B25-AB3D-4E98-9D6A-2D2165594A68}"/>
          </ac:spMkLst>
        </pc:spChg>
      </pc:sldChg>
      <pc:sldChg chg="new del">
        <pc:chgData name="Tim Sankey" userId="b928130f-c400-476a-9847-7f451832e377" providerId="ADAL" clId="{BB3D6405-5679-3D4A-8A0B-854D5FAA4889}" dt="2024-07-24T21:07:03.280" v="4143" actId="680"/>
        <pc:sldMkLst>
          <pc:docMk/>
          <pc:sldMk cId="1377807484" sldId="2147473252"/>
        </pc:sldMkLst>
      </pc:sldChg>
      <pc:sldChg chg="add del">
        <pc:chgData name="Tim Sankey" userId="b928130f-c400-476a-9847-7f451832e377" providerId="ADAL" clId="{BB3D6405-5679-3D4A-8A0B-854D5FAA4889}" dt="2024-07-24T21:07:11.425" v="4146" actId="2696"/>
        <pc:sldMkLst>
          <pc:docMk/>
          <pc:sldMk cId="1831545852" sldId="2147473252"/>
        </pc:sldMkLst>
      </pc:sldChg>
      <pc:sldChg chg="addSp modSp mod">
        <pc:chgData name="Tim Sankey" userId="b928130f-c400-476a-9847-7f451832e377" providerId="ADAL" clId="{BB3D6405-5679-3D4A-8A0B-854D5FAA4889}" dt="2024-07-24T21:33:28.636" v="4403" actId="1076"/>
        <pc:sldMkLst>
          <pc:docMk/>
          <pc:sldMk cId="3052389892" sldId="2147473252"/>
        </pc:sldMkLst>
        <pc:spChg chg="add mod">
          <ac:chgData name="Tim Sankey" userId="b928130f-c400-476a-9847-7f451832e377" providerId="ADAL" clId="{BB3D6405-5679-3D4A-8A0B-854D5FAA4889}" dt="2024-07-24T21:30:42.743" v="4288" actId="14100"/>
          <ac:spMkLst>
            <pc:docMk/>
            <pc:sldMk cId="3052389892" sldId="2147473252"/>
            <ac:spMk id="4" creationId="{EFA281A5-9ABD-71EA-BC4F-69D27B7E4511}"/>
          </ac:spMkLst>
        </pc:spChg>
        <pc:spChg chg="mod">
          <ac:chgData name="Tim Sankey" userId="b928130f-c400-476a-9847-7f451832e377" providerId="ADAL" clId="{BB3D6405-5679-3D4A-8A0B-854D5FAA4889}" dt="2024-07-24T21:30:11.080" v="4282" actId="12789"/>
          <ac:spMkLst>
            <pc:docMk/>
            <pc:sldMk cId="3052389892" sldId="2147473252"/>
            <ac:spMk id="8" creationId="{C0940F2B-D06A-3775-922B-5C7CDFF47D72}"/>
          </ac:spMkLst>
        </pc:spChg>
        <pc:spChg chg="mod">
          <ac:chgData name="Tim Sankey" userId="b928130f-c400-476a-9847-7f451832e377" providerId="ADAL" clId="{BB3D6405-5679-3D4A-8A0B-854D5FAA4889}" dt="2024-07-24T21:30:11.080" v="4282" actId="12789"/>
          <ac:spMkLst>
            <pc:docMk/>
            <pc:sldMk cId="3052389892" sldId="2147473252"/>
            <ac:spMk id="11" creationId="{7B10FB18-DE69-93A8-3998-8FD233725CCA}"/>
          </ac:spMkLst>
        </pc:spChg>
        <pc:spChg chg="mod">
          <ac:chgData name="Tim Sankey" userId="b928130f-c400-476a-9847-7f451832e377" providerId="ADAL" clId="{BB3D6405-5679-3D4A-8A0B-854D5FAA4889}" dt="2024-07-24T21:31:40.870" v="4292" actId="14100"/>
          <ac:spMkLst>
            <pc:docMk/>
            <pc:sldMk cId="3052389892" sldId="2147473252"/>
            <ac:spMk id="13" creationId="{2D245335-5BEB-4717-073D-77FD364904F3}"/>
          </ac:spMkLst>
        </pc:spChg>
        <pc:spChg chg="mod">
          <ac:chgData name="Tim Sankey" userId="b928130f-c400-476a-9847-7f451832e377" providerId="ADAL" clId="{BB3D6405-5679-3D4A-8A0B-854D5FAA4889}" dt="2024-07-24T21:31:40.870" v="4292" actId="14100"/>
          <ac:spMkLst>
            <pc:docMk/>
            <pc:sldMk cId="3052389892" sldId="2147473252"/>
            <ac:spMk id="20" creationId="{6AED9F42-E532-6CC6-B6C8-DF1EEA68AC96}"/>
          </ac:spMkLst>
        </pc:spChg>
        <pc:spChg chg="mod">
          <ac:chgData name="Tim Sankey" userId="b928130f-c400-476a-9847-7f451832e377" providerId="ADAL" clId="{BB3D6405-5679-3D4A-8A0B-854D5FAA4889}" dt="2024-07-24T21:31:40.870" v="4292" actId="14100"/>
          <ac:spMkLst>
            <pc:docMk/>
            <pc:sldMk cId="3052389892" sldId="2147473252"/>
            <ac:spMk id="21" creationId="{C0C6FCA0-6697-5BAB-BD6C-5B605F4E713B}"/>
          </ac:spMkLst>
        </pc:spChg>
        <pc:spChg chg="mod">
          <ac:chgData name="Tim Sankey" userId="b928130f-c400-476a-9847-7f451832e377" providerId="ADAL" clId="{BB3D6405-5679-3D4A-8A0B-854D5FAA4889}" dt="2024-07-24T21:33:28.636" v="4403" actId="1076"/>
          <ac:spMkLst>
            <pc:docMk/>
            <pc:sldMk cId="3052389892" sldId="2147473252"/>
            <ac:spMk id="22" creationId="{51435BB2-A154-7A7A-61F9-22F914626F6B}"/>
          </ac:spMkLst>
        </pc:spChg>
        <pc:spChg chg="mod">
          <ac:chgData name="Tim Sankey" userId="b928130f-c400-476a-9847-7f451832e377" providerId="ADAL" clId="{BB3D6405-5679-3D4A-8A0B-854D5FAA4889}" dt="2024-07-24T21:31:40.870" v="4292" actId="14100"/>
          <ac:spMkLst>
            <pc:docMk/>
            <pc:sldMk cId="3052389892" sldId="2147473252"/>
            <ac:spMk id="28" creationId="{390E2909-1290-57D7-61F7-A41BA1DC4ECE}"/>
          </ac:spMkLst>
        </pc:spChg>
        <pc:spChg chg="mod">
          <ac:chgData name="Tim Sankey" userId="b928130f-c400-476a-9847-7f451832e377" providerId="ADAL" clId="{BB3D6405-5679-3D4A-8A0B-854D5FAA4889}" dt="2024-07-24T21:33:28.636" v="4403" actId="1076"/>
          <ac:spMkLst>
            <pc:docMk/>
            <pc:sldMk cId="3052389892" sldId="2147473252"/>
            <ac:spMk id="33" creationId="{5A3523F6-C060-E9B4-F209-DBC96B053C51}"/>
          </ac:spMkLst>
        </pc:spChg>
        <pc:spChg chg="mod">
          <ac:chgData name="Tim Sankey" userId="b928130f-c400-476a-9847-7f451832e377" providerId="ADAL" clId="{BB3D6405-5679-3D4A-8A0B-854D5FAA4889}" dt="2024-07-24T21:33:28.636" v="4403" actId="1076"/>
          <ac:spMkLst>
            <pc:docMk/>
            <pc:sldMk cId="3052389892" sldId="2147473252"/>
            <ac:spMk id="38" creationId="{65A6ED33-F8B9-EC3C-4A0A-5D4AB459B808}"/>
          </ac:spMkLst>
        </pc:spChg>
        <pc:spChg chg="mod">
          <ac:chgData name="Tim Sankey" userId="b928130f-c400-476a-9847-7f451832e377" providerId="ADAL" clId="{BB3D6405-5679-3D4A-8A0B-854D5FAA4889}" dt="2024-07-24T21:31:40.870" v="4292" actId="14100"/>
          <ac:spMkLst>
            <pc:docMk/>
            <pc:sldMk cId="3052389892" sldId="2147473252"/>
            <ac:spMk id="40" creationId="{6D7069EC-D4EE-117C-9CBD-575F040F91E3}"/>
          </ac:spMkLst>
        </pc:spChg>
        <pc:spChg chg="mod">
          <ac:chgData name="Tim Sankey" userId="b928130f-c400-476a-9847-7f451832e377" providerId="ADAL" clId="{BB3D6405-5679-3D4A-8A0B-854D5FAA4889}" dt="2024-07-24T21:33:28.636" v="4403" actId="1076"/>
          <ac:spMkLst>
            <pc:docMk/>
            <pc:sldMk cId="3052389892" sldId="2147473252"/>
            <ac:spMk id="43" creationId="{4313BE18-6038-9B8B-7472-A579B0F2A46C}"/>
          </ac:spMkLst>
        </pc:spChg>
        <pc:spChg chg="mod">
          <ac:chgData name="Tim Sankey" userId="b928130f-c400-476a-9847-7f451832e377" providerId="ADAL" clId="{BB3D6405-5679-3D4A-8A0B-854D5FAA4889}" dt="2024-07-24T21:33:28.636" v="4403" actId="1076"/>
          <ac:spMkLst>
            <pc:docMk/>
            <pc:sldMk cId="3052389892" sldId="2147473252"/>
            <ac:spMk id="49" creationId="{DA37C026-6084-7F39-FBCB-ECABAB8D2F39}"/>
          </ac:spMkLst>
        </pc:spChg>
        <pc:spChg chg="add mod">
          <ac:chgData name="Tim Sankey" userId="b928130f-c400-476a-9847-7f451832e377" providerId="ADAL" clId="{BB3D6405-5679-3D4A-8A0B-854D5FAA4889}" dt="2024-07-24T21:32:55.235" v="4372" actId="20577"/>
          <ac:spMkLst>
            <pc:docMk/>
            <pc:sldMk cId="3052389892" sldId="2147473252"/>
            <ac:spMk id="105" creationId="{169C6D40-FC49-4987-8544-36E4C40E44C2}"/>
          </ac:spMkLst>
        </pc:spChg>
        <pc:spChg chg="add mod">
          <ac:chgData name="Tim Sankey" userId="b928130f-c400-476a-9847-7f451832e377" providerId="ADAL" clId="{BB3D6405-5679-3D4A-8A0B-854D5FAA4889}" dt="2024-07-24T21:33:11.719" v="4397" actId="20577"/>
          <ac:spMkLst>
            <pc:docMk/>
            <pc:sldMk cId="3052389892" sldId="2147473252"/>
            <ac:spMk id="106" creationId="{D07C3DFD-E2D0-8DE0-A647-3C496DF3DCF2}"/>
          </ac:spMkLst>
        </pc:spChg>
        <pc:spChg chg="add mod">
          <ac:chgData name="Tim Sankey" userId="b928130f-c400-476a-9847-7f451832e377" providerId="ADAL" clId="{BB3D6405-5679-3D4A-8A0B-854D5FAA4889}" dt="2024-07-24T21:33:09.754" v="4392" actId="20577"/>
          <ac:spMkLst>
            <pc:docMk/>
            <pc:sldMk cId="3052389892" sldId="2147473252"/>
            <ac:spMk id="107" creationId="{0C61BE52-A220-55CD-FC4E-F6BD843A756C}"/>
          </ac:spMkLst>
        </pc:spChg>
        <pc:spChg chg="add mod">
          <ac:chgData name="Tim Sankey" userId="b928130f-c400-476a-9847-7f451832e377" providerId="ADAL" clId="{BB3D6405-5679-3D4A-8A0B-854D5FAA4889}" dt="2024-07-24T21:33:07.467" v="4387" actId="20577"/>
          <ac:spMkLst>
            <pc:docMk/>
            <pc:sldMk cId="3052389892" sldId="2147473252"/>
            <ac:spMk id="108" creationId="{D28D0156-29A0-763F-637D-C289167CE244}"/>
          </ac:spMkLst>
        </pc:spChg>
        <pc:spChg chg="add mod">
          <ac:chgData name="Tim Sankey" userId="b928130f-c400-476a-9847-7f451832e377" providerId="ADAL" clId="{BB3D6405-5679-3D4A-8A0B-854D5FAA4889}" dt="2024-07-24T21:33:14.122" v="4402" actId="20577"/>
          <ac:spMkLst>
            <pc:docMk/>
            <pc:sldMk cId="3052389892" sldId="2147473252"/>
            <ac:spMk id="109" creationId="{8E7EB739-7A3E-E95C-F6CC-6542CBE98227}"/>
          </ac:spMkLst>
        </pc:spChg>
        <pc:grpChg chg="add mod">
          <ac:chgData name="Tim Sankey" userId="b928130f-c400-476a-9847-7f451832e377" providerId="ADAL" clId="{BB3D6405-5679-3D4A-8A0B-854D5FAA4889}" dt="2024-07-24T21:31:34.093" v="4291" actId="1076"/>
          <ac:grpSpMkLst>
            <pc:docMk/>
            <pc:sldMk cId="3052389892" sldId="2147473252"/>
            <ac:grpSpMk id="80" creationId="{674B8FB3-6214-46B9-AEA2-7F9CA28E07AB}"/>
          </ac:grpSpMkLst>
        </pc:grpChg>
        <pc:grpChg chg="mod">
          <ac:chgData name="Tim Sankey" userId="b928130f-c400-476a-9847-7f451832e377" providerId="ADAL" clId="{BB3D6405-5679-3D4A-8A0B-854D5FAA4889}" dt="2024-07-24T21:31:01.817" v="4290"/>
          <ac:grpSpMkLst>
            <pc:docMk/>
            <pc:sldMk cId="3052389892" sldId="2147473252"/>
            <ac:grpSpMk id="81" creationId="{C227C9B4-7F5B-5AE4-D7A6-35802B4C4EEE}"/>
          </ac:grpSpMkLst>
        </pc:grpChg>
        <pc:grpChg chg="add mod">
          <ac:chgData name="Tim Sankey" userId="b928130f-c400-476a-9847-7f451832e377" providerId="ADAL" clId="{BB3D6405-5679-3D4A-8A0B-854D5FAA4889}" dt="2024-07-24T21:31:34.093" v="4291" actId="1076"/>
          <ac:grpSpMkLst>
            <pc:docMk/>
            <pc:sldMk cId="3052389892" sldId="2147473252"/>
            <ac:grpSpMk id="85" creationId="{7E797594-2D81-0996-D892-C8C90A4AB434}"/>
          </ac:grpSpMkLst>
        </pc:grpChg>
        <pc:grpChg chg="mod">
          <ac:chgData name="Tim Sankey" userId="b928130f-c400-476a-9847-7f451832e377" providerId="ADAL" clId="{BB3D6405-5679-3D4A-8A0B-854D5FAA4889}" dt="2024-07-24T21:31:01.817" v="4290"/>
          <ac:grpSpMkLst>
            <pc:docMk/>
            <pc:sldMk cId="3052389892" sldId="2147473252"/>
            <ac:grpSpMk id="86" creationId="{F46DC9D7-DD23-51BF-3FC8-7322BA1254E7}"/>
          </ac:grpSpMkLst>
        </pc:grpChg>
        <pc:grpChg chg="add mod">
          <ac:chgData name="Tim Sankey" userId="b928130f-c400-476a-9847-7f451832e377" providerId="ADAL" clId="{BB3D6405-5679-3D4A-8A0B-854D5FAA4889}" dt="2024-07-24T21:31:34.093" v="4291" actId="1076"/>
          <ac:grpSpMkLst>
            <pc:docMk/>
            <pc:sldMk cId="3052389892" sldId="2147473252"/>
            <ac:grpSpMk id="90" creationId="{CBC33AD9-74E8-F956-7D6A-39992E0C4E1E}"/>
          </ac:grpSpMkLst>
        </pc:grpChg>
        <pc:grpChg chg="mod">
          <ac:chgData name="Tim Sankey" userId="b928130f-c400-476a-9847-7f451832e377" providerId="ADAL" clId="{BB3D6405-5679-3D4A-8A0B-854D5FAA4889}" dt="2024-07-24T21:31:01.817" v="4290"/>
          <ac:grpSpMkLst>
            <pc:docMk/>
            <pc:sldMk cId="3052389892" sldId="2147473252"/>
            <ac:grpSpMk id="91" creationId="{7420BB41-D318-5758-BE87-FB5558452FC3}"/>
          </ac:grpSpMkLst>
        </pc:grpChg>
        <pc:grpChg chg="add mod">
          <ac:chgData name="Tim Sankey" userId="b928130f-c400-476a-9847-7f451832e377" providerId="ADAL" clId="{BB3D6405-5679-3D4A-8A0B-854D5FAA4889}" dt="2024-07-24T21:31:34.093" v="4291" actId="1076"/>
          <ac:grpSpMkLst>
            <pc:docMk/>
            <pc:sldMk cId="3052389892" sldId="2147473252"/>
            <ac:grpSpMk id="95" creationId="{E5B7E87C-0229-89A7-E14C-070B5087158C}"/>
          </ac:grpSpMkLst>
        </pc:grpChg>
        <pc:grpChg chg="mod">
          <ac:chgData name="Tim Sankey" userId="b928130f-c400-476a-9847-7f451832e377" providerId="ADAL" clId="{BB3D6405-5679-3D4A-8A0B-854D5FAA4889}" dt="2024-07-24T21:31:01.817" v="4290"/>
          <ac:grpSpMkLst>
            <pc:docMk/>
            <pc:sldMk cId="3052389892" sldId="2147473252"/>
            <ac:grpSpMk id="96" creationId="{C687ECDC-1565-7F44-E774-FAA5E1404FB6}"/>
          </ac:grpSpMkLst>
        </pc:grpChg>
        <pc:grpChg chg="add mod">
          <ac:chgData name="Tim Sankey" userId="b928130f-c400-476a-9847-7f451832e377" providerId="ADAL" clId="{BB3D6405-5679-3D4A-8A0B-854D5FAA4889}" dt="2024-07-24T21:31:34.093" v="4291" actId="1076"/>
          <ac:grpSpMkLst>
            <pc:docMk/>
            <pc:sldMk cId="3052389892" sldId="2147473252"/>
            <ac:grpSpMk id="100" creationId="{76B50AAA-BE4F-7C9D-AC13-54C6927DB9AF}"/>
          </ac:grpSpMkLst>
        </pc:grpChg>
        <pc:grpChg chg="mod">
          <ac:chgData name="Tim Sankey" userId="b928130f-c400-476a-9847-7f451832e377" providerId="ADAL" clId="{BB3D6405-5679-3D4A-8A0B-854D5FAA4889}" dt="2024-07-24T21:31:01.817" v="4290"/>
          <ac:grpSpMkLst>
            <pc:docMk/>
            <pc:sldMk cId="3052389892" sldId="2147473252"/>
            <ac:grpSpMk id="101" creationId="{03A3B866-5468-4D06-F566-1ACBE761D8AC}"/>
          </ac:grpSpMkLst>
        </pc:grpChg>
        <pc:cxnChg chg="mod">
          <ac:chgData name="Tim Sankey" userId="b928130f-c400-476a-9847-7f451832e377" providerId="ADAL" clId="{BB3D6405-5679-3D4A-8A0B-854D5FAA4889}" dt="2024-07-24T21:30:19.509" v="4283" actId="12789"/>
          <ac:cxnSpMkLst>
            <pc:docMk/>
            <pc:sldMk cId="3052389892" sldId="2147473252"/>
            <ac:cxnSpMk id="9" creationId="{9C4FD6F0-638E-7493-D2E4-968903D00C3E}"/>
          </ac:cxnSpMkLst>
        </pc:cxnChg>
        <pc:cxnChg chg="add mod">
          <ac:chgData name="Tim Sankey" userId="b928130f-c400-476a-9847-7f451832e377" providerId="ADAL" clId="{BB3D6405-5679-3D4A-8A0B-854D5FAA4889}" dt="2024-07-24T21:30:42.743" v="4288" actId="14100"/>
          <ac:cxnSpMkLst>
            <pc:docMk/>
            <pc:sldMk cId="3052389892" sldId="2147473252"/>
            <ac:cxnSpMk id="10" creationId="{59DD2A0C-C820-66A8-7DDF-E923C32956AC}"/>
          </ac:cxnSpMkLst>
        </pc:cxnChg>
        <pc:cxnChg chg="mod">
          <ac:chgData name="Tim Sankey" userId="b928130f-c400-476a-9847-7f451832e377" providerId="ADAL" clId="{BB3D6405-5679-3D4A-8A0B-854D5FAA4889}" dt="2024-07-24T21:30:49.049" v="4289" actId="14100"/>
          <ac:cxnSpMkLst>
            <pc:docMk/>
            <pc:sldMk cId="3052389892" sldId="2147473252"/>
            <ac:cxnSpMk id="12" creationId="{B876B9DB-CA3C-3329-835A-223637118B9B}"/>
          </ac:cxnSpMkLst>
        </pc:cxnChg>
        <pc:cxnChg chg="mod">
          <ac:chgData name="Tim Sankey" userId="b928130f-c400-476a-9847-7f451832e377" providerId="ADAL" clId="{BB3D6405-5679-3D4A-8A0B-854D5FAA4889}" dt="2024-07-24T21:31:01.817" v="4290"/>
          <ac:cxnSpMkLst>
            <pc:docMk/>
            <pc:sldMk cId="3052389892" sldId="2147473252"/>
            <ac:cxnSpMk id="82" creationId="{BACD63B5-5E8A-FD85-DBF2-DF5A67BE1C73}"/>
          </ac:cxnSpMkLst>
        </pc:cxnChg>
        <pc:cxnChg chg="mod">
          <ac:chgData name="Tim Sankey" userId="b928130f-c400-476a-9847-7f451832e377" providerId="ADAL" clId="{BB3D6405-5679-3D4A-8A0B-854D5FAA4889}" dt="2024-07-24T21:31:01.817" v="4290"/>
          <ac:cxnSpMkLst>
            <pc:docMk/>
            <pc:sldMk cId="3052389892" sldId="2147473252"/>
            <ac:cxnSpMk id="83" creationId="{9E82C803-F3DD-52EA-F599-02C9480B479F}"/>
          </ac:cxnSpMkLst>
        </pc:cxnChg>
        <pc:cxnChg chg="mod">
          <ac:chgData name="Tim Sankey" userId="b928130f-c400-476a-9847-7f451832e377" providerId="ADAL" clId="{BB3D6405-5679-3D4A-8A0B-854D5FAA4889}" dt="2024-07-24T21:31:01.817" v="4290"/>
          <ac:cxnSpMkLst>
            <pc:docMk/>
            <pc:sldMk cId="3052389892" sldId="2147473252"/>
            <ac:cxnSpMk id="84" creationId="{5B70506B-F17B-58CA-B1DD-65DF52777A8D}"/>
          </ac:cxnSpMkLst>
        </pc:cxnChg>
        <pc:cxnChg chg="mod">
          <ac:chgData name="Tim Sankey" userId="b928130f-c400-476a-9847-7f451832e377" providerId="ADAL" clId="{BB3D6405-5679-3D4A-8A0B-854D5FAA4889}" dt="2024-07-24T21:31:01.817" v="4290"/>
          <ac:cxnSpMkLst>
            <pc:docMk/>
            <pc:sldMk cId="3052389892" sldId="2147473252"/>
            <ac:cxnSpMk id="87" creationId="{B5931337-97C7-38C2-DB00-9C499AEB19DF}"/>
          </ac:cxnSpMkLst>
        </pc:cxnChg>
        <pc:cxnChg chg="mod">
          <ac:chgData name="Tim Sankey" userId="b928130f-c400-476a-9847-7f451832e377" providerId="ADAL" clId="{BB3D6405-5679-3D4A-8A0B-854D5FAA4889}" dt="2024-07-24T21:31:01.817" v="4290"/>
          <ac:cxnSpMkLst>
            <pc:docMk/>
            <pc:sldMk cId="3052389892" sldId="2147473252"/>
            <ac:cxnSpMk id="88" creationId="{49AAE58F-560C-C86F-E0B6-6C11B19C5104}"/>
          </ac:cxnSpMkLst>
        </pc:cxnChg>
        <pc:cxnChg chg="mod">
          <ac:chgData name="Tim Sankey" userId="b928130f-c400-476a-9847-7f451832e377" providerId="ADAL" clId="{BB3D6405-5679-3D4A-8A0B-854D5FAA4889}" dt="2024-07-24T21:31:01.817" v="4290"/>
          <ac:cxnSpMkLst>
            <pc:docMk/>
            <pc:sldMk cId="3052389892" sldId="2147473252"/>
            <ac:cxnSpMk id="89" creationId="{A123F536-5C75-6E88-B5AA-DF8E3BA236F9}"/>
          </ac:cxnSpMkLst>
        </pc:cxnChg>
        <pc:cxnChg chg="mod">
          <ac:chgData name="Tim Sankey" userId="b928130f-c400-476a-9847-7f451832e377" providerId="ADAL" clId="{BB3D6405-5679-3D4A-8A0B-854D5FAA4889}" dt="2024-07-24T21:31:01.817" v="4290"/>
          <ac:cxnSpMkLst>
            <pc:docMk/>
            <pc:sldMk cId="3052389892" sldId="2147473252"/>
            <ac:cxnSpMk id="92" creationId="{119B928A-AFC8-6B6E-6C2C-DFD3326513EF}"/>
          </ac:cxnSpMkLst>
        </pc:cxnChg>
        <pc:cxnChg chg="mod">
          <ac:chgData name="Tim Sankey" userId="b928130f-c400-476a-9847-7f451832e377" providerId="ADAL" clId="{BB3D6405-5679-3D4A-8A0B-854D5FAA4889}" dt="2024-07-24T21:31:01.817" v="4290"/>
          <ac:cxnSpMkLst>
            <pc:docMk/>
            <pc:sldMk cId="3052389892" sldId="2147473252"/>
            <ac:cxnSpMk id="93" creationId="{FDA63DE5-120E-E18E-9AB5-E56DF9BA2916}"/>
          </ac:cxnSpMkLst>
        </pc:cxnChg>
        <pc:cxnChg chg="mod">
          <ac:chgData name="Tim Sankey" userId="b928130f-c400-476a-9847-7f451832e377" providerId="ADAL" clId="{BB3D6405-5679-3D4A-8A0B-854D5FAA4889}" dt="2024-07-24T21:31:01.817" v="4290"/>
          <ac:cxnSpMkLst>
            <pc:docMk/>
            <pc:sldMk cId="3052389892" sldId="2147473252"/>
            <ac:cxnSpMk id="94" creationId="{25BDC162-83D0-99CA-3F65-92025E533D80}"/>
          </ac:cxnSpMkLst>
        </pc:cxnChg>
        <pc:cxnChg chg="mod">
          <ac:chgData name="Tim Sankey" userId="b928130f-c400-476a-9847-7f451832e377" providerId="ADAL" clId="{BB3D6405-5679-3D4A-8A0B-854D5FAA4889}" dt="2024-07-24T21:31:01.817" v="4290"/>
          <ac:cxnSpMkLst>
            <pc:docMk/>
            <pc:sldMk cId="3052389892" sldId="2147473252"/>
            <ac:cxnSpMk id="97" creationId="{662427DB-F502-D41B-7BD8-F95933EC17FD}"/>
          </ac:cxnSpMkLst>
        </pc:cxnChg>
        <pc:cxnChg chg="mod">
          <ac:chgData name="Tim Sankey" userId="b928130f-c400-476a-9847-7f451832e377" providerId="ADAL" clId="{BB3D6405-5679-3D4A-8A0B-854D5FAA4889}" dt="2024-07-24T21:31:01.817" v="4290"/>
          <ac:cxnSpMkLst>
            <pc:docMk/>
            <pc:sldMk cId="3052389892" sldId="2147473252"/>
            <ac:cxnSpMk id="98" creationId="{BB83B07D-943F-BF84-03B2-55B0A65328D4}"/>
          </ac:cxnSpMkLst>
        </pc:cxnChg>
        <pc:cxnChg chg="mod">
          <ac:chgData name="Tim Sankey" userId="b928130f-c400-476a-9847-7f451832e377" providerId="ADAL" clId="{BB3D6405-5679-3D4A-8A0B-854D5FAA4889}" dt="2024-07-24T21:31:01.817" v="4290"/>
          <ac:cxnSpMkLst>
            <pc:docMk/>
            <pc:sldMk cId="3052389892" sldId="2147473252"/>
            <ac:cxnSpMk id="99" creationId="{69F86ABD-46F0-287A-59AC-BAC3F3148C60}"/>
          </ac:cxnSpMkLst>
        </pc:cxnChg>
        <pc:cxnChg chg="mod">
          <ac:chgData name="Tim Sankey" userId="b928130f-c400-476a-9847-7f451832e377" providerId="ADAL" clId="{BB3D6405-5679-3D4A-8A0B-854D5FAA4889}" dt="2024-07-24T21:31:01.817" v="4290"/>
          <ac:cxnSpMkLst>
            <pc:docMk/>
            <pc:sldMk cId="3052389892" sldId="2147473252"/>
            <ac:cxnSpMk id="102" creationId="{64C4C493-35A3-4FAA-6583-58902634452D}"/>
          </ac:cxnSpMkLst>
        </pc:cxnChg>
        <pc:cxnChg chg="mod">
          <ac:chgData name="Tim Sankey" userId="b928130f-c400-476a-9847-7f451832e377" providerId="ADAL" clId="{BB3D6405-5679-3D4A-8A0B-854D5FAA4889}" dt="2024-07-24T21:31:01.817" v="4290"/>
          <ac:cxnSpMkLst>
            <pc:docMk/>
            <pc:sldMk cId="3052389892" sldId="2147473252"/>
            <ac:cxnSpMk id="103" creationId="{6887DC19-0EA9-E158-362A-E51F19C9776C}"/>
          </ac:cxnSpMkLst>
        </pc:cxnChg>
        <pc:cxnChg chg="mod">
          <ac:chgData name="Tim Sankey" userId="b928130f-c400-476a-9847-7f451832e377" providerId="ADAL" clId="{BB3D6405-5679-3D4A-8A0B-854D5FAA4889}" dt="2024-07-24T21:31:01.817" v="4290"/>
          <ac:cxnSpMkLst>
            <pc:docMk/>
            <pc:sldMk cId="3052389892" sldId="2147473252"/>
            <ac:cxnSpMk id="104" creationId="{401151E8-77BC-A6BE-1430-518E4227173B}"/>
          </ac:cxnSpMkLst>
        </pc:cxnChg>
      </pc:sldChg>
      <pc:sldChg chg="modSp new mod">
        <pc:chgData name="Tim Sankey" userId="b928130f-c400-476a-9847-7f451832e377" providerId="ADAL" clId="{BB3D6405-5679-3D4A-8A0B-854D5FAA4889}" dt="2024-07-24T21:07:22.952" v="4176" actId="20577"/>
        <pc:sldMkLst>
          <pc:docMk/>
          <pc:sldMk cId="1513695293" sldId="2147473253"/>
        </pc:sldMkLst>
        <pc:spChg chg="mod">
          <ac:chgData name="Tim Sankey" userId="b928130f-c400-476a-9847-7f451832e377" providerId="ADAL" clId="{BB3D6405-5679-3D4A-8A0B-854D5FAA4889}" dt="2024-07-24T21:07:22.952" v="4176" actId="20577"/>
          <ac:spMkLst>
            <pc:docMk/>
            <pc:sldMk cId="1513695293" sldId="2147473253"/>
            <ac:spMk id="4" creationId="{DB971440-CE7B-F074-538F-12B880866832}"/>
          </ac:spMkLst>
        </pc:spChg>
      </pc:sldChg>
      <pc:sldChg chg="addSp delSp modSp new mod">
        <pc:chgData name="Tim Sankey" userId="b928130f-c400-476a-9847-7f451832e377" providerId="ADAL" clId="{BB3D6405-5679-3D4A-8A0B-854D5FAA4889}" dt="2024-07-25T00:19:14.417" v="4514"/>
        <pc:sldMkLst>
          <pc:docMk/>
          <pc:sldMk cId="2948495453" sldId="2147473253"/>
        </pc:sldMkLst>
        <pc:spChg chg="del mod">
          <ac:chgData name="Tim Sankey" userId="b928130f-c400-476a-9847-7f451832e377" providerId="ADAL" clId="{BB3D6405-5679-3D4A-8A0B-854D5FAA4889}" dt="2024-07-25T00:14:12.578" v="4443" actId="478"/>
          <ac:spMkLst>
            <pc:docMk/>
            <pc:sldMk cId="2948495453" sldId="2147473253"/>
            <ac:spMk id="2" creationId="{06070D51-96A9-2339-0C2D-015B1DDB42E4}"/>
          </ac:spMkLst>
        </pc:spChg>
        <pc:spChg chg="mod">
          <ac:chgData name="Tim Sankey" userId="b928130f-c400-476a-9847-7f451832e377" providerId="ADAL" clId="{BB3D6405-5679-3D4A-8A0B-854D5FAA4889}" dt="2024-07-25T00:14:16.147" v="4457" actId="20577"/>
          <ac:spMkLst>
            <pc:docMk/>
            <pc:sldMk cId="2948495453" sldId="2147473253"/>
            <ac:spMk id="3" creationId="{972CDB17-09EC-8BAA-07C2-363CF2A92511}"/>
          </ac:spMkLst>
        </pc:spChg>
        <pc:spChg chg="add mod">
          <ac:chgData name="Tim Sankey" userId="b928130f-c400-476a-9847-7f451832e377" providerId="ADAL" clId="{BB3D6405-5679-3D4A-8A0B-854D5FAA4889}" dt="2024-07-25T00:19:13.036" v="4512" actId="1076"/>
          <ac:spMkLst>
            <pc:docMk/>
            <pc:sldMk cId="2948495453" sldId="2147473253"/>
            <ac:spMk id="6" creationId="{7A4A7E23-94A7-CC1C-C4FE-BF7E6639DFE0}"/>
          </ac:spMkLst>
        </pc:spChg>
        <pc:spChg chg="add del mod">
          <ac:chgData name="Tim Sankey" userId="b928130f-c400-476a-9847-7f451832e377" providerId="ADAL" clId="{BB3D6405-5679-3D4A-8A0B-854D5FAA4889}" dt="2024-07-25T00:19:14.417" v="4514"/>
          <ac:spMkLst>
            <pc:docMk/>
            <pc:sldMk cId="2948495453" sldId="2147473253"/>
            <ac:spMk id="7" creationId="{D98BF49F-4E08-6603-791E-834999E5AFDD}"/>
          </ac:spMkLst>
        </pc:spChg>
        <pc:picChg chg="add mod">
          <ac:chgData name="Tim Sankey" userId="b928130f-c400-476a-9847-7f451832e377" providerId="ADAL" clId="{BB3D6405-5679-3D4A-8A0B-854D5FAA4889}" dt="2024-07-25T00:15:48.618" v="4471" actId="1076"/>
          <ac:picMkLst>
            <pc:docMk/>
            <pc:sldMk cId="2948495453" sldId="2147473253"/>
            <ac:picMk id="4" creationId="{3F038AED-A7A1-E7AF-C9FB-240DD85CC81A}"/>
          </ac:picMkLst>
        </pc:picChg>
        <pc:picChg chg="add mod">
          <ac:chgData name="Tim Sankey" userId="b928130f-c400-476a-9847-7f451832e377" providerId="ADAL" clId="{BB3D6405-5679-3D4A-8A0B-854D5FAA4889}" dt="2024-07-25T00:15:46.706" v="4470" actId="1076"/>
          <ac:picMkLst>
            <pc:docMk/>
            <pc:sldMk cId="2948495453" sldId="2147473253"/>
            <ac:picMk id="5" creationId="{80BB244B-80C9-A168-295B-02DD020AC32E}"/>
          </ac:picMkLst>
        </pc:picChg>
        <pc:picChg chg="add mod">
          <ac:chgData name="Tim Sankey" userId="b928130f-c400-476a-9847-7f451832e377" providerId="ADAL" clId="{BB3D6405-5679-3D4A-8A0B-854D5FAA4889}" dt="2024-07-25T00:15:45.635" v="4469" actId="1076"/>
          <ac:picMkLst>
            <pc:docMk/>
            <pc:sldMk cId="2948495453" sldId="2147473253"/>
            <ac:picMk id="1026" creationId="{D4ABE136-C382-992E-80B5-AC2A3ACD720D}"/>
          </ac:picMkLst>
        </pc:picChg>
      </pc:sldChg>
      <pc:sldChg chg="new del">
        <pc:chgData name="Tim Sankey" userId="b928130f-c400-476a-9847-7f451832e377" providerId="ADAL" clId="{BB3D6405-5679-3D4A-8A0B-854D5FAA4889}" dt="2024-07-25T00:23:49.278" v="4517" actId="2696"/>
        <pc:sldMkLst>
          <pc:docMk/>
          <pc:sldMk cId="3263106690" sldId="2147473254"/>
        </pc:sldMkLst>
      </pc:sldChg>
      <pc:sldChg chg="addSp delSp modSp add mod ord modCm">
        <pc:chgData name="Tim Sankey" userId="b928130f-c400-476a-9847-7f451832e377" providerId="ADAL" clId="{BB3D6405-5679-3D4A-8A0B-854D5FAA4889}" dt="2024-07-25T17:24:12.014" v="5007" actId="20577"/>
        <pc:sldMkLst>
          <pc:docMk/>
          <pc:sldMk cId="1374375214" sldId="2147473255"/>
        </pc:sldMkLst>
        <pc:spChg chg="mod">
          <ac:chgData name="Tim Sankey" userId="b928130f-c400-476a-9847-7f451832e377" providerId="ADAL" clId="{BB3D6405-5679-3D4A-8A0B-854D5FAA4889}" dt="2024-07-25T00:36:50.228" v="4668" actId="20577"/>
          <ac:spMkLst>
            <pc:docMk/>
            <pc:sldMk cId="1374375214" sldId="2147473255"/>
            <ac:spMk id="3" creationId="{B62AB24C-7131-F6B8-873A-3655500FC98E}"/>
          </ac:spMkLst>
        </pc:spChg>
        <pc:graphicFrameChg chg="modGraphic">
          <ac:chgData name="Tim Sankey" userId="b928130f-c400-476a-9847-7f451832e377" providerId="ADAL" clId="{BB3D6405-5679-3D4A-8A0B-854D5FAA4889}" dt="2024-07-25T17:24:12.014" v="5007" actId="20577"/>
          <ac:graphicFrameMkLst>
            <pc:docMk/>
            <pc:sldMk cId="1374375214" sldId="2147473255"/>
            <ac:graphicFrameMk id="4" creationId="{878955A9-CBF7-9AE8-026E-6A1BBC35C28A}"/>
          </ac:graphicFrameMkLst>
        </pc:graphicFrameChg>
        <pc:picChg chg="del">
          <ac:chgData name="Tim Sankey" userId="b928130f-c400-476a-9847-7f451832e377" providerId="ADAL" clId="{BB3D6405-5679-3D4A-8A0B-854D5FAA4889}" dt="2024-07-25T00:36:21.257" v="4654" actId="478"/>
          <ac:picMkLst>
            <pc:docMk/>
            <pc:sldMk cId="1374375214" sldId="2147473255"/>
            <ac:picMk id="5" creationId="{DEA5736F-72F9-519B-FF95-00EFFEB9136C}"/>
          </ac:picMkLst>
        </pc:picChg>
        <pc:picChg chg="add mod">
          <ac:chgData name="Tim Sankey" userId="b928130f-c400-476a-9847-7f451832e377" providerId="ADAL" clId="{BB3D6405-5679-3D4A-8A0B-854D5FAA4889}" dt="2024-07-25T00:36:23.112" v="4656" actId="1076"/>
          <ac:picMkLst>
            <pc:docMk/>
            <pc:sldMk cId="1374375214" sldId="2147473255"/>
            <ac:picMk id="6" creationId="{E396779A-996F-0E71-E59A-A5500155B282}"/>
          </ac:picMkLst>
        </pc:picChg>
        <pc:extLst>
          <p:ext xmlns:p="http://schemas.openxmlformats.org/presentationml/2006/main" uri="{D6D511B9-2390-475A-947B-AFAB55BFBCF1}">
            <pc226:cmChg xmlns:pc226="http://schemas.microsoft.com/office/powerpoint/2022/06/main/command" chg="mod">
              <pc226:chgData name="Tim Sankey" userId="b928130f-c400-476a-9847-7f451832e377" providerId="ADAL" clId="{BB3D6405-5679-3D4A-8A0B-854D5FAA4889}" dt="2024-07-25T17:07:35.128" v="4936" actId="20577"/>
              <pc2:cmMkLst xmlns:pc2="http://schemas.microsoft.com/office/powerpoint/2019/9/main/command">
                <pc:docMk/>
                <pc:sldMk cId="1374375214" sldId="2147473255"/>
                <pc2:cmMk id="{AA2437CA-B64F-4169-996C-7FDE7C8B000D}"/>
              </pc2:cmMkLst>
            </pc226:cmChg>
          </p:ext>
        </pc:extLst>
      </pc:sldChg>
    </pc:docChg>
  </pc:docChgLst>
  <pc:docChgLst>
    <pc:chgData name="Joel Palmer" userId="eb83a932-ed40-427e-9624-9030307beb05" providerId="ADAL" clId="{C6A297C3-78CA-45F2-86E4-09494C5C5B4E}"/>
    <pc:docChg chg="undo custSel addSld delSld modSld sldOrd delMainMaster modMainMaster addSection modSection">
      <pc:chgData name="Joel Palmer" userId="eb83a932-ed40-427e-9624-9030307beb05" providerId="ADAL" clId="{C6A297C3-78CA-45F2-86E4-09494C5C5B4E}" dt="2024-07-25T14:00:24.426" v="5685"/>
      <pc:docMkLst>
        <pc:docMk/>
      </pc:docMkLst>
      <pc:sldChg chg="addSp delSp modSp mod ord modShow addCm modCm">
        <pc:chgData name="Joel Palmer" userId="eb83a932-ed40-427e-9624-9030307beb05" providerId="ADAL" clId="{C6A297C3-78CA-45F2-86E4-09494C5C5B4E}" dt="2024-07-24T16:43:50.401" v="5067"/>
        <pc:sldMkLst>
          <pc:docMk/>
          <pc:sldMk cId="2204798024" sldId="433"/>
        </pc:sldMkLst>
        <pc:spChg chg="del">
          <ac:chgData name="Joel Palmer" userId="eb83a932-ed40-427e-9624-9030307beb05" providerId="ADAL" clId="{C6A297C3-78CA-45F2-86E4-09494C5C5B4E}" dt="2024-07-23T19:03:15.547" v="3225" actId="478"/>
          <ac:spMkLst>
            <pc:docMk/>
            <pc:sldMk cId="2204798024" sldId="433"/>
            <ac:spMk id="4" creationId="{14CA70C0-8031-E172-E1AD-BF0EF34F3CDB}"/>
          </ac:spMkLst>
        </pc:spChg>
        <pc:spChg chg="del">
          <ac:chgData name="Joel Palmer" userId="eb83a932-ed40-427e-9624-9030307beb05" providerId="ADAL" clId="{C6A297C3-78CA-45F2-86E4-09494C5C5B4E}" dt="2024-07-23T19:07:35.710" v="3237" actId="478"/>
          <ac:spMkLst>
            <pc:docMk/>
            <pc:sldMk cId="2204798024" sldId="433"/>
            <ac:spMk id="5" creationId="{DC7F8764-9F76-ED75-B904-D21EF3B96AB1}"/>
          </ac:spMkLst>
        </pc:spChg>
        <pc:spChg chg="add del mod ord">
          <ac:chgData name="Joel Palmer" userId="eb83a932-ed40-427e-9624-9030307beb05" providerId="ADAL" clId="{C6A297C3-78CA-45F2-86E4-09494C5C5B4E}" dt="2024-07-23T19:03:06.505" v="3223" actId="1076"/>
          <ac:spMkLst>
            <pc:docMk/>
            <pc:sldMk cId="2204798024" sldId="433"/>
            <ac:spMk id="9" creationId="{904E5F80-75D4-AE57-B41C-80E5453C4D17}"/>
          </ac:spMkLst>
        </pc:spChg>
        <pc:spChg chg="mod">
          <ac:chgData name="Joel Palmer" userId="eb83a932-ed40-427e-9624-9030307beb05" providerId="ADAL" clId="{C6A297C3-78CA-45F2-86E4-09494C5C5B4E}" dt="2024-07-23T19:03:22.627" v="3232" actId="20577"/>
          <ac:spMkLst>
            <pc:docMk/>
            <pc:sldMk cId="2204798024" sldId="433"/>
            <ac:spMk id="12" creationId="{B62BEF11-4EE5-ABDC-9B63-308965F041D1}"/>
          </ac:spMkLst>
        </pc:spChg>
        <pc:spChg chg="add del mod">
          <ac:chgData name="Joel Palmer" userId="eb83a932-ed40-427e-9624-9030307beb05" providerId="ADAL" clId="{C6A297C3-78CA-45F2-86E4-09494C5C5B4E}" dt="2024-07-23T19:03:18.853" v="3226" actId="478"/>
          <ac:spMkLst>
            <pc:docMk/>
            <pc:sldMk cId="2204798024" sldId="433"/>
            <ac:spMk id="14" creationId="{30777D53-886D-41B5-4FAC-6ECD5EED670E}"/>
          </ac:spMkLst>
        </pc:spChg>
        <pc:spChg chg="mod">
          <ac:chgData name="Joel Palmer" userId="eb83a932-ed40-427e-9624-9030307beb05" providerId="ADAL" clId="{C6A297C3-78CA-45F2-86E4-09494C5C5B4E}" dt="2024-07-23T19:03:05.998" v="3222" actId="1076"/>
          <ac:spMkLst>
            <pc:docMk/>
            <pc:sldMk cId="2204798024" sldId="433"/>
            <ac:spMk id="36" creationId="{8298DACD-6161-81C9-A591-29B43FFF7593}"/>
          </ac:spMkLst>
        </pc:spChg>
        <pc:spChg chg="mod">
          <ac:chgData name="Joel Palmer" userId="eb83a932-ed40-427e-9624-9030307beb05" providerId="ADAL" clId="{C6A297C3-78CA-45F2-86E4-09494C5C5B4E}" dt="2024-07-23T19:03:05.998" v="3222" actId="1076"/>
          <ac:spMkLst>
            <pc:docMk/>
            <pc:sldMk cId="2204798024" sldId="433"/>
            <ac:spMk id="37" creationId="{8ABC41A5-8232-7DA2-D92B-3CB18FFDC90B}"/>
          </ac:spMkLst>
        </pc:spChg>
        <pc:spChg chg="mod">
          <ac:chgData name="Joel Palmer" userId="eb83a932-ed40-427e-9624-9030307beb05" providerId="ADAL" clId="{C6A297C3-78CA-45F2-86E4-09494C5C5B4E}" dt="2024-07-23T19:03:05.998" v="3222" actId="1076"/>
          <ac:spMkLst>
            <pc:docMk/>
            <pc:sldMk cId="2204798024" sldId="433"/>
            <ac:spMk id="38" creationId="{7DC01825-CEAF-F139-5636-2D396578DEF5}"/>
          </ac:spMkLst>
        </pc:spChg>
        <pc:spChg chg="mod">
          <ac:chgData name="Joel Palmer" userId="eb83a932-ed40-427e-9624-9030307beb05" providerId="ADAL" clId="{C6A297C3-78CA-45F2-86E4-09494C5C5B4E}" dt="2024-07-23T19:03:05.998" v="3222" actId="1076"/>
          <ac:spMkLst>
            <pc:docMk/>
            <pc:sldMk cId="2204798024" sldId="433"/>
            <ac:spMk id="39" creationId="{20F49F65-D9FC-D93B-8A7F-A139D6764294}"/>
          </ac:spMkLst>
        </pc:spChg>
        <pc:spChg chg="mod">
          <ac:chgData name="Joel Palmer" userId="eb83a932-ed40-427e-9624-9030307beb05" providerId="ADAL" clId="{C6A297C3-78CA-45F2-86E4-09494C5C5B4E}" dt="2024-07-23T19:03:05.998" v="3222" actId="1076"/>
          <ac:spMkLst>
            <pc:docMk/>
            <pc:sldMk cId="2204798024" sldId="433"/>
            <ac:spMk id="40" creationId="{C602E220-9A4D-61F6-FFA9-0A3535ADB910}"/>
          </ac:spMkLst>
        </pc:spChg>
        <pc:grpChg chg="add del mod">
          <ac:chgData name="Joel Palmer" userId="eb83a932-ed40-427e-9624-9030307beb05" providerId="ADAL" clId="{C6A297C3-78CA-45F2-86E4-09494C5C5B4E}" dt="2024-07-23T19:03:05.998" v="3222" actId="1076"/>
          <ac:grpSpMkLst>
            <pc:docMk/>
            <pc:sldMk cId="2204798024" sldId="433"/>
            <ac:grpSpMk id="35" creationId="{1D3D2154-677E-D0BF-D2BC-E73D844F14C4}"/>
          </ac:grpSpMkLst>
        </pc:grpChg>
        <pc:picChg chg="add del mod modCrop">
          <ac:chgData name="Joel Palmer" userId="eb83a932-ed40-427e-9624-9030307beb05" providerId="ADAL" clId="{C6A297C3-78CA-45F2-86E4-09494C5C5B4E}" dt="2024-07-23T19:03:10.709" v="3224" actId="478"/>
          <ac:picMkLst>
            <pc:docMk/>
            <pc:sldMk cId="2204798024" sldId="433"/>
            <ac:picMk id="6" creationId="{692569B2-9DDE-BC4F-A894-D8F254330755}"/>
          </ac:picMkLst>
        </pc:picChg>
        <pc:picChg chg="add del mod">
          <ac:chgData name="Joel Palmer" userId="eb83a932-ed40-427e-9624-9030307beb05" providerId="ADAL" clId="{C6A297C3-78CA-45F2-86E4-09494C5C5B4E}" dt="2024-07-23T19:03:03.364" v="3217" actId="22"/>
          <ac:picMkLst>
            <pc:docMk/>
            <pc:sldMk cId="2204798024" sldId="433"/>
            <ac:picMk id="11" creationId="{F54ADB41-1DAA-CB9E-1F53-A5B8DD8F5EDA}"/>
          </ac:picMkLst>
        </pc:picChg>
        <pc:extLst>
          <p:ext xmlns:p="http://schemas.openxmlformats.org/presentationml/2006/main" uri="{D6D511B9-2390-475A-947B-AFAB55BFBCF1}">
            <pc226:cmChg xmlns:pc226="http://schemas.microsoft.com/office/powerpoint/2022/06/main/command" chg="add">
              <pc226:chgData name="Joel Palmer" userId="eb83a932-ed40-427e-9624-9030307beb05" providerId="ADAL" clId="{C6A297C3-78CA-45F2-86E4-09494C5C5B4E}" dt="2024-07-24T16:29:31.752" v="4074"/>
              <pc2:cmMkLst xmlns:pc2="http://schemas.microsoft.com/office/powerpoint/2019/9/main/command">
                <pc:docMk/>
                <pc:sldMk cId="2204798024" sldId="433"/>
                <pc2:cmMk id="{538719D7-5DEA-4038-BE8F-B29991C7CBB1}"/>
              </pc2:cmMkLst>
              <pc226:cmRplyChg chg="add">
                <pc226:chgData name="Joel Palmer" userId="eb83a932-ed40-427e-9624-9030307beb05" providerId="ADAL" clId="{C6A297C3-78CA-45F2-86E4-09494C5C5B4E}" dt="2024-07-24T16:29:31.752" v="4074"/>
                <pc2:cmRplyMkLst xmlns:pc2="http://schemas.microsoft.com/office/powerpoint/2019/9/main/command">
                  <pc:docMk/>
                  <pc:sldMk cId="2204798024" sldId="433"/>
                  <pc2:cmMk id="{538719D7-5DEA-4038-BE8F-B29991C7CBB1}"/>
                  <pc2:cmRplyMk id="{4D75E36D-322A-4760-B637-10A3F3E85B6B}"/>
                </pc2:cmRplyMkLst>
              </pc226:cmRplyChg>
            </pc226:cmChg>
          </p:ext>
        </pc:extLst>
      </pc:sldChg>
      <pc:sldChg chg="addSp delSp modSp mod ord modClrScheme modShow addCm chgLayout">
        <pc:chgData name="Joel Palmer" userId="eb83a932-ed40-427e-9624-9030307beb05" providerId="ADAL" clId="{C6A297C3-78CA-45F2-86E4-09494C5C5B4E}" dt="2024-07-24T16:43:50.401" v="5067"/>
        <pc:sldMkLst>
          <pc:docMk/>
          <pc:sldMk cId="3556499228" sldId="489"/>
        </pc:sldMkLst>
        <pc:spChg chg="add del mod ord">
          <ac:chgData name="Joel Palmer" userId="eb83a932-ed40-427e-9624-9030307beb05" providerId="ADAL" clId="{C6A297C3-78CA-45F2-86E4-09494C5C5B4E}" dt="2024-07-23T19:07:13.596" v="3234" actId="700"/>
          <ac:spMkLst>
            <pc:docMk/>
            <pc:sldMk cId="3556499228" sldId="489"/>
            <ac:spMk id="2" creationId="{19EB6CF8-C3ED-FE5E-7976-0CCB15FB32DF}"/>
          </ac:spMkLst>
        </pc:spChg>
        <pc:spChg chg="add mod">
          <ac:chgData name="Joel Palmer" userId="eb83a932-ed40-427e-9624-9030307beb05" providerId="ADAL" clId="{C6A297C3-78CA-45F2-86E4-09494C5C5B4E}" dt="2024-07-24T16:12:39.086" v="3867" actId="20577"/>
          <ac:spMkLst>
            <pc:docMk/>
            <pc:sldMk cId="3556499228" sldId="489"/>
            <ac:spMk id="2" creationId="{1A06D1F9-80A5-C9DB-5981-C0BD13DE9012}"/>
          </ac:spMkLst>
        </pc:spChg>
        <pc:spChg chg="del mod ord">
          <ac:chgData name="Joel Palmer" userId="eb83a932-ed40-427e-9624-9030307beb05" providerId="ADAL" clId="{C6A297C3-78CA-45F2-86E4-09494C5C5B4E}" dt="2024-07-24T16:12:32.893" v="3847" actId="478"/>
          <ac:spMkLst>
            <pc:docMk/>
            <pc:sldMk cId="3556499228" sldId="489"/>
            <ac:spMk id="3" creationId="{2A331C77-EBCB-B687-D9B9-89E668F51D6F}"/>
          </ac:spMkLst>
        </pc:spChg>
        <pc:spChg chg="add del mod ord">
          <ac:chgData name="Joel Palmer" userId="eb83a932-ed40-427e-9624-9030307beb05" providerId="ADAL" clId="{C6A297C3-78CA-45F2-86E4-09494C5C5B4E}" dt="2024-07-23T19:07:13.596" v="3234" actId="700"/>
          <ac:spMkLst>
            <pc:docMk/>
            <pc:sldMk cId="3556499228" sldId="489"/>
            <ac:spMk id="5" creationId="{91CF1DD9-A982-FAC4-616A-CCDDA4C5DB82}"/>
          </ac:spMkLst>
        </pc:spChg>
        <pc:spChg chg="add del mod ord">
          <ac:chgData name="Joel Palmer" userId="eb83a932-ed40-427e-9624-9030307beb05" providerId="ADAL" clId="{C6A297C3-78CA-45F2-86E4-09494C5C5B4E}" dt="2024-07-23T19:07:16.427" v="3235" actId="478"/>
          <ac:spMkLst>
            <pc:docMk/>
            <pc:sldMk cId="3556499228" sldId="489"/>
            <ac:spMk id="7" creationId="{C91B41A9-0825-504C-1AD2-075829CEAAF2}"/>
          </ac:spMkLst>
        </pc:spChg>
        <pc:spChg chg="add del mod ord">
          <ac:chgData name="Joel Palmer" userId="eb83a932-ed40-427e-9624-9030307beb05" providerId="ADAL" clId="{C6A297C3-78CA-45F2-86E4-09494C5C5B4E}" dt="2024-07-23T19:07:51.094" v="3239" actId="478"/>
          <ac:spMkLst>
            <pc:docMk/>
            <pc:sldMk cId="3556499228" sldId="489"/>
            <ac:spMk id="8" creationId="{355AED6C-CF2F-59BB-CCA9-04C146286411}"/>
          </ac:spMkLst>
        </pc:spChg>
        <pc:spChg chg="add del mod ord">
          <ac:chgData name="Joel Palmer" userId="eb83a932-ed40-427e-9624-9030307beb05" providerId="ADAL" clId="{C6A297C3-78CA-45F2-86E4-09494C5C5B4E}" dt="2024-07-23T19:07:54.123" v="3240" actId="478"/>
          <ac:spMkLst>
            <pc:docMk/>
            <pc:sldMk cId="3556499228" sldId="489"/>
            <ac:spMk id="9" creationId="{EBE2CEAD-ECAC-E16B-3E70-D203A0B891FB}"/>
          </ac:spMkLst>
        </pc:spChg>
        <pc:spChg chg="del mod">
          <ac:chgData name="Joel Palmer" userId="eb83a932-ed40-427e-9624-9030307beb05" providerId="ADAL" clId="{C6A297C3-78CA-45F2-86E4-09494C5C5B4E}" dt="2024-07-23T19:08:45.124" v="3248" actId="478"/>
          <ac:spMkLst>
            <pc:docMk/>
            <pc:sldMk cId="3556499228" sldId="489"/>
            <ac:spMk id="11" creationId="{762C9988-A578-E709-10F0-3154C1781335}"/>
          </ac:spMkLst>
        </pc:spChg>
        <pc:spChg chg="add mod">
          <ac:chgData name="Joel Palmer" userId="eb83a932-ed40-427e-9624-9030307beb05" providerId="ADAL" clId="{C6A297C3-78CA-45F2-86E4-09494C5C5B4E}" dt="2024-07-23T19:12:05.533" v="3303" actId="1582"/>
          <ac:spMkLst>
            <pc:docMk/>
            <pc:sldMk cId="3556499228" sldId="489"/>
            <ac:spMk id="13" creationId="{EB5BEF78-5DE0-BAF5-5CC1-14736BF94B42}"/>
          </ac:spMkLst>
        </pc:spChg>
        <pc:spChg chg="add mod">
          <ac:chgData name="Joel Palmer" userId="eb83a932-ed40-427e-9624-9030307beb05" providerId="ADAL" clId="{C6A297C3-78CA-45F2-86E4-09494C5C5B4E}" dt="2024-07-23T19:12:05.533" v="3303" actId="1582"/>
          <ac:spMkLst>
            <pc:docMk/>
            <pc:sldMk cId="3556499228" sldId="489"/>
            <ac:spMk id="14" creationId="{BF6754E3-EC5D-9FB5-4D45-D8B74AFFEE63}"/>
          </ac:spMkLst>
        </pc:spChg>
        <pc:picChg chg="mod">
          <ac:chgData name="Joel Palmer" userId="eb83a932-ed40-427e-9624-9030307beb05" providerId="ADAL" clId="{C6A297C3-78CA-45F2-86E4-09494C5C5B4E}" dt="2024-07-23T19:12:13.739" v="3304" actId="14100"/>
          <ac:picMkLst>
            <pc:docMk/>
            <pc:sldMk cId="3556499228" sldId="489"/>
            <ac:picMk id="4" creationId="{A0231023-7C13-BE51-4354-C49038B39A9E}"/>
          </ac:picMkLst>
        </pc:picChg>
        <pc:picChg chg="add mod">
          <ac:chgData name="Joel Palmer" userId="eb83a932-ed40-427e-9624-9030307beb05" providerId="ADAL" clId="{C6A297C3-78CA-45F2-86E4-09494C5C5B4E}" dt="2024-07-23T19:11:19.959" v="3300" actId="12789"/>
          <ac:picMkLst>
            <pc:docMk/>
            <pc:sldMk cId="3556499228" sldId="489"/>
            <ac:picMk id="10" creationId="{32046DFD-88E8-B0AC-A8B3-B2409B05D54B}"/>
          </ac:picMkLst>
        </pc:picChg>
        <pc:picChg chg="add mod">
          <ac:chgData name="Joel Palmer" userId="eb83a932-ed40-427e-9624-9030307beb05" providerId="ADAL" clId="{C6A297C3-78CA-45F2-86E4-09494C5C5B4E}" dt="2024-07-23T19:11:19.959" v="3300" actId="12789"/>
          <ac:picMkLst>
            <pc:docMk/>
            <pc:sldMk cId="3556499228" sldId="489"/>
            <ac:picMk id="12" creationId="{1A445E1C-D390-DF91-7600-C45DD129383E}"/>
          </ac:picMkLst>
        </pc:picChg>
        <pc:extLst>
          <p:ext xmlns:p="http://schemas.openxmlformats.org/presentationml/2006/main" uri="{D6D511B9-2390-475A-947B-AFAB55BFBCF1}">
            <pc226:cmChg xmlns:pc226="http://schemas.microsoft.com/office/powerpoint/2022/06/main/command" chg="add">
              <pc226:chgData name="Joel Palmer" userId="eb83a932-ed40-427e-9624-9030307beb05" providerId="ADAL" clId="{C6A297C3-78CA-45F2-86E4-09494C5C5B4E}" dt="2024-07-23T23:11:50.820" v="3653"/>
              <pc2:cmMkLst xmlns:pc2="http://schemas.microsoft.com/office/powerpoint/2019/9/main/command">
                <pc:docMk/>
                <pc:sldMk cId="3556499228" sldId="489"/>
                <pc2:cmMk id="{782F3ED0-C949-4F56-844D-93B722778FA0}"/>
              </pc2:cmMkLst>
            </pc226:cmChg>
          </p:ext>
        </pc:extLst>
      </pc:sldChg>
      <pc:sldChg chg="ord">
        <pc:chgData name="Joel Palmer" userId="eb83a932-ed40-427e-9624-9030307beb05" providerId="ADAL" clId="{C6A297C3-78CA-45F2-86E4-09494C5C5B4E}" dt="2024-07-23T15:53:48.456" v="59"/>
        <pc:sldMkLst>
          <pc:docMk/>
          <pc:sldMk cId="2616933628" sldId="2147472677"/>
        </pc:sldMkLst>
      </pc:sldChg>
      <pc:sldChg chg="addSp delSp modSp mod ord">
        <pc:chgData name="Joel Palmer" userId="eb83a932-ed40-427e-9624-9030307beb05" providerId="ADAL" clId="{C6A297C3-78CA-45F2-86E4-09494C5C5B4E}" dt="2024-07-24T16:08:24.555" v="3766" actId="20577"/>
        <pc:sldMkLst>
          <pc:docMk/>
          <pc:sldMk cId="1811224657" sldId="2147472684"/>
        </pc:sldMkLst>
        <pc:spChg chg="mod">
          <ac:chgData name="Joel Palmer" userId="eb83a932-ed40-427e-9624-9030307beb05" providerId="ADAL" clId="{C6A297C3-78CA-45F2-86E4-09494C5C5B4E}" dt="2024-07-24T16:08:11.309" v="3759" actId="20577"/>
          <ac:spMkLst>
            <pc:docMk/>
            <pc:sldMk cId="1811224657" sldId="2147472684"/>
            <ac:spMk id="2" creationId="{2586AC7D-2C94-3C6B-F76B-1670FDEE94C8}"/>
          </ac:spMkLst>
        </pc:spChg>
        <pc:spChg chg="add del mod">
          <ac:chgData name="Joel Palmer" userId="eb83a932-ed40-427e-9624-9030307beb05" providerId="ADAL" clId="{C6A297C3-78CA-45F2-86E4-09494C5C5B4E}" dt="2024-07-24T16:08:17.729" v="3762" actId="478"/>
          <ac:spMkLst>
            <pc:docMk/>
            <pc:sldMk cId="1811224657" sldId="2147472684"/>
            <ac:spMk id="4" creationId="{9943D0A5-A2B1-542F-E683-760BE9902301}"/>
          </ac:spMkLst>
        </pc:spChg>
        <pc:spChg chg="del">
          <ac:chgData name="Joel Palmer" userId="eb83a932-ed40-427e-9624-9030307beb05" providerId="ADAL" clId="{C6A297C3-78CA-45F2-86E4-09494C5C5B4E}" dt="2024-07-24T16:08:16.474" v="3761" actId="478"/>
          <ac:spMkLst>
            <pc:docMk/>
            <pc:sldMk cId="1811224657" sldId="2147472684"/>
            <ac:spMk id="5" creationId="{91ECD430-ADF2-C30F-B6D4-C31BB2083886}"/>
          </ac:spMkLst>
        </pc:spChg>
        <pc:spChg chg="del">
          <ac:chgData name="Joel Palmer" userId="eb83a932-ed40-427e-9624-9030307beb05" providerId="ADAL" clId="{C6A297C3-78CA-45F2-86E4-09494C5C5B4E}" dt="2024-07-24T16:08:19.230" v="3763" actId="478"/>
          <ac:spMkLst>
            <pc:docMk/>
            <pc:sldMk cId="1811224657" sldId="2147472684"/>
            <ac:spMk id="8" creationId="{5D29D2FF-2485-59A3-F1AD-21DA341FE40A}"/>
          </ac:spMkLst>
        </pc:spChg>
        <pc:spChg chg="add del mod">
          <ac:chgData name="Joel Palmer" userId="eb83a932-ed40-427e-9624-9030307beb05" providerId="ADAL" clId="{C6A297C3-78CA-45F2-86E4-09494C5C5B4E}" dt="2024-07-24T16:08:20.660" v="3764" actId="478"/>
          <ac:spMkLst>
            <pc:docMk/>
            <pc:sldMk cId="1811224657" sldId="2147472684"/>
            <ac:spMk id="9" creationId="{1F374CF0-CA3F-8189-601C-789D3DFDD94D}"/>
          </ac:spMkLst>
        </pc:spChg>
        <pc:spChg chg="del">
          <ac:chgData name="Joel Palmer" userId="eb83a932-ed40-427e-9624-9030307beb05" providerId="ADAL" clId="{C6A297C3-78CA-45F2-86E4-09494C5C5B4E}" dt="2024-07-24T16:08:14.807" v="3760" actId="478"/>
          <ac:spMkLst>
            <pc:docMk/>
            <pc:sldMk cId="1811224657" sldId="2147472684"/>
            <ac:spMk id="41" creationId="{0FBB6F4D-55B7-3717-B972-FB57E2F0FD84}"/>
          </ac:spMkLst>
        </pc:spChg>
        <pc:spChg chg="mod">
          <ac:chgData name="Joel Palmer" userId="eb83a932-ed40-427e-9624-9030307beb05" providerId="ADAL" clId="{C6A297C3-78CA-45F2-86E4-09494C5C5B4E}" dt="2024-07-24T16:08:24.555" v="3766" actId="20577"/>
          <ac:spMkLst>
            <pc:docMk/>
            <pc:sldMk cId="1811224657" sldId="2147472684"/>
            <ac:spMk id="42" creationId="{4F073E1E-A369-0BAA-CC5E-4105BBFFB8EE}"/>
          </ac:spMkLst>
        </pc:spChg>
      </pc:sldChg>
      <pc:sldChg chg="addSp modSp mod">
        <pc:chgData name="Joel Palmer" userId="eb83a932-ed40-427e-9624-9030307beb05" providerId="ADAL" clId="{C6A297C3-78CA-45F2-86E4-09494C5C5B4E}" dt="2024-07-23T16:25:47.802" v="443" actId="571"/>
        <pc:sldMkLst>
          <pc:docMk/>
          <pc:sldMk cId="3357051749" sldId="2147472762"/>
        </pc:sldMkLst>
        <pc:spChg chg="add mod">
          <ac:chgData name="Joel Palmer" userId="eb83a932-ed40-427e-9624-9030307beb05" providerId="ADAL" clId="{C6A297C3-78CA-45F2-86E4-09494C5C5B4E}" dt="2024-07-23T15:52:48.472" v="53" actId="465"/>
          <ac:spMkLst>
            <pc:docMk/>
            <pc:sldMk cId="3357051749" sldId="2147472762"/>
            <ac:spMk id="2" creationId="{A7B6492F-AD0D-5282-3A84-1B0901CCE18E}"/>
          </ac:spMkLst>
        </pc:spChg>
        <pc:spChg chg="add mod">
          <ac:chgData name="Joel Palmer" userId="eb83a932-ed40-427e-9624-9030307beb05" providerId="ADAL" clId="{C6A297C3-78CA-45F2-86E4-09494C5C5B4E}" dt="2024-07-23T15:52:48.472" v="53" actId="465"/>
          <ac:spMkLst>
            <pc:docMk/>
            <pc:sldMk cId="3357051749" sldId="2147472762"/>
            <ac:spMk id="3" creationId="{4866696B-4FAF-CEEC-DECF-AE8629EE82DE}"/>
          </ac:spMkLst>
        </pc:spChg>
        <pc:spChg chg="add mod">
          <ac:chgData name="Joel Palmer" userId="eb83a932-ed40-427e-9624-9030307beb05" providerId="ADAL" clId="{C6A297C3-78CA-45F2-86E4-09494C5C5B4E}" dt="2024-07-23T15:52:48.472" v="53" actId="465"/>
          <ac:spMkLst>
            <pc:docMk/>
            <pc:sldMk cId="3357051749" sldId="2147472762"/>
            <ac:spMk id="8" creationId="{E8AA32E5-FE8C-03F9-E799-BCDEA73ECAE9}"/>
          </ac:spMkLst>
        </pc:spChg>
        <pc:spChg chg="add mod">
          <ac:chgData name="Joel Palmer" userId="eb83a932-ed40-427e-9624-9030307beb05" providerId="ADAL" clId="{C6A297C3-78CA-45F2-86E4-09494C5C5B4E}" dt="2024-07-23T15:52:48.472" v="53" actId="465"/>
          <ac:spMkLst>
            <pc:docMk/>
            <pc:sldMk cId="3357051749" sldId="2147472762"/>
            <ac:spMk id="9" creationId="{16A7C13D-0231-0B04-11BE-27158C5047A1}"/>
          </ac:spMkLst>
        </pc:spChg>
        <pc:spChg chg="add mod">
          <ac:chgData name="Joel Palmer" userId="eb83a932-ed40-427e-9624-9030307beb05" providerId="ADAL" clId="{C6A297C3-78CA-45F2-86E4-09494C5C5B4E}" dt="2024-07-23T15:52:48.472" v="53" actId="465"/>
          <ac:spMkLst>
            <pc:docMk/>
            <pc:sldMk cId="3357051749" sldId="2147472762"/>
            <ac:spMk id="10" creationId="{D96E1609-10E2-DC0C-33BE-78FCB732E95B}"/>
          </ac:spMkLst>
        </pc:spChg>
        <pc:spChg chg="add mod">
          <ac:chgData name="Joel Palmer" userId="eb83a932-ed40-427e-9624-9030307beb05" providerId="ADAL" clId="{C6A297C3-78CA-45F2-86E4-09494C5C5B4E}" dt="2024-07-23T15:52:48.472" v="53" actId="465"/>
          <ac:spMkLst>
            <pc:docMk/>
            <pc:sldMk cId="3357051749" sldId="2147472762"/>
            <ac:spMk id="11" creationId="{BFB61619-8616-A2FA-382B-F83836187A28}"/>
          </ac:spMkLst>
        </pc:spChg>
        <pc:spChg chg="add mod">
          <ac:chgData name="Joel Palmer" userId="eb83a932-ed40-427e-9624-9030307beb05" providerId="ADAL" clId="{C6A297C3-78CA-45F2-86E4-09494C5C5B4E}" dt="2024-07-23T16:25:47.802" v="443" actId="571"/>
          <ac:spMkLst>
            <pc:docMk/>
            <pc:sldMk cId="3357051749" sldId="2147472762"/>
            <ac:spMk id="12" creationId="{6D292107-46E0-80CA-7538-E7985211E403}"/>
          </ac:spMkLst>
        </pc:spChg>
        <pc:spChg chg="add mod">
          <ac:chgData name="Joel Palmer" userId="eb83a932-ed40-427e-9624-9030307beb05" providerId="ADAL" clId="{C6A297C3-78CA-45F2-86E4-09494C5C5B4E}" dt="2024-07-23T16:25:47.802" v="443" actId="571"/>
          <ac:spMkLst>
            <pc:docMk/>
            <pc:sldMk cId="3357051749" sldId="2147472762"/>
            <ac:spMk id="13" creationId="{675358F6-71F7-0C32-5401-1E0D70C1B301}"/>
          </ac:spMkLst>
        </pc:spChg>
      </pc:sldChg>
      <pc:sldChg chg="addSp delSp modSp del mod ord modClrScheme addCm modCm chgLayout">
        <pc:chgData name="Joel Palmer" userId="eb83a932-ed40-427e-9624-9030307beb05" providerId="ADAL" clId="{C6A297C3-78CA-45F2-86E4-09494C5C5B4E}" dt="2024-07-24T22:17:57.303" v="5682" actId="47"/>
        <pc:sldMkLst>
          <pc:docMk/>
          <pc:sldMk cId="2902211712" sldId="2147472868"/>
        </pc:sldMkLst>
        <pc:spChg chg="add del mod ord">
          <ac:chgData name="Joel Palmer" userId="eb83a932-ed40-427e-9624-9030307beb05" providerId="ADAL" clId="{C6A297C3-78CA-45F2-86E4-09494C5C5B4E}" dt="2024-07-23T23:10:45.164" v="3651" actId="700"/>
          <ac:spMkLst>
            <pc:docMk/>
            <pc:sldMk cId="2902211712" sldId="2147472868"/>
            <ac:spMk id="2" creationId="{B5630739-2126-2934-9685-062BE9BFEA1B}"/>
          </ac:spMkLst>
        </pc:spChg>
        <pc:spChg chg="del mod ord">
          <ac:chgData name="Joel Palmer" userId="eb83a932-ed40-427e-9624-9030307beb05" providerId="ADAL" clId="{C6A297C3-78CA-45F2-86E4-09494C5C5B4E}" dt="2024-07-23T19:08:30.718" v="3245" actId="478"/>
          <ac:spMkLst>
            <pc:docMk/>
            <pc:sldMk cId="2902211712" sldId="2147472868"/>
            <ac:spMk id="2" creationId="{BE58E7CA-9E13-EE0E-B3EB-AF83092E4312}"/>
          </ac:spMkLst>
        </pc:spChg>
        <pc:spChg chg="add del mod ord">
          <ac:chgData name="Joel Palmer" userId="eb83a932-ed40-427e-9624-9030307beb05" providerId="ADAL" clId="{C6A297C3-78CA-45F2-86E4-09494C5C5B4E}" dt="2024-07-24T16:11:54.145" v="3826" actId="478"/>
          <ac:spMkLst>
            <pc:docMk/>
            <pc:sldMk cId="2902211712" sldId="2147472868"/>
            <ac:spMk id="2" creationId="{D498A792-DC26-5FF9-E786-00903CC41BAA}"/>
          </ac:spMkLst>
        </pc:spChg>
        <pc:spChg chg="del mod ord">
          <ac:chgData name="Joel Palmer" userId="eb83a932-ed40-427e-9624-9030307beb05" providerId="ADAL" clId="{C6A297C3-78CA-45F2-86E4-09494C5C5B4E}" dt="2024-07-24T16:11:44.067" v="3823" actId="478"/>
          <ac:spMkLst>
            <pc:docMk/>
            <pc:sldMk cId="2902211712" sldId="2147472868"/>
            <ac:spMk id="3" creationId="{36E824DB-66E0-6298-27A8-F059BBF1F348}"/>
          </ac:spMkLst>
        </pc:spChg>
        <pc:spChg chg="del">
          <ac:chgData name="Joel Palmer" userId="eb83a932-ed40-427e-9624-9030307beb05" providerId="ADAL" clId="{C6A297C3-78CA-45F2-86E4-09494C5C5B4E}" dt="2024-07-23T19:07:59.609" v="3241" actId="478"/>
          <ac:spMkLst>
            <pc:docMk/>
            <pc:sldMk cId="2902211712" sldId="2147472868"/>
            <ac:spMk id="5" creationId="{547495BD-F381-031A-543C-6D2BA217F68F}"/>
          </ac:spMkLst>
        </pc:spChg>
        <pc:spChg chg="add mod">
          <ac:chgData name="Joel Palmer" userId="eb83a932-ed40-427e-9624-9030307beb05" providerId="ADAL" clId="{C6A297C3-78CA-45F2-86E4-09494C5C5B4E}" dt="2024-07-24T16:12:03.531" v="3844" actId="20577"/>
          <ac:spMkLst>
            <pc:docMk/>
            <pc:sldMk cId="2902211712" sldId="2147472868"/>
            <ac:spMk id="5" creationId="{77CA0603-3173-D0FE-613F-644D4987045A}"/>
          </ac:spMkLst>
        </pc:spChg>
        <pc:spChg chg="add del mod ord">
          <ac:chgData name="Joel Palmer" userId="eb83a932-ed40-427e-9624-9030307beb05" providerId="ADAL" clId="{C6A297C3-78CA-45F2-86E4-09494C5C5B4E}" dt="2024-07-23T23:10:45.164" v="3651" actId="700"/>
          <ac:spMkLst>
            <pc:docMk/>
            <pc:sldMk cId="2902211712" sldId="2147472868"/>
            <ac:spMk id="5" creationId="{C07A03E3-B010-2D19-E218-43DC5B46A4BD}"/>
          </ac:spMkLst>
        </pc:spChg>
        <pc:spChg chg="mod">
          <ac:chgData name="Joel Palmer" userId="eb83a932-ed40-427e-9624-9030307beb05" providerId="ADAL" clId="{C6A297C3-78CA-45F2-86E4-09494C5C5B4E}" dt="2024-07-24T16:32:11.436" v="4087" actId="20577"/>
          <ac:spMkLst>
            <pc:docMk/>
            <pc:sldMk cId="2902211712" sldId="2147472868"/>
            <ac:spMk id="6" creationId="{A1FCD546-7266-F9CA-CC1A-1EEF3811C21D}"/>
          </ac:spMkLst>
        </pc:spChg>
        <pc:spChg chg="mod">
          <ac:chgData name="Joel Palmer" userId="eb83a932-ed40-427e-9624-9030307beb05" providerId="ADAL" clId="{C6A297C3-78CA-45F2-86E4-09494C5C5B4E}" dt="2024-07-24T16:35:10.675" v="4195" actId="12789"/>
          <ac:spMkLst>
            <pc:docMk/>
            <pc:sldMk cId="2902211712" sldId="2147472868"/>
            <ac:spMk id="8" creationId="{1CE093A3-A4E7-ED72-B70B-0CB3F3449146}"/>
          </ac:spMkLst>
        </pc:spChg>
        <pc:spChg chg="mod">
          <ac:chgData name="Joel Palmer" userId="eb83a932-ed40-427e-9624-9030307beb05" providerId="ADAL" clId="{C6A297C3-78CA-45F2-86E4-09494C5C5B4E}" dt="2024-07-24T16:38:59.834" v="4528" actId="20577"/>
          <ac:spMkLst>
            <pc:docMk/>
            <pc:sldMk cId="2902211712" sldId="2147472868"/>
            <ac:spMk id="9" creationId="{0ECCBAAC-6E26-65EC-968A-810CBB9ACB1C}"/>
          </ac:spMkLst>
        </pc:spChg>
        <pc:spChg chg="add del mod ord">
          <ac:chgData name="Joel Palmer" userId="eb83a932-ed40-427e-9624-9030307beb05" providerId="ADAL" clId="{C6A297C3-78CA-45F2-86E4-09494C5C5B4E}" dt="2024-07-23T19:08:12.894" v="3243" actId="700"/>
          <ac:spMkLst>
            <pc:docMk/>
            <pc:sldMk cId="2902211712" sldId="2147472868"/>
            <ac:spMk id="10" creationId="{8445133D-CC62-A517-B0FF-BEDFD58E7430}"/>
          </ac:spMkLst>
        </pc:spChg>
        <pc:spChg chg="mod">
          <ac:chgData name="Joel Palmer" userId="eb83a932-ed40-427e-9624-9030307beb05" providerId="ADAL" clId="{C6A297C3-78CA-45F2-86E4-09494C5C5B4E}" dt="2024-07-24T16:35:15.155" v="4196" actId="12789"/>
          <ac:spMkLst>
            <pc:docMk/>
            <pc:sldMk cId="2902211712" sldId="2147472868"/>
            <ac:spMk id="11" creationId="{BCB3E32B-891A-0142-EF79-3CA99F8C85C9}"/>
          </ac:spMkLst>
        </pc:spChg>
        <pc:spChg chg="mod">
          <ac:chgData name="Joel Palmer" userId="eb83a932-ed40-427e-9624-9030307beb05" providerId="ADAL" clId="{C6A297C3-78CA-45F2-86E4-09494C5C5B4E}" dt="2024-07-24T16:40:38.955" v="4778" actId="20577"/>
          <ac:spMkLst>
            <pc:docMk/>
            <pc:sldMk cId="2902211712" sldId="2147472868"/>
            <ac:spMk id="12" creationId="{BCBF67E6-E5F9-0DB9-2FD3-157A72E7479F}"/>
          </ac:spMkLst>
        </pc:spChg>
        <pc:spChg chg="add del mod">
          <ac:chgData name="Joel Palmer" userId="eb83a932-ed40-427e-9624-9030307beb05" providerId="ADAL" clId="{C6A297C3-78CA-45F2-86E4-09494C5C5B4E}" dt="2024-07-24T16:11:51.814" v="3825" actId="478"/>
          <ac:spMkLst>
            <pc:docMk/>
            <pc:sldMk cId="2902211712" sldId="2147472868"/>
            <ac:spMk id="13" creationId="{0D57DF0D-3453-5A1B-341D-5DA36BB63BC9}"/>
          </ac:spMkLst>
        </pc:spChg>
        <pc:spChg chg="add del mod ord">
          <ac:chgData name="Joel Palmer" userId="eb83a932-ed40-427e-9624-9030307beb05" providerId="ADAL" clId="{C6A297C3-78CA-45F2-86E4-09494C5C5B4E}" dt="2024-07-23T19:08:24.378" v="3244" actId="478"/>
          <ac:spMkLst>
            <pc:docMk/>
            <pc:sldMk cId="2902211712" sldId="2147472868"/>
            <ac:spMk id="13" creationId="{C42E92D5-E42B-17F4-6B27-85E857ACC531}"/>
          </ac:spMkLst>
        </pc:spChg>
        <pc:spChg chg="mod">
          <ac:chgData name="Joel Palmer" userId="eb83a932-ed40-427e-9624-9030307beb05" providerId="ADAL" clId="{C6A297C3-78CA-45F2-86E4-09494C5C5B4E}" dt="2024-07-24T16:35:19.316" v="4197" actId="12789"/>
          <ac:spMkLst>
            <pc:docMk/>
            <pc:sldMk cId="2902211712" sldId="2147472868"/>
            <ac:spMk id="14" creationId="{026142B9-0651-1F4E-5AA6-EB8263B3340B}"/>
          </ac:spMkLst>
        </pc:spChg>
        <pc:spChg chg="mod">
          <ac:chgData name="Joel Palmer" userId="eb83a932-ed40-427e-9624-9030307beb05" providerId="ADAL" clId="{C6A297C3-78CA-45F2-86E4-09494C5C5B4E}" dt="2024-07-24T16:41:05.587" v="4839" actId="20577"/>
          <ac:spMkLst>
            <pc:docMk/>
            <pc:sldMk cId="2902211712" sldId="2147472868"/>
            <ac:spMk id="15" creationId="{643F7EB3-4069-470F-086D-6E98C31D04EB}"/>
          </ac:spMkLst>
        </pc:spChg>
        <pc:spChg chg="mod">
          <ac:chgData name="Joel Palmer" userId="eb83a932-ed40-427e-9624-9030307beb05" providerId="ADAL" clId="{C6A297C3-78CA-45F2-86E4-09494C5C5B4E}" dt="2024-07-24T16:35:23.138" v="4198" actId="12789"/>
          <ac:spMkLst>
            <pc:docMk/>
            <pc:sldMk cId="2902211712" sldId="2147472868"/>
            <ac:spMk id="17" creationId="{7CAA1E37-205A-F60F-0FC4-AFB05A768C8B}"/>
          </ac:spMkLst>
        </pc:spChg>
        <pc:spChg chg="mod">
          <ac:chgData name="Joel Palmer" userId="eb83a932-ed40-427e-9624-9030307beb05" providerId="ADAL" clId="{C6A297C3-78CA-45F2-86E4-09494C5C5B4E}" dt="2024-07-24T16:42:06.191" v="5059" actId="20577"/>
          <ac:spMkLst>
            <pc:docMk/>
            <pc:sldMk cId="2902211712" sldId="2147472868"/>
            <ac:spMk id="18" creationId="{2CFC5DFA-34A9-7DE4-EB59-996283F23FCC}"/>
          </ac:spMkLst>
        </pc:spChg>
        <pc:spChg chg="add del mod">
          <ac:chgData name="Joel Palmer" userId="eb83a932-ed40-427e-9624-9030307beb05" providerId="ADAL" clId="{C6A297C3-78CA-45F2-86E4-09494C5C5B4E}" dt="2024-07-23T19:08:33.656" v="3246" actId="478"/>
          <ac:spMkLst>
            <pc:docMk/>
            <pc:sldMk cId="2902211712" sldId="2147472868"/>
            <ac:spMk id="19" creationId="{83C5638A-E595-E035-69A9-8260578680E7}"/>
          </ac:spMkLst>
        </pc:spChg>
        <pc:spChg chg="del mod">
          <ac:chgData name="Joel Palmer" userId="eb83a932-ed40-427e-9624-9030307beb05" providerId="ADAL" clId="{C6A297C3-78CA-45F2-86E4-09494C5C5B4E}" dt="2024-07-24T16:33:34.678" v="4175" actId="478"/>
          <ac:spMkLst>
            <pc:docMk/>
            <pc:sldMk cId="2902211712" sldId="2147472868"/>
            <ac:spMk id="21" creationId="{110D87B2-97F9-E41A-08CE-34C8408E7653}"/>
          </ac:spMkLst>
        </pc:spChg>
        <pc:spChg chg="del">
          <ac:chgData name="Joel Palmer" userId="eb83a932-ed40-427e-9624-9030307beb05" providerId="ADAL" clId="{C6A297C3-78CA-45F2-86E4-09494C5C5B4E}" dt="2024-07-24T16:34:18.063" v="4186" actId="478"/>
          <ac:spMkLst>
            <pc:docMk/>
            <pc:sldMk cId="2902211712" sldId="2147472868"/>
            <ac:spMk id="22" creationId="{FD58A3F3-EE67-C852-9E00-C4D98D6BBD4B}"/>
          </ac:spMkLst>
        </pc:spChg>
        <pc:spChg chg="mod">
          <ac:chgData name="Joel Palmer" userId="eb83a932-ed40-427e-9624-9030307beb05" providerId="ADAL" clId="{C6A297C3-78CA-45F2-86E4-09494C5C5B4E}" dt="2024-07-24T16:33:20.063" v="4172" actId="14100"/>
          <ac:spMkLst>
            <pc:docMk/>
            <pc:sldMk cId="2902211712" sldId="2147472868"/>
            <ac:spMk id="24" creationId="{45E25133-FAF6-166D-4106-1C2D8BA3CA2E}"/>
          </ac:spMkLst>
        </pc:spChg>
        <pc:cxnChg chg="mod">
          <ac:chgData name="Joel Palmer" userId="eb83a932-ed40-427e-9624-9030307beb05" providerId="ADAL" clId="{C6A297C3-78CA-45F2-86E4-09494C5C5B4E}" dt="2024-07-24T16:33:29.082" v="4174" actId="14100"/>
          <ac:cxnSpMkLst>
            <pc:docMk/>
            <pc:sldMk cId="2902211712" sldId="2147472868"/>
            <ac:cxnSpMk id="7" creationId="{D53D8713-E08F-9566-166A-5A48F109F304}"/>
          </ac:cxnSpMkLst>
        </pc:cxnChg>
        <pc:cxnChg chg="mod">
          <ac:chgData name="Joel Palmer" userId="eb83a932-ed40-427e-9624-9030307beb05" providerId="ADAL" clId="{C6A297C3-78CA-45F2-86E4-09494C5C5B4E}" dt="2024-07-24T16:33:24.183" v="4173" actId="14100"/>
          <ac:cxnSpMkLst>
            <pc:docMk/>
            <pc:sldMk cId="2902211712" sldId="2147472868"/>
            <ac:cxnSpMk id="25" creationId="{171F11E6-4411-07F9-8D69-48157F8F96FD}"/>
          </ac:cxnSpMkLst>
        </pc:cxnChg>
        <pc:extLst>
          <p:ext xmlns:p="http://schemas.openxmlformats.org/presentationml/2006/main" uri="{D6D511B9-2390-475A-947B-AFAB55BFBCF1}">
            <pc226:cmChg xmlns:pc226="http://schemas.microsoft.com/office/powerpoint/2022/06/main/command" chg="add mod">
              <pc226:chgData name="Joel Palmer" userId="eb83a932-ed40-427e-9624-9030307beb05" providerId="ADAL" clId="{C6A297C3-78CA-45F2-86E4-09494C5C5B4E}" dt="2024-07-24T16:30:06.827" v="4075"/>
              <pc2:cmMkLst xmlns:pc2="http://schemas.microsoft.com/office/powerpoint/2019/9/main/command">
                <pc:docMk/>
                <pc:sldMk cId="2902211712" sldId="2147472868"/>
                <pc2:cmMk id="{69337BB0-4242-4EEC-91E5-3A1C992EE12D}"/>
              </pc2:cmMkLst>
            </pc226:cmChg>
            <pc226:cmChg xmlns:pc226="http://schemas.microsoft.com/office/powerpoint/2022/06/main/command" chg="add">
              <pc226:chgData name="Joel Palmer" userId="eb83a932-ed40-427e-9624-9030307beb05" providerId="ADAL" clId="{C6A297C3-78CA-45F2-86E4-09494C5C5B4E}" dt="2024-07-24T16:42:30.519" v="5060"/>
              <pc2:cmMkLst xmlns:pc2="http://schemas.microsoft.com/office/powerpoint/2019/9/main/command">
                <pc:docMk/>
                <pc:sldMk cId="2902211712" sldId="2147472868"/>
                <pc2:cmMk id="{865FD5C1-D1B9-434C-83DD-5D70974666D2}"/>
              </pc2:cmMkLst>
            </pc226:cmChg>
          </p:ext>
        </pc:extLst>
      </pc:sldChg>
      <pc:sldChg chg="modSp del mod ord">
        <pc:chgData name="Joel Palmer" userId="eb83a932-ed40-427e-9624-9030307beb05" providerId="ADAL" clId="{C6A297C3-78CA-45F2-86E4-09494C5C5B4E}" dt="2024-07-23T18:04:14.047" v="2792" actId="47"/>
        <pc:sldMkLst>
          <pc:docMk/>
          <pc:sldMk cId="331517611" sldId="2147472870"/>
        </pc:sldMkLst>
        <pc:spChg chg="mod">
          <ac:chgData name="Joel Palmer" userId="eb83a932-ed40-427e-9624-9030307beb05" providerId="ADAL" clId="{C6A297C3-78CA-45F2-86E4-09494C5C5B4E}" dt="2024-07-23T18:03:32.889" v="2791" actId="20577"/>
          <ac:spMkLst>
            <pc:docMk/>
            <pc:sldMk cId="331517611" sldId="2147472870"/>
            <ac:spMk id="17" creationId="{972C2A4B-A226-4287-874F-14874A3FE7BA}"/>
          </ac:spMkLst>
        </pc:spChg>
      </pc:sldChg>
      <pc:sldChg chg="addSp delSp modSp mod ord modClrScheme chgLayout">
        <pc:chgData name="Joel Palmer" userId="eb83a932-ed40-427e-9624-9030307beb05" providerId="ADAL" clId="{C6A297C3-78CA-45F2-86E4-09494C5C5B4E}" dt="2024-07-24T19:52:24.812" v="5589" actId="1076"/>
        <pc:sldMkLst>
          <pc:docMk/>
          <pc:sldMk cId="838135831" sldId="2147472936"/>
        </pc:sldMkLst>
        <pc:spChg chg="del">
          <ac:chgData name="Joel Palmer" userId="eb83a932-ed40-427e-9624-9030307beb05" providerId="ADAL" clId="{C6A297C3-78CA-45F2-86E4-09494C5C5B4E}" dt="2024-07-23T16:09:40.879" v="229" actId="478"/>
          <ac:spMkLst>
            <pc:docMk/>
            <pc:sldMk cId="838135831" sldId="2147472936"/>
            <ac:spMk id="2" creationId="{BD032777-274E-2693-F121-4C01131F21D2}"/>
          </ac:spMkLst>
        </pc:spChg>
        <pc:spChg chg="mod ord">
          <ac:chgData name="Joel Palmer" userId="eb83a932-ed40-427e-9624-9030307beb05" providerId="ADAL" clId="{C6A297C3-78CA-45F2-86E4-09494C5C5B4E}" dt="2024-07-23T16:48:26.710" v="816" actId="20577"/>
          <ac:spMkLst>
            <pc:docMk/>
            <pc:sldMk cId="838135831" sldId="2147472936"/>
            <ac:spMk id="3" creationId="{80A409BC-A1AA-45B2-3D0C-8E1EFCE4D98A}"/>
          </ac:spMkLst>
        </pc:spChg>
        <pc:spChg chg="del mod ord">
          <ac:chgData name="Joel Palmer" userId="eb83a932-ed40-427e-9624-9030307beb05" providerId="ADAL" clId="{C6A297C3-78CA-45F2-86E4-09494C5C5B4E}" dt="2024-07-23T16:13:54.373" v="295" actId="478"/>
          <ac:spMkLst>
            <pc:docMk/>
            <pc:sldMk cId="838135831" sldId="2147472936"/>
            <ac:spMk id="4" creationId="{5CBC5191-3EC0-85E3-4D72-733A634C31F8}"/>
          </ac:spMkLst>
        </pc:spChg>
        <pc:spChg chg="del">
          <ac:chgData name="Joel Palmer" userId="eb83a932-ed40-427e-9624-9030307beb05" providerId="ADAL" clId="{C6A297C3-78CA-45F2-86E4-09494C5C5B4E}" dt="2024-07-23T15:57:14.508" v="71" actId="478"/>
          <ac:spMkLst>
            <pc:docMk/>
            <pc:sldMk cId="838135831" sldId="2147472936"/>
            <ac:spMk id="9" creationId="{0DF769F3-E475-97F7-2519-73561B1398F9}"/>
          </ac:spMkLst>
        </pc:spChg>
        <pc:spChg chg="del">
          <ac:chgData name="Joel Palmer" userId="eb83a932-ed40-427e-9624-9030307beb05" providerId="ADAL" clId="{C6A297C3-78CA-45F2-86E4-09494C5C5B4E}" dt="2024-07-23T15:57:55.591" v="75" actId="478"/>
          <ac:spMkLst>
            <pc:docMk/>
            <pc:sldMk cId="838135831" sldId="2147472936"/>
            <ac:spMk id="10" creationId="{3A24278C-D55B-235A-2E99-23B023B54D8B}"/>
          </ac:spMkLst>
        </pc:spChg>
        <pc:spChg chg="del">
          <ac:chgData name="Joel Palmer" userId="eb83a932-ed40-427e-9624-9030307beb05" providerId="ADAL" clId="{C6A297C3-78CA-45F2-86E4-09494C5C5B4E}" dt="2024-07-23T15:57:10.110" v="68" actId="478"/>
          <ac:spMkLst>
            <pc:docMk/>
            <pc:sldMk cId="838135831" sldId="2147472936"/>
            <ac:spMk id="11" creationId="{F16EF58C-E0E4-2323-E06D-7837E693E4C9}"/>
          </ac:spMkLst>
        </pc:spChg>
        <pc:spChg chg="del">
          <ac:chgData name="Joel Palmer" userId="eb83a932-ed40-427e-9624-9030307beb05" providerId="ADAL" clId="{C6A297C3-78CA-45F2-86E4-09494C5C5B4E}" dt="2024-07-23T15:57:10.998" v="69" actId="478"/>
          <ac:spMkLst>
            <pc:docMk/>
            <pc:sldMk cId="838135831" sldId="2147472936"/>
            <ac:spMk id="12" creationId="{CC519C13-D24A-5DE3-FAEF-74D495793FF5}"/>
          </ac:spMkLst>
        </pc:spChg>
        <pc:spChg chg="del">
          <ac:chgData name="Joel Palmer" userId="eb83a932-ed40-427e-9624-9030307beb05" providerId="ADAL" clId="{C6A297C3-78CA-45F2-86E4-09494C5C5B4E}" dt="2024-07-23T15:57:11.508" v="70" actId="478"/>
          <ac:spMkLst>
            <pc:docMk/>
            <pc:sldMk cId="838135831" sldId="2147472936"/>
            <ac:spMk id="13" creationId="{E30A6790-CB0A-D095-82DD-2ACB261F0974}"/>
          </ac:spMkLst>
        </pc:spChg>
        <pc:spChg chg="add del mod">
          <ac:chgData name="Joel Palmer" userId="eb83a932-ed40-427e-9624-9030307beb05" providerId="ADAL" clId="{C6A297C3-78CA-45F2-86E4-09494C5C5B4E}" dt="2024-07-23T16:09:43.407" v="230" actId="478"/>
          <ac:spMkLst>
            <pc:docMk/>
            <pc:sldMk cId="838135831" sldId="2147472936"/>
            <ac:spMk id="15" creationId="{ED0D1F8C-30A4-FDC6-C85C-BC6AD1E58BD3}"/>
          </ac:spMkLst>
        </pc:spChg>
        <pc:spChg chg="add del mod ord">
          <ac:chgData name="Joel Palmer" userId="eb83a932-ed40-427e-9624-9030307beb05" providerId="ADAL" clId="{C6A297C3-78CA-45F2-86E4-09494C5C5B4E}" dt="2024-07-23T16:13:58.540" v="297" actId="478"/>
          <ac:spMkLst>
            <pc:docMk/>
            <pc:sldMk cId="838135831" sldId="2147472936"/>
            <ac:spMk id="17" creationId="{2C03C22E-E5B6-DDFD-9EB8-C3B173C03F5E}"/>
          </ac:spMkLst>
        </pc:spChg>
        <pc:spChg chg="add del mod ord">
          <ac:chgData name="Joel Palmer" userId="eb83a932-ed40-427e-9624-9030307beb05" providerId="ADAL" clId="{C6A297C3-78CA-45F2-86E4-09494C5C5B4E}" dt="2024-07-23T16:13:57.063" v="296" actId="478"/>
          <ac:spMkLst>
            <pc:docMk/>
            <pc:sldMk cId="838135831" sldId="2147472936"/>
            <ac:spMk id="18" creationId="{FEBB030D-26AD-6470-8E9E-4FE05FC35902}"/>
          </ac:spMkLst>
        </pc:spChg>
        <pc:spChg chg="add del">
          <ac:chgData name="Joel Palmer" userId="eb83a932-ed40-427e-9624-9030307beb05" providerId="ADAL" clId="{C6A297C3-78CA-45F2-86E4-09494C5C5B4E}" dt="2024-07-23T16:38:49.551" v="464" actId="478"/>
          <ac:spMkLst>
            <pc:docMk/>
            <pc:sldMk cId="838135831" sldId="2147472936"/>
            <ac:spMk id="19" creationId="{18DCB6CE-44C4-3DC7-1226-14AF21BCA2A0}"/>
          </ac:spMkLst>
        </pc:spChg>
        <pc:spChg chg="add mod">
          <ac:chgData name="Joel Palmer" userId="eb83a932-ed40-427e-9624-9030307beb05" providerId="ADAL" clId="{C6A297C3-78CA-45F2-86E4-09494C5C5B4E}" dt="2024-07-23T16:42:07.637" v="619" actId="1076"/>
          <ac:spMkLst>
            <pc:docMk/>
            <pc:sldMk cId="838135831" sldId="2147472936"/>
            <ac:spMk id="22" creationId="{126EB4E3-6290-C579-619D-41396A7FF463}"/>
          </ac:spMkLst>
        </pc:spChg>
        <pc:spChg chg="add mod">
          <ac:chgData name="Joel Palmer" userId="eb83a932-ed40-427e-9624-9030307beb05" providerId="ADAL" clId="{C6A297C3-78CA-45F2-86E4-09494C5C5B4E}" dt="2024-07-23T16:43:08.693" v="753" actId="20577"/>
          <ac:spMkLst>
            <pc:docMk/>
            <pc:sldMk cId="838135831" sldId="2147472936"/>
            <ac:spMk id="25" creationId="{9F152E9D-2DA4-73A2-A615-4EC26E47538A}"/>
          </ac:spMkLst>
        </pc:spChg>
        <pc:graphicFrameChg chg="add del mod">
          <ac:chgData name="Joel Palmer" userId="eb83a932-ed40-427e-9624-9030307beb05" providerId="ADAL" clId="{C6A297C3-78CA-45F2-86E4-09494C5C5B4E}" dt="2024-07-23T16:08:35.795" v="200" actId="478"/>
          <ac:graphicFrameMkLst>
            <pc:docMk/>
            <pc:sldMk cId="838135831" sldId="2147472936"/>
            <ac:graphicFrameMk id="5" creationId="{DF8B5EC1-E58D-F53F-1858-0C62E9F58478}"/>
          </ac:graphicFrameMkLst>
        </pc:graphicFrameChg>
        <pc:graphicFrameChg chg="add mod modGraphic">
          <ac:chgData name="Joel Palmer" userId="eb83a932-ed40-427e-9624-9030307beb05" providerId="ADAL" clId="{C6A297C3-78CA-45F2-86E4-09494C5C5B4E}" dt="2024-07-23T16:41:19.707" v="607" actId="14100"/>
          <ac:graphicFrameMkLst>
            <pc:docMk/>
            <pc:sldMk cId="838135831" sldId="2147472936"/>
            <ac:graphicFrameMk id="7" creationId="{4FC8121B-5999-3EF3-3DF6-C44B1A456703}"/>
          </ac:graphicFrameMkLst>
        </pc:graphicFrameChg>
        <pc:graphicFrameChg chg="del mod modGraphic">
          <ac:chgData name="Joel Palmer" userId="eb83a932-ed40-427e-9624-9030307beb05" providerId="ADAL" clId="{C6A297C3-78CA-45F2-86E4-09494C5C5B4E}" dt="2024-07-23T16:08:59.674" v="204" actId="478"/>
          <ac:graphicFrameMkLst>
            <pc:docMk/>
            <pc:sldMk cId="838135831" sldId="2147472936"/>
            <ac:graphicFrameMk id="8" creationId="{F373AA08-2BEB-9197-C29C-AD8A81FB9A50}"/>
          </ac:graphicFrameMkLst>
        </pc:graphicFrameChg>
        <pc:picChg chg="add mod">
          <ac:chgData name="Joel Palmer" userId="eb83a932-ed40-427e-9624-9030307beb05" providerId="ADAL" clId="{C6A297C3-78CA-45F2-86E4-09494C5C5B4E}" dt="2024-07-24T19:52:24.812" v="5589" actId="1076"/>
          <ac:picMkLst>
            <pc:docMk/>
            <pc:sldMk cId="838135831" sldId="2147472936"/>
            <ac:picMk id="2" creationId="{5CEAD7D6-0DB6-EB82-4909-94AA284D2034}"/>
          </ac:picMkLst>
        </pc:picChg>
        <pc:picChg chg="add del mod">
          <ac:chgData name="Joel Palmer" userId="eb83a932-ed40-427e-9624-9030307beb05" providerId="ADAL" clId="{C6A297C3-78CA-45F2-86E4-09494C5C5B4E}" dt="2024-07-23T16:10:01.644" v="234" actId="478"/>
          <ac:picMkLst>
            <pc:docMk/>
            <pc:sldMk cId="838135831" sldId="2147472936"/>
            <ac:picMk id="16" creationId="{5BC1132E-224F-9C05-4448-8F2F19959DC7}"/>
          </ac:picMkLst>
        </pc:picChg>
        <pc:picChg chg="add mod">
          <ac:chgData name="Joel Palmer" userId="eb83a932-ed40-427e-9624-9030307beb05" providerId="ADAL" clId="{C6A297C3-78CA-45F2-86E4-09494C5C5B4E}" dt="2024-07-23T16:43:16.435" v="754" actId="1076"/>
          <ac:picMkLst>
            <pc:docMk/>
            <pc:sldMk cId="838135831" sldId="2147472936"/>
            <ac:picMk id="21" creationId="{CAA0D395-4C03-9B70-6E44-77F0D4E75D2A}"/>
          </ac:picMkLst>
        </pc:picChg>
        <pc:picChg chg="add mod">
          <ac:chgData name="Joel Palmer" userId="eb83a932-ed40-427e-9624-9030307beb05" providerId="ADAL" clId="{C6A297C3-78CA-45F2-86E4-09494C5C5B4E}" dt="2024-07-23T16:43:33.128" v="758" actId="14100"/>
          <ac:picMkLst>
            <pc:docMk/>
            <pc:sldMk cId="838135831" sldId="2147472936"/>
            <ac:picMk id="24" creationId="{6848F009-4F3A-1058-8AE4-00A8F1F4E41E}"/>
          </ac:picMkLst>
        </pc:picChg>
        <pc:picChg chg="add mod">
          <ac:chgData name="Joel Palmer" userId="eb83a932-ed40-427e-9624-9030307beb05" providerId="ADAL" clId="{C6A297C3-78CA-45F2-86E4-09494C5C5B4E}" dt="2024-07-23T16:41:50.153" v="614" actId="1076"/>
          <ac:picMkLst>
            <pc:docMk/>
            <pc:sldMk cId="838135831" sldId="2147472936"/>
            <ac:picMk id="1026" creationId="{AB3F4AD1-CA84-CE5D-901A-DDFB24D08989}"/>
          </ac:picMkLst>
        </pc:picChg>
        <pc:picChg chg="add del">
          <ac:chgData name="Joel Palmer" userId="eb83a932-ed40-427e-9624-9030307beb05" providerId="ADAL" clId="{C6A297C3-78CA-45F2-86E4-09494C5C5B4E}" dt="2024-07-23T16:05:34.510" v="172" actId="478"/>
          <ac:picMkLst>
            <pc:docMk/>
            <pc:sldMk cId="838135831" sldId="2147472936"/>
            <ac:picMk id="1028" creationId="{E168A853-3A1E-B9D9-B689-C604343584AF}"/>
          </ac:picMkLst>
        </pc:picChg>
        <pc:picChg chg="add mod">
          <ac:chgData name="Joel Palmer" userId="eb83a932-ed40-427e-9624-9030307beb05" providerId="ADAL" clId="{C6A297C3-78CA-45F2-86E4-09494C5C5B4E}" dt="2024-07-23T16:41:37.318" v="609" actId="1076"/>
          <ac:picMkLst>
            <pc:docMk/>
            <pc:sldMk cId="838135831" sldId="2147472936"/>
            <ac:picMk id="1030" creationId="{B5E9244F-FBBE-43A0-D540-DE3B7229D6A3}"/>
          </ac:picMkLst>
        </pc:picChg>
        <pc:picChg chg="add del mod">
          <ac:chgData name="Joel Palmer" userId="eb83a932-ed40-427e-9624-9030307beb05" providerId="ADAL" clId="{C6A297C3-78CA-45F2-86E4-09494C5C5B4E}" dt="2024-07-24T19:52:18.079" v="5588" actId="478"/>
          <ac:picMkLst>
            <pc:docMk/>
            <pc:sldMk cId="838135831" sldId="2147472936"/>
            <ac:picMk id="1032" creationId="{F4A2724F-447A-537D-B432-43ABC657667D}"/>
          </ac:picMkLst>
        </pc:picChg>
        <pc:picChg chg="add del">
          <ac:chgData name="Joel Palmer" userId="eb83a932-ed40-427e-9624-9030307beb05" providerId="ADAL" clId="{C6A297C3-78CA-45F2-86E4-09494C5C5B4E}" dt="2024-07-23T16:06:28.555" v="180" actId="478"/>
          <ac:picMkLst>
            <pc:docMk/>
            <pc:sldMk cId="838135831" sldId="2147472936"/>
            <ac:picMk id="1034" creationId="{642E39D7-863C-39C9-7048-239E5090CEEC}"/>
          </ac:picMkLst>
        </pc:picChg>
        <pc:picChg chg="add del">
          <ac:chgData name="Joel Palmer" userId="eb83a932-ed40-427e-9624-9030307beb05" providerId="ADAL" clId="{C6A297C3-78CA-45F2-86E4-09494C5C5B4E}" dt="2024-07-23T16:06:35.931" v="182" actId="478"/>
          <ac:picMkLst>
            <pc:docMk/>
            <pc:sldMk cId="838135831" sldId="2147472936"/>
            <ac:picMk id="1036" creationId="{924FCA38-713C-DC97-796F-8411883DEBEB}"/>
          </ac:picMkLst>
        </pc:picChg>
        <pc:picChg chg="add mod">
          <ac:chgData name="Joel Palmer" userId="eb83a932-ed40-427e-9624-9030307beb05" providerId="ADAL" clId="{C6A297C3-78CA-45F2-86E4-09494C5C5B4E}" dt="2024-07-23T16:41:48.732" v="613" actId="1076"/>
          <ac:picMkLst>
            <pc:docMk/>
            <pc:sldMk cId="838135831" sldId="2147472936"/>
            <ac:picMk id="1038" creationId="{F4FFDE12-1B1E-26B7-1BFC-611AABF4753A}"/>
          </ac:picMkLst>
        </pc:picChg>
        <pc:picChg chg="add mod">
          <ac:chgData name="Joel Palmer" userId="eb83a932-ed40-427e-9624-9030307beb05" providerId="ADAL" clId="{C6A297C3-78CA-45F2-86E4-09494C5C5B4E}" dt="2024-07-23T16:41:39.697" v="610" actId="1076"/>
          <ac:picMkLst>
            <pc:docMk/>
            <pc:sldMk cId="838135831" sldId="2147472936"/>
            <ac:picMk id="1040" creationId="{5E4E515D-1AFA-CC2B-881B-E6C4A8186618}"/>
          </ac:picMkLst>
        </pc:picChg>
        <pc:picChg chg="add mod">
          <ac:chgData name="Joel Palmer" userId="eb83a932-ed40-427e-9624-9030307beb05" providerId="ADAL" clId="{C6A297C3-78CA-45F2-86E4-09494C5C5B4E}" dt="2024-07-23T16:41:45.761" v="612" actId="1076"/>
          <ac:picMkLst>
            <pc:docMk/>
            <pc:sldMk cId="838135831" sldId="2147472936"/>
            <ac:picMk id="1042" creationId="{069476EC-5E38-709C-1B70-98474D54EECD}"/>
          </ac:picMkLst>
        </pc:picChg>
      </pc:sldChg>
      <pc:sldChg chg="modSp mod ord">
        <pc:chgData name="Joel Palmer" userId="eb83a932-ed40-427e-9624-9030307beb05" providerId="ADAL" clId="{C6A297C3-78CA-45F2-86E4-09494C5C5B4E}" dt="2024-07-23T18:17:10.080" v="2795"/>
        <pc:sldMkLst>
          <pc:docMk/>
          <pc:sldMk cId="3260890077" sldId="2147473029"/>
        </pc:sldMkLst>
        <pc:spChg chg="mod">
          <ac:chgData name="Joel Palmer" userId="eb83a932-ed40-427e-9624-9030307beb05" providerId="ADAL" clId="{C6A297C3-78CA-45F2-86E4-09494C5C5B4E}" dt="2024-07-23T18:17:04.757" v="2793" actId="1076"/>
          <ac:spMkLst>
            <pc:docMk/>
            <pc:sldMk cId="3260890077" sldId="2147473029"/>
            <ac:spMk id="3082" creationId="{AE722678-D902-1ACD-76C4-AA7E6E3042AC}"/>
          </ac:spMkLst>
        </pc:spChg>
      </pc:sldChg>
      <pc:sldChg chg="addSp delSp modSp add del mod ord">
        <pc:chgData name="Joel Palmer" userId="eb83a932-ed40-427e-9624-9030307beb05" providerId="ADAL" clId="{C6A297C3-78CA-45F2-86E4-09494C5C5B4E}" dt="2024-07-23T18:01:16.246" v="2774" actId="47"/>
        <pc:sldMkLst>
          <pc:docMk/>
          <pc:sldMk cId="4063325152" sldId="2147473215"/>
        </pc:sldMkLst>
        <pc:spChg chg="mod">
          <ac:chgData name="Joel Palmer" userId="eb83a932-ed40-427e-9624-9030307beb05" providerId="ADAL" clId="{C6A297C3-78CA-45F2-86E4-09494C5C5B4E}" dt="2024-07-23T16:48:20.013" v="799" actId="20577"/>
          <ac:spMkLst>
            <pc:docMk/>
            <pc:sldMk cId="4063325152" sldId="2147473215"/>
            <ac:spMk id="3" creationId="{80A409BC-A1AA-45B2-3D0C-8E1EFCE4D98A}"/>
          </ac:spMkLst>
        </pc:spChg>
        <pc:spChg chg="add del mod">
          <ac:chgData name="Joel Palmer" userId="eb83a932-ed40-427e-9624-9030307beb05" providerId="ADAL" clId="{C6A297C3-78CA-45F2-86E4-09494C5C5B4E}" dt="2024-07-23T17:23:17.913" v="2333" actId="478"/>
          <ac:spMkLst>
            <pc:docMk/>
            <pc:sldMk cId="4063325152" sldId="2147473215"/>
            <ac:spMk id="4" creationId="{0019504D-6D94-3BCE-2A40-5A3AD7A7BD5F}"/>
          </ac:spMkLst>
        </pc:spChg>
        <pc:spChg chg="add mod">
          <ac:chgData name="Joel Palmer" userId="eb83a932-ed40-427e-9624-9030307beb05" providerId="ADAL" clId="{C6A297C3-78CA-45F2-86E4-09494C5C5B4E}" dt="2024-07-23T17:39:05.295" v="2490" actId="12789"/>
          <ac:spMkLst>
            <pc:docMk/>
            <pc:sldMk cId="4063325152" sldId="2147473215"/>
            <ac:spMk id="5" creationId="{200883B1-3AFF-2E68-632C-842E687C7A0C}"/>
          </ac:spMkLst>
        </pc:spChg>
        <pc:spChg chg="add del mod">
          <ac:chgData name="Joel Palmer" userId="eb83a932-ed40-427e-9624-9030307beb05" providerId="ADAL" clId="{C6A297C3-78CA-45F2-86E4-09494C5C5B4E}" dt="2024-07-23T17:51:18.754" v="2704" actId="478"/>
          <ac:spMkLst>
            <pc:docMk/>
            <pc:sldMk cId="4063325152" sldId="2147473215"/>
            <ac:spMk id="8" creationId="{7F8861D4-1EC3-E095-8CEC-3E7EAB8486E9}"/>
          </ac:spMkLst>
        </pc:spChg>
        <pc:spChg chg="add mod">
          <ac:chgData name="Joel Palmer" userId="eb83a932-ed40-427e-9624-9030307beb05" providerId="ADAL" clId="{C6A297C3-78CA-45F2-86E4-09494C5C5B4E}" dt="2024-07-23T17:52:53.622" v="2739" actId="1076"/>
          <ac:spMkLst>
            <pc:docMk/>
            <pc:sldMk cId="4063325152" sldId="2147473215"/>
            <ac:spMk id="9" creationId="{DC97904E-5153-131E-88D4-A1108C6E2387}"/>
          </ac:spMkLst>
        </pc:spChg>
        <pc:spChg chg="add del mod">
          <ac:chgData name="Joel Palmer" userId="eb83a932-ed40-427e-9624-9030307beb05" providerId="ADAL" clId="{C6A297C3-78CA-45F2-86E4-09494C5C5B4E}" dt="2024-07-23T17:51:23.766" v="2709" actId="478"/>
          <ac:spMkLst>
            <pc:docMk/>
            <pc:sldMk cId="4063325152" sldId="2147473215"/>
            <ac:spMk id="10" creationId="{D3E58FEF-B605-CC95-C20C-D0442F4B30E4}"/>
          </ac:spMkLst>
        </pc:spChg>
        <pc:spChg chg="add mod">
          <ac:chgData name="Joel Palmer" userId="eb83a932-ed40-427e-9624-9030307beb05" providerId="ADAL" clId="{C6A297C3-78CA-45F2-86E4-09494C5C5B4E}" dt="2024-07-23T17:38:55.883" v="2489" actId="12789"/>
          <ac:spMkLst>
            <pc:docMk/>
            <pc:sldMk cId="4063325152" sldId="2147473215"/>
            <ac:spMk id="13" creationId="{663ED3C5-D3BA-EF19-3F10-CF86149A3250}"/>
          </ac:spMkLst>
        </pc:spChg>
        <pc:spChg chg="add del mod">
          <ac:chgData name="Joel Palmer" userId="eb83a932-ed40-427e-9624-9030307beb05" providerId="ADAL" clId="{C6A297C3-78CA-45F2-86E4-09494C5C5B4E}" dt="2024-07-23T17:51:19.651" v="2705" actId="478"/>
          <ac:spMkLst>
            <pc:docMk/>
            <pc:sldMk cId="4063325152" sldId="2147473215"/>
            <ac:spMk id="14" creationId="{47604F8C-37D0-0705-B28F-083F7A1ACD25}"/>
          </ac:spMkLst>
        </pc:spChg>
        <pc:spChg chg="add mod">
          <ac:chgData name="Joel Palmer" userId="eb83a932-ed40-427e-9624-9030307beb05" providerId="ADAL" clId="{C6A297C3-78CA-45F2-86E4-09494C5C5B4E}" dt="2024-07-23T17:52:50.354" v="2738" actId="1076"/>
          <ac:spMkLst>
            <pc:docMk/>
            <pc:sldMk cId="4063325152" sldId="2147473215"/>
            <ac:spMk id="15" creationId="{EC2E5243-B10C-997A-C250-F3ECA2E69CE3}"/>
          </ac:spMkLst>
        </pc:spChg>
        <pc:spChg chg="add del mod">
          <ac:chgData name="Joel Palmer" userId="eb83a932-ed40-427e-9624-9030307beb05" providerId="ADAL" clId="{C6A297C3-78CA-45F2-86E4-09494C5C5B4E}" dt="2024-07-23T17:51:22.834" v="2708" actId="478"/>
          <ac:spMkLst>
            <pc:docMk/>
            <pc:sldMk cId="4063325152" sldId="2147473215"/>
            <ac:spMk id="16" creationId="{BA4BA28F-73CB-7BF4-7EF4-579269BD1F7E}"/>
          </ac:spMkLst>
        </pc:spChg>
        <pc:spChg chg="add mod">
          <ac:chgData name="Joel Palmer" userId="eb83a932-ed40-427e-9624-9030307beb05" providerId="ADAL" clId="{C6A297C3-78CA-45F2-86E4-09494C5C5B4E}" dt="2024-07-23T17:38:43.753" v="2488" actId="12789"/>
          <ac:spMkLst>
            <pc:docMk/>
            <pc:sldMk cId="4063325152" sldId="2147473215"/>
            <ac:spMk id="19" creationId="{2EDB8817-2B18-B4D8-E4BE-162F2047CB70}"/>
          </ac:spMkLst>
        </pc:spChg>
        <pc:spChg chg="add mod">
          <ac:chgData name="Joel Palmer" userId="eb83a932-ed40-427e-9624-9030307beb05" providerId="ADAL" clId="{C6A297C3-78CA-45F2-86E4-09494C5C5B4E}" dt="2024-07-23T17:56:27.755" v="2755" actId="1076"/>
          <ac:spMkLst>
            <pc:docMk/>
            <pc:sldMk cId="4063325152" sldId="2147473215"/>
            <ac:spMk id="20" creationId="{7C61BAF5-A91C-A4B4-CDDD-B904EB3E755A}"/>
          </ac:spMkLst>
        </pc:spChg>
        <pc:spChg chg="del mod">
          <ac:chgData name="Joel Palmer" userId="eb83a932-ed40-427e-9624-9030307beb05" providerId="ADAL" clId="{C6A297C3-78CA-45F2-86E4-09494C5C5B4E}" dt="2024-07-23T16:48:35.894" v="821" actId="478"/>
          <ac:spMkLst>
            <pc:docMk/>
            <pc:sldMk cId="4063325152" sldId="2147473215"/>
            <ac:spMk id="22" creationId="{126EB4E3-6290-C579-619D-41396A7FF463}"/>
          </ac:spMkLst>
        </pc:spChg>
        <pc:spChg chg="add del mod">
          <ac:chgData name="Joel Palmer" userId="eb83a932-ed40-427e-9624-9030307beb05" providerId="ADAL" clId="{C6A297C3-78CA-45F2-86E4-09494C5C5B4E}" dt="2024-07-23T17:51:20.993" v="2706" actId="478"/>
          <ac:spMkLst>
            <pc:docMk/>
            <pc:sldMk cId="4063325152" sldId="2147473215"/>
            <ac:spMk id="23" creationId="{D06C4C24-0B62-83FF-2BBD-25154CD7F171}"/>
          </ac:spMkLst>
        </pc:spChg>
        <pc:spChg chg="del">
          <ac:chgData name="Joel Palmer" userId="eb83a932-ed40-427e-9624-9030307beb05" providerId="ADAL" clId="{C6A297C3-78CA-45F2-86E4-09494C5C5B4E}" dt="2024-07-23T16:48:34.421" v="820" actId="478"/>
          <ac:spMkLst>
            <pc:docMk/>
            <pc:sldMk cId="4063325152" sldId="2147473215"/>
            <ac:spMk id="25" creationId="{9F152E9D-2DA4-73A2-A615-4EC26E47538A}"/>
          </ac:spMkLst>
        </pc:spChg>
        <pc:spChg chg="add del mod">
          <ac:chgData name="Joel Palmer" userId="eb83a932-ed40-427e-9624-9030307beb05" providerId="ADAL" clId="{C6A297C3-78CA-45F2-86E4-09494C5C5B4E}" dt="2024-07-23T17:51:21.869" v="2707" actId="478"/>
          <ac:spMkLst>
            <pc:docMk/>
            <pc:sldMk cId="4063325152" sldId="2147473215"/>
            <ac:spMk id="32" creationId="{2CD96FF3-3D8A-6930-4227-0DD3481C3DB1}"/>
          </ac:spMkLst>
        </pc:spChg>
        <pc:spChg chg="add mod">
          <ac:chgData name="Joel Palmer" userId="eb83a932-ed40-427e-9624-9030307beb05" providerId="ADAL" clId="{C6A297C3-78CA-45F2-86E4-09494C5C5B4E}" dt="2024-07-23T17:51:29.466" v="2710"/>
          <ac:spMkLst>
            <pc:docMk/>
            <pc:sldMk cId="4063325152" sldId="2147473215"/>
            <ac:spMk id="33" creationId="{BF0C421E-8015-A966-F1E7-087FFB9052FD}"/>
          </ac:spMkLst>
        </pc:spChg>
        <pc:spChg chg="add mod">
          <ac:chgData name="Joel Palmer" userId="eb83a932-ed40-427e-9624-9030307beb05" providerId="ADAL" clId="{C6A297C3-78CA-45F2-86E4-09494C5C5B4E}" dt="2024-07-23T17:51:36.683" v="2714" actId="1076"/>
          <ac:spMkLst>
            <pc:docMk/>
            <pc:sldMk cId="4063325152" sldId="2147473215"/>
            <ac:spMk id="34" creationId="{CB6C95FD-C7A5-271E-5494-6C372EEB922D}"/>
          </ac:spMkLst>
        </pc:spChg>
        <pc:spChg chg="add mod">
          <ac:chgData name="Joel Palmer" userId="eb83a932-ed40-427e-9624-9030307beb05" providerId="ADAL" clId="{C6A297C3-78CA-45F2-86E4-09494C5C5B4E}" dt="2024-07-23T17:51:34.599" v="2713" actId="1076"/>
          <ac:spMkLst>
            <pc:docMk/>
            <pc:sldMk cId="4063325152" sldId="2147473215"/>
            <ac:spMk id="35" creationId="{296C5964-AA64-CF17-8484-7FFE91849C37}"/>
          </ac:spMkLst>
        </pc:spChg>
        <pc:spChg chg="add mod">
          <ac:chgData name="Joel Palmer" userId="eb83a932-ed40-427e-9624-9030307beb05" providerId="ADAL" clId="{C6A297C3-78CA-45F2-86E4-09494C5C5B4E}" dt="2024-07-23T17:51:55.064" v="2723" actId="1076"/>
          <ac:spMkLst>
            <pc:docMk/>
            <pc:sldMk cId="4063325152" sldId="2147473215"/>
            <ac:spMk id="36" creationId="{8AF396A1-F6EC-AD72-5CA5-CBE096572065}"/>
          </ac:spMkLst>
        </pc:spChg>
        <pc:spChg chg="add mod">
          <ac:chgData name="Joel Palmer" userId="eb83a932-ed40-427e-9624-9030307beb05" providerId="ADAL" clId="{C6A297C3-78CA-45F2-86E4-09494C5C5B4E}" dt="2024-07-23T17:51:52.485" v="2722" actId="1076"/>
          <ac:spMkLst>
            <pc:docMk/>
            <pc:sldMk cId="4063325152" sldId="2147473215"/>
            <ac:spMk id="37" creationId="{183ECFF6-32B8-03B9-EAAE-54D13EA19A0C}"/>
          </ac:spMkLst>
        </pc:spChg>
        <pc:spChg chg="add mod">
          <ac:chgData name="Joel Palmer" userId="eb83a932-ed40-427e-9624-9030307beb05" providerId="ADAL" clId="{C6A297C3-78CA-45F2-86E4-09494C5C5B4E}" dt="2024-07-23T17:51:49.570" v="2721" actId="1076"/>
          <ac:spMkLst>
            <pc:docMk/>
            <pc:sldMk cId="4063325152" sldId="2147473215"/>
            <ac:spMk id="38" creationId="{767735E8-B493-9C0D-B458-9C95CE9376D0}"/>
          </ac:spMkLst>
        </pc:spChg>
        <pc:graphicFrameChg chg="add del mod modGraphic">
          <ac:chgData name="Joel Palmer" userId="eb83a932-ed40-427e-9624-9030307beb05" providerId="ADAL" clId="{C6A297C3-78CA-45F2-86E4-09494C5C5B4E}" dt="2024-07-23T17:16:33.626" v="2306" actId="478"/>
          <ac:graphicFrameMkLst>
            <pc:docMk/>
            <pc:sldMk cId="4063325152" sldId="2147473215"/>
            <ac:graphicFrameMk id="2" creationId="{B85988CA-6D0F-E1F4-FFCB-B3388861ED9C}"/>
          </ac:graphicFrameMkLst>
        </pc:graphicFrameChg>
        <pc:graphicFrameChg chg="del">
          <ac:chgData name="Joel Palmer" userId="eb83a932-ed40-427e-9624-9030307beb05" providerId="ADAL" clId="{C6A297C3-78CA-45F2-86E4-09494C5C5B4E}" dt="2024-07-23T16:48:31.037" v="817" actId="478"/>
          <ac:graphicFrameMkLst>
            <pc:docMk/>
            <pc:sldMk cId="4063325152" sldId="2147473215"/>
            <ac:graphicFrameMk id="7" creationId="{4FC8121B-5999-3EF3-3DF6-C44B1A456703}"/>
          </ac:graphicFrameMkLst>
        </pc:graphicFrameChg>
        <pc:picChg chg="add mod">
          <ac:chgData name="Joel Palmer" userId="eb83a932-ed40-427e-9624-9030307beb05" providerId="ADAL" clId="{C6A297C3-78CA-45F2-86E4-09494C5C5B4E}" dt="2024-07-23T17:52:23.480" v="2735" actId="12788"/>
          <ac:picMkLst>
            <pc:docMk/>
            <pc:sldMk cId="4063325152" sldId="2147473215"/>
            <ac:picMk id="12" creationId="{590F93BD-CCA0-1B60-91E4-366188F67704}"/>
          </ac:picMkLst>
        </pc:picChg>
        <pc:picChg chg="add del mod">
          <ac:chgData name="Joel Palmer" userId="eb83a932-ed40-427e-9624-9030307beb05" providerId="ADAL" clId="{C6A297C3-78CA-45F2-86E4-09494C5C5B4E}" dt="2024-07-23T17:29:46.850" v="2434" actId="478"/>
          <ac:picMkLst>
            <pc:docMk/>
            <pc:sldMk cId="4063325152" sldId="2147473215"/>
            <ac:picMk id="18" creationId="{3857DF01-9F88-3695-E79E-AA840FCFB633}"/>
          </ac:picMkLst>
        </pc:picChg>
        <pc:picChg chg="del">
          <ac:chgData name="Joel Palmer" userId="eb83a932-ed40-427e-9624-9030307beb05" providerId="ADAL" clId="{C6A297C3-78CA-45F2-86E4-09494C5C5B4E}" dt="2024-07-23T16:48:31.810" v="818" actId="478"/>
          <ac:picMkLst>
            <pc:docMk/>
            <pc:sldMk cId="4063325152" sldId="2147473215"/>
            <ac:picMk id="21" creationId="{CAA0D395-4C03-9B70-6E44-77F0D4E75D2A}"/>
          </ac:picMkLst>
        </pc:picChg>
        <pc:picChg chg="del">
          <ac:chgData name="Joel Palmer" userId="eb83a932-ed40-427e-9624-9030307beb05" providerId="ADAL" clId="{C6A297C3-78CA-45F2-86E4-09494C5C5B4E}" dt="2024-07-23T16:48:37.279" v="822" actId="478"/>
          <ac:picMkLst>
            <pc:docMk/>
            <pc:sldMk cId="4063325152" sldId="2147473215"/>
            <ac:picMk id="24" creationId="{6848F009-4F3A-1058-8AE4-00A8F1F4E41E}"/>
          </ac:picMkLst>
        </pc:picChg>
        <pc:picChg chg="add del mod">
          <ac:chgData name="Joel Palmer" userId="eb83a932-ed40-427e-9624-9030307beb05" providerId="ADAL" clId="{C6A297C3-78CA-45F2-86E4-09494C5C5B4E}" dt="2024-07-23T17:32:57.092" v="2445" actId="478"/>
          <ac:picMkLst>
            <pc:docMk/>
            <pc:sldMk cId="4063325152" sldId="2147473215"/>
            <ac:picMk id="27" creationId="{F093ABA8-FB25-EFA3-FB34-2194AA1BEEAE}"/>
          </ac:picMkLst>
        </pc:picChg>
        <pc:picChg chg="add mod">
          <ac:chgData name="Joel Palmer" userId="eb83a932-ed40-427e-9624-9030307beb05" providerId="ADAL" clId="{C6A297C3-78CA-45F2-86E4-09494C5C5B4E}" dt="2024-07-23T17:52:31.534" v="2737" actId="1076"/>
          <ac:picMkLst>
            <pc:docMk/>
            <pc:sldMk cId="4063325152" sldId="2147473215"/>
            <ac:picMk id="29" creationId="{1333CDAE-E503-FD23-3545-DF6E238AF65C}"/>
          </ac:picMkLst>
        </pc:picChg>
        <pc:picChg chg="add mod">
          <ac:chgData name="Joel Palmer" userId="eb83a932-ed40-427e-9624-9030307beb05" providerId="ADAL" clId="{C6A297C3-78CA-45F2-86E4-09494C5C5B4E}" dt="2024-07-23T17:52:28.102" v="2736" actId="1076"/>
          <ac:picMkLst>
            <pc:docMk/>
            <pc:sldMk cId="4063325152" sldId="2147473215"/>
            <ac:picMk id="31" creationId="{FD62D426-0C01-0240-D132-092DED7EA0D0}"/>
          </ac:picMkLst>
        </pc:picChg>
        <pc:picChg chg="del">
          <ac:chgData name="Joel Palmer" userId="eb83a932-ed40-427e-9624-9030307beb05" providerId="ADAL" clId="{C6A297C3-78CA-45F2-86E4-09494C5C5B4E}" dt="2024-07-23T16:48:42.421" v="823" actId="478"/>
          <ac:picMkLst>
            <pc:docMk/>
            <pc:sldMk cId="4063325152" sldId="2147473215"/>
            <ac:picMk id="1026" creationId="{AB3F4AD1-CA84-CE5D-901A-DDFB24D08989}"/>
          </ac:picMkLst>
        </pc:picChg>
        <pc:picChg chg="del">
          <ac:chgData name="Joel Palmer" userId="eb83a932-ed40-427e-9624-9030307beb05" providerId="ADAL" clId="{C6A297C3-78CA-45F2-86E4-09494C5C5B4E}" dt="2024-07-23T16:48:42.421" v="823" actId="478"/>
          <ac:picMkLst>
            <pc:docMk/>
            <pc:sldMk cId="4063325152" sldId="2147473215"/>
            <ac:picMk id="1030" creationId="{B5E9244F-FBBE-43A0-D540-DE3B7229D6A3}"/>
          </ac:picMkLst>
        </pc:picChg>
        <pc:picChg chg="del">
          <ac:chgData name="Joel Palmer" userId="eb83a932-ed40-427e-9624-9030307beb05" providerId="ADAL" clId="{C6A297C3-78CA-45F2-86E4-09494C5C5B4E}" dt="2024-07-23T16:48:42.421" v="823" actId="478"/>
          <ac:picMkLst>
            <pc:docMk/>
            <pc:sldMk cId="4063325152" sldId="2147473215"/>
            <ac:picMk id="1032" creationId="{F4A2724F-447A-537D-B432-43ABC657667D}"/>
          </ac:picMkLst>
        </pc:picChg>
        <pc:picChg chg="del">
          <ac:chgData name="Joel Palmer" userId="eb83a932-ed40-427e-9624-9030307beb05" providerId="ADAL" clId="{C6A297C3-78CA-45F2-86E4-09494C5C5B4E}" dt="2024-07-23T16:48:42.421" v="823" actId="478"/>
          <ac:picMkLst>
            <pc:docMk/>
            <pc:sldMk cId="4063325152" sldId="2147473215"/>
            <ac:picMk id="1038" creationId="{F4FFDE12-1B1E-26B7-1BFC-611AABF4753A}"/>
          </ac:picMkLst>
        </pc:picChg>
        <pc:picChg chg="del">
          <ac:chgData name="Joel Palmer" userId="eb83a932-ed40-427e-9624-9030307beb05" providerId="ADAL" clId="{C6A297C3-78CA-45F2-86E4-09494C5C5B4E}" dt="2024-07-23T16:48:42.421" v="823" actId="478"/>
          <ac:picMkLst>
            <pc:docMk/>
            <pc:sldMk cId="4063325152" sldId="2147473215"/>
            <ac:picMk id="1040" creationId="{5E4E515D-1AFA-CC2B-881B-E6C4A8186618}"/>
          </ac:picMkLst>
        </pc:picChg>
        <pc:picChg chg="del">
          <ac:chgData name="Joel Palmer" userId="eb83a932-ed40-427e-9624-9030307beb05" providerId="ADAL" clId="{C6A297C3-78CA-45F2-86E4-09494C5C5B4E}" dt="2024-07-23T16:48:42.421" v="823" actId="478"/>
          <ac:picMkLst>
            <pc:docMk/>
            <pc:sldMk cId="4063325152" sldId="2147473215"/>
            <ac:picMk id="1042" creationId="{069476EC-5E38-709C-1B70-98474D54EECD}"/>
          </ac:picMkLst>
        </pc:picChg>
      </pc:sldChg>
      <pc:sldChg chg="addSp delSp modSp modCm">
        <pc:chgData name="Joel Palmer" userId="eb83a932-ed40-427e-9624-9030307beb05" providerId="ADAL" clId="{C6A297C3-78CA-45F2-86E4-09494C5C5B4E}" dt="2024-07-24T19:52:56.535" v="5596" actId="12789"/>
        <pc:sldMkLst>
          <pc:docMk/>
          <pc:sldMk cId="3690196985" sldId="2147473216"/>
        </pc:sldMkLst>
        <pc:picChg chg="add mod">
          <ac:chgData name="Joel Palmer" userId="eb83a932-ed40-427e-9624-9030307beb05" providerId="ADAL" clId="{C6A297C3-78CA-45F2-86E4-09494C5C5B4E}" dt="2024-07-24T19:52:56.535" v="5596" actId="12789"/>
          <ac:picMkLst>
            <pc:docMk/>
            <pc:sldMk cId="3690196985" sldId="2147473216"/>
            <ac:picMk id="4" creationId="{36D2B12A-517A-7C0F-85B0-E9C984851A83}"/>
          </ac:picMkLst>
        </pc:picChg>
        <pc:picChg chg="mod">
          <ac:chgData name="Joel Palmer" userId="eb83a932-ed40-427e-9624-9030307beb05" providerId="ADAL" clId="{C6A297C3-78CA-45F2-86E4-09494C5C5B4E}" dt="2024-07-24T19:52:56.535" v="5596" actId="12789"/>
          <ac:picMkLst>
            <pc:docMk/>
            <pc:sldMk cId="3690196985" sldId="2147473216"/>
            <ac:picMk id="7" creationId="{8DD4F593-6362-9BCA-F28F-38C1CAF3DE52}"/>
          </ac:picMkLst>
        </pc:picChg>
        <pc:picChg chg="mod">
          <ac:chgData name="Joel Palmer" userId="eb83a932-ed40-427e-9624-9030307beb05" providerId="ADAL" clId="{C6A297C3-78CA-45F2-86E4-09494C5C5B4E}" dt="2024-07-24T19:52:56.535" v="5596" actId="12789"/>
          <ac:picMkLst>
            <pc:docMk/>
            <pc:sldMk cId="3690196985" sldId="2147473216"/>
            <ac:picMk id="8" creationId="{AEC7827E-FF2C-96E9-C9EA-314F15CF71DD}"/>
          </ac:picMkLst>
        </pc:picChg>
        <pc:picChg chg="mod">
          <ac:chgData name="Joel Palmer" userId="eb83a932-ed40-427e-9624-9030307beb05" providerId="ADAL" clId="{C6A297C3-78CA-45F2-86E4-09494C5C5B4E}" dt="2024-07-24T19:52:56.535" v="5596" actId="12789"/>
          <ac:picMkLst>
            <pc:docMk/>
            <pc:sldMk cId="3690196985" sldId="2147473216"/>
            <ac:picMk id="9" creationId="{C8FF211E-E6EB-AD6E-A760-1288D8A3E72A}"/>
          </ac:picMkLst>
        </pc:picChg>
        <pc:picChg chg="del">
          <ac:chgData name="Joel Palmer" userId="eb83a932-ed40-427e-9624-9030307beb05" providerId="ADAL" clId="{C6A297C3-78CA-45F2-86E4-09494C5C5B4E}" dt="2024-07-24T19:52:37.300" v="5592" actId="478"/>
          <ac:picMkLst>
            <pc:docMk/>
            <pc:sldMk cId="3690196985" sldId="2147473216"/>
            <ac:picMk id="10" creationId="{C0880910-FD47-5D4F-B728-760C9DC6096D}"/>
          </ac:picMkLst>
        </pc:picChg>
        <pc:picChg chg="mod">
          <ac:chgData name="Joel Palmer" userId="eb83a932-ed40-427e-9624-9030307beb05" providerId="ADAL" clId="{C6A297C3-78CA-45F2-86E4-09494C5C5B4E}" dt="2024-07-24T19:52:56.535" v="5596" actId="12789"/>
          <ac:picMkLst>
            <pc:docMk/>
            <pc:sldMk cId="3690196985" sldId="2147473216"/>
            <ac:picMk id="11" creationId="{ED519AB6-B8AA-7076-79D0-6A386412DEC2}"/>
          </ac:picMkLst>
        </pc:picChg>
        <pc:picChg chg="mod">
          <ac:chgData name="Joel Palmer" userId="eb83a932-ed40-427e-9624-9030307beb05" providerId="ADAL" clId="{C6A297C3-78CA-45F2-86E4-09494C5C5B4E}" dt="2024-07-24T19:52:56.535" v="5596" actId="12789"/>
          <ac:picMkLst>
            <pc:docMk/>
            <pc:sldMk cId="3690196985" sldId="2147473216"/>
            <ac:picMk id="12" creationId="{2EEF703E-A479-7593-4803-F75277E04558}"/>
          </ac:picMkLst>
        </pc:picChg>
        <pc:extLst>
          <p:ext xmlns:p="http://schemas.openxmlformats.org/presentationml/2006/main" uri="{D6D511B9-2390-475A-947B-AFAB55BFBCF1}">
            <pc226:cmChg xmlns:pc226="http://schemas.microsoft.com/office/powerpoint/2022/06/main/command" chg="">
              <pc226:chgData name="Joel Palmer" userId="eb83a932-ed40-427e-9624-9030307beb05" providerId="ADAL" clId="{C6A297C3-78CA-45F2-86E4-09494C5C5B4E}" dt="2024-07-23T21:35:25.951" v="3649"/>
              <pc2:cmMkLst xmlns:pc2="http://schemas.microsoft.com/office/powerpoint/2019/9/main/command">
                <pc:docMk/>
                <pc:sldMk cId="3690196985" sldId="2147473216"/>
                <pc2:cmMk id="{4C5ECFD0-782E-4F93-B482-842B60020214}"/>
              </pc2:cmMkLst>
              <pc226:cmRplyChg chg="add">
                <pc226:chgData name="Joel Palmer" userId="eb83a932-ed40-427e-9624-9030307beb05" providerId="ADAL" clId="{C6A297C3-78CA-45F2-86E4-09494C5C5B4E}" dt="2024-07-23T21:35:25.951" v="3649"/>
                <pc2:cmRplyMkLst xmlns:pc2="http://schemas.microsoft.com/office/powerpoint/2019/9/main/command">
                  <pc:docMk/>
                  <pc:sldMk cId="3690196985" sldId="2147473216"/>
                  <pc2:cmMk id="{4C5ECFD0-782E-4F93-B482-842B60020214}"/>
                  <pc2:cmRplyMk id="{85201382-D9F1-4E56-8BBF-8A9AA85D3135}"/>
                </pc2:cmRplyMkLst>
              </pc226:cmRplyChg>
            </pc226:cmChg>
          </p:ext>
        </pc:extLst>
      </pc:sldChg>
      <pc:sldChg chg="addSp delSp modSp add mod ord">
        <pc:chgData name="Joel Palmer" userId="eb83a932-ed40-427e-9624-9030307beb05" providerId="ADAL" clId="{C6A297C3-78CA-45F2-86E4-09494C5C5B4E}" dt="2024-07-24T14:30:12.144" v="3704" actId="20577"/>
        <pc:sldMkLst>
          <pc:docMk/>
          <pc:sldMk cId="948064643" sldId="2147473218"/>
        </pc:sldMkLst>
        <pc:spChg chg="mod">
          <ac:chgData name="Joel Palmer" userId="eb83a932-ed40-427e-9624-9030307beb05" providerId="ADAL" clId="{C6A297C3-78CA-45F2-86E4-09494C5C5B4E}" dt="2024-07-24T14:30:12.144" v="3704" actId="20577"/>
          <ac:spMkLst>
            <pc:docMk/>
            <pc:sldMk cId="948064643" sldId="2147473218"/>
            <ac:spMk id="3" creationId="{80A409BC-A1AA-45B2-3D0C-8E1EFCE4D98A}"/>
          </ac:spMkLst>
        </pc:spChg>
        <pc:spChg chg="mod">
          <ac:chgData name="Joel Palmer" userId="eb83a932-ed40-427e-9624-9030307beb05" providerId="ADAL" clId="{C6A297C3-78CA-45F2-86E4-09494C5C5B4E}" dt="2024-07-23T17:54:32.034" v="2748" actId="12789"/>
          <ac:spMkLst>
            <pc:docMk/>
            <pc:sldMk cId="948064643" sldId="2147473218"/>
            <ac:spMk id="5" creationId="{200883B1-3AFF-2E68-632C-842E687C7A0C}"/>
          </ac:spMkLst>
        </pc:spChg>
        <pc:spChg chg="del">
          <ac:chgData name="Joel Palmer" userId="eb83a932-ed40-427e-9624-9030307beb05" providerId="ADAL" clId="{C6A297C3-78CA-45F2-86E4-09494C5C5B4E}" dt="2024-07-23T17:49:31.987" v="2684" actId="478"/>
          <ac:spMkLst>
            <pc:docMk/>
            <pc:sldMk cId="948064643" sldId="2147473218"/>
            <ac:spMk id="8" creationId="{7F8861D4-1EC3-E095-8CEC-3E7EAB8486E9}"/>
          </ac:spMkLst>
        </pc:spChg>
        <pc:spChg chg="mod">
          <ac:chgData name="Joel Palmer" userId="eb83a932-ed40-427e-9624-9030307beb05" providerId="ADAL" clId="{C6A297C3-78CA-45F2-86E4-09494C5C5B4E}" dt="2024-07-23T17:54:32.034" v="2748" actId="12789"/>
          <ac:spMkLst>
            <pc:docMk/>
            <pc:sldMk cId="948064643" sldId="2147473218"/>
            <ac:spMk id="9" creationId="{DC97904E-5153-131E-88D4-A1108C6E2387}"/>
          </ac:spMkLst>
        </pc:spChg>
        <pc:spChg chg="del mod">
          <ac:chgData name="Joel Palmer" userId="eb83a932-ed40-427e-9624-9030307beb05" providerId="ADAL" clId="{C6A297C3-78CA-45F2-86E4-09494C5C5B4E}" dt="2024-07-23T17:50:18.287" v="2697" actId="478"/>
          <ac:spMkLst>
            <pc:docMk/>
            <pc:sldMk cId="948064643" sldId="2147473218"/>
            <ac:spMk id="10" creationId="{D3E58FEF-B605-CC95-C20C-D0442F4B30E4}"/>
          </ac:spMkLst>
        </pc:spChg>
        <pc:spChg chg="mod">
          <ac:chgData name="Joel Palmer" userId="eb83a932-ed40-427e-9624-9030307beb05" providerId="ADAL" clId="{C6A297C3-78CA-45F2-86E4-09494C5C5B4E}" dt="2024-07-23T17:54:21.539" v="2747" actId="12789"/>
          <ac:spMkLst>
            <pc:docMk/>
            <pc:sldMk cId="948064643" sldId="2147473218"/>
            <ac:spMk id="13" creationId="{663ED3C5-D3BA-EF19-3F10-CF86149A3250}"/>
          </ac:spMkLst>
        </pc:spChg>
        <pc:spChg chg="del">
          <ac:chgData name="Joel Palmer" userId="eb83a932-ed40-427e-9624-9030307beb05" providerId="ADAL" clId="{C6A297C3-78CA-45F2-86E4-09494C5C5B4E}" dt="2024-07-23T17:49:21.083" v="2679" actId="478"/>
          <ac:spMkLst>
            <pc:docMk/>
            <pc:sldMk cId="948064643" sldId="2147473218"/>
            <ac:spMk id="14" creationId="{47604F8C-37D0-0705-B28F-083F7A1ACD25}"/>
          </ac:spMkLst>
        </pc:spChg>
        <pc:spChg chg="mod">
          <ac:chgData name="Joel Palmer" userId="eb83a932-ed40-427e-9624-9030307beb05" providerId="ADAL" clId="{C6A297C3-78CA-45F2-86E4-09494C5C5B4E}" dt="2024-07-23T17:54:21.539" v="2747" actId="12789"/>
          <ac:spMkLst>
            <pc:docMk/>
            <pc:sldMk cId="948064643" sldId="2147473218"/>
            <ac:spMk id="15" creationId="{EC2E5243-B10C-997A-C250-F3ECA2E69CE3}"/>
          </ac:spMkLst>
        </pc:spChg>
        <pc:spChg chg="del">
          <ac:chgData name="Joel Palmer" userId="eb83a932-ed40-427e-9624-9030307beb05" providerId="ADAL" clId="{C6A297C3-78CA-45F2-86E4-09494C5C5B4E}" dt="2024-07-23T17:49:55.491" v="2689" actId="478"/>
          <ac:spMkLst>
            <pc:docMk/>
            <pc:sldMk cId="948064643" sldId="2147473218"/>
            <ac:spMk id="16" creationId="{BA4BA28F-73CB-7BF4-7EF4-579269BD1F7E}"/>
          </ac:spMkLst>
        </pc:spChg>
        <pc:spChg chg="mod">
          <ac:chgData name="Joel Palmer" userId="eb83a932-ed40-427e-9624-9030307beb05" providerId="ADAL" clId="{C6A297C3-78CA-45F2-86E4-09494C5C5B4E}" dt="2024-07-23T17:54:11.102" v="2746" actId="12789"/>
          <ac:spMkLst>
            <pc:docMk/>
            <pc:sldMk cId="948064643" sldId="2147473218"/>
            <ac:spMk id="19" creationId="{2EDB8817-2B18-B4D8-E4BE-162F2047CB70}"/>
          </ac:spMkLst>
        </pc:spChg>
        <pc:spChg chg="mod">
          <ac:chgData name="Joel Palmer" userId="eb83a932-ed40-427e-9624-9030307beb05" providerId="ADAL" clId="{C6A297C3-78CA-45F2-86E4-09494C5C5B4E}" dt="2024-07-23T17:54:11.102" v="2746" actId="12789"/>
          <ac:spMkLst>
            <pc:docMk/>
            <pc:sldMk cId="948064643" sldId="2147473218"/>
            <ac:spMk id="20" creationId="{7C61BAF5-A91C-A4B4-CDDD-B904EB3E755A}"/>
          </ac:spMkLst>
        </pc:spChg>
        <pc:spChg chg="mod">
          <ac:chgData name="Joel Palmer" userId="eb83a932-ed40-427e-9624-9030307beb05" providerId="ADAL" clId="{C6A297C3-78CA-45F2-86E4-09494C5C5B4E}" dt="2024-07-23T18:02:41.925" v="2783" actId="2085"/>
          <ac:spMkLst>
            <pc:docMk/>
            <pc:sldMk cId="948064643" sldId="2147473218"/>
            <ac:spMk id="23" creationId="{D06C4C24-0B62-83FF-2BBD-25154CD7F171}"/>
          </ac:spMkLst>
        </pc:spChg>
        <pc:spChg chg="del mod">
          <ac:chgData name="Joel Palmer" userId="eb83a932-ed40-427e-9624-9030307beb05" providerId="ADAL" clId="{C6A297C3-78CA-45F2-86E4-09494C5C5B4E}" dt="2024-07-23T17:49:04.515" v="2673" actId="478"/>
          <ac:spMkLst>
            <pc:docMk/>
            <pc:sldMk cId="948064643" sldId="2147473218"/>
            <ac:spMk id="32" creationId="{2CD96FF3-3D8A-6930-4227-0DD3481C3DB1}"/>
          </ac:spMkLst>
        </pc:spChg>
        <pc:spChg chg="add mod">
          <ac:chgData name="Joel Palmer" userId="eb83a932-ed40-427e-9624-9030307beb05" providerId="ADAL" clId="{C6A297C3-78CA-45F2-86E4-09494C5C5B4E}" dt="2024-07-23T18:02:41.925" v="2783" actId="2085"/>
          <ac:spMkLst>
            <pc:docMk/>
            <pc:sldMk cId="948064643" sldId="2147473218"/>
            <ac:spMk id="33" creationId="{55B12070-C0EF-C40C-20FE-A1A950F6A4F3}"/>
          </ac:spMkLst>
        </pc:spChg>
        <pc:spChg chg="add mod">
          <ac:chgData name="Joel Palmer" userId="eb83a932-ed40-427e-9624-9030307beb05" providerId="ADAL" clId="{C6A297C3-78CA-45F2-86E4-09494C5C5B4E}" dt="2024-07-23T18:02:41.925" v="2783" actId="2085"/>
          <ac:spMkLst>
            <pc:docMk/>
            <pc:sldMk cId="948064643" sldId="2147473218"/>
            <ac:spMk id="34" creationId="{9463ED83-9F10-1A07-549C-D9E8BB3E8327}"/>
          </ac:spMkLst>
        </pc:spChg>
        <pc:spChg chg="add mod">
          <ac:chgData name="Joel Palmer" userId="eb83a932-ed40-427e-9624-9030307beb05" providerId="ADAL" clId="{C6A297C3-78CA-45F2-86E4-09494C5C5B4E}" dt="2024-07-23T18:02:41.925" v="2783" actId="2085"/>
          <ac:spMkLst>
            <pc:docMk/>
            <pc:sldMk cId="948064643" sldId="2147473218"/>
            <ac:spMk id="35" creationId="{85CBE873-9EBF-238A-6AFE-FDB44913C394}"/>
          </ac:spMkLst>
        </pc:spChg>
        <pc:spChg chg="add mod">
          <ac:chgData name="Joel Palmer" userId="eb83a932-ed40-427e-9624-9030307beb05" providerId="ADAL" clId="{C6A297C3-78CA-45F2-86E4-09494C5C5B4E}" dt="2024-07-23T18:02:41.925" v="2783" actId="2085"/>
          <ac:spMkLst>
            <pc:docMk/>
            <pc:sldMk cId="948064643" sldId="2147473218"/>
            <ac:spMk id="36" creationId="{BA0602AC-8A15-FC22-31CC-EABF564C6AAB}"/>
          </ac:spMkLst>
        </pc:spChg>
        <pc:spChg chg="add mod">
          <ac:chgData name="Joel Palmer" userId="eb83a932-ed40-427e-9624-9030307beb05" providerId="ADAL" clId="{C6A297C3-78CA-45F2-86E4-09494C5C5B4E}" dt="2024-07-23T18:02:41.925" v="2783" actId="2085"/>
          <ac:spMkLst>
            <pc:docMk/>
            <pc:sldMk cId="948064643" sldId="2147473218"/>
            <ac:spMk id="37" creationId="{5BB1DF12-96C3-4F3A-C59E-06A1C4E50E38}"/>
          </ac:spMkLst>
        </pc:spChg>
        <pc:picChg chg="add del mod">
          <ac:chgData name="Joel Palmer" userId="eb83a932-ed40-427e-9624-9030307beb05" providerId="ADAL" clId="{C6A297C3-78CA-45F2-86E4-09494C5C5B4E}" dt="2024-07-23T17:47:58.184" v="2652" actId="478"/>
          <ac:picMkLst>
            <pc:docMk/>
            <pc:sldMk cId="948064643" sldId="2147473218"/>
            <ac:picMk id="4" creationId="{3F33D1D1-5787-6D16-0177-A03D5353940B}"/>
          </ac:picMkLst>
        </pc:picChg>
        <pc:picChg chg="add del mod">
          <ac:chgData name="Joel Palmer" userId="eb83a932-ed40-427e-9624-9030307beb05" providerId="ADAL" clId="{C6A297C3-78CA-45F2-86E4-09494C5C5B4E}" dt="2024-07-23T17:48:23.116" v="2656" actId="478"/>
          <ac:picMkLst>
            <pc:docMk/>
            <pc:sldMk cId="948064643" sldId="2147473218"/>
            <ac:picMk id="11" creationId="{9B9A445B-7272-BD26-BD54-5226448616CA}"/>
          </ac:picMkLst>
        </pc:picChg>
        <pc:picChg chg="del">
          <ac:chgData name="Joel Palmer" userId="eb83a932-ed40-427e-9624-9030307beb05" providerId="ADAL" clId="{C6A297C3-78CA-45F2-86E4-09494C5C5B4E}" dt="2024-07-23T17:42:03.378" v="2551" actId="478"/>
          <ac:picMkLst>
            <pc:docMk/>
            <pc:sldMk cId="948064643" sldId="2147473218"/>
            <ac:picMk id="12" creationId="{590F93BD-CCA0-1B60-91E4-366188F67704}"/>
          </ac:picMkLst>
        </pc:picChg>
        <pc:picChg chg="add del mod">
          <ac:chgData name="Joel Palmer" userId="eb83a932-ed40-427e-9624-9030307beb05" providerId="ADAL" clId="{C6A297C3-78CA-45F2-86E4-09494C5C5B4E}" dt="2024-07-23T17:45:47.285" v="2641" actId="478"/>
          <ac:picMkLst>
            <pc:docMk/>
            <pc:sldMk cId="948064643" sldId="2147473218"/>
            <ac:picMk id="18" creationId="{BD85C540-401F-73B4-361E-B645937530ED}"/>
          </ac:picMkLst>
        </pc:picChg>
        <pc:picChg chg="add mod">
          <ac:chgData name="Joel Palmer" userId="eb83a932-ed40-427e-9624-9030307beb05" providerId="ADAL" clId="{C6A297C3-78CA-45F2-86E4-09494C5C5B4E}" dt="2024-07-23T17:54:11.102" v="2746" actId="12789"/>
          <ac:picMkLst>
            <pc:docMk/>
            <pc:sldMk cId="948064643" sldId="2147473218"/>
            <ac:picMk id="22" creationId="{F7AA27E1-7D7C-3315-0486-B4CEBB601732}"/>
          </ac:picMkLst>
        </pc:picChg>
        <pc:picChg chg="add del mod">
          <ac:chgData name="Joel Palmer" userId="eb83a932-ed40-427e-9624-9030307beb05" providerId="ADAL" clId="{C6A297C3-78CA-45F2-86E4-09494C5C5B4E}" dt="2024-07-23T17:47:26.175" v="2647" actId="478"/>
          <ac:picMkLst>
            <pc:docMk/>
            <pc:sldMk cId="948064643" sldId="2147473218"/>
            <ac:picMk id="25" creationId="{9BA1C7B6-361A-C92E-1330-0F2FDCD33483}"/>
          </ac:picMkLst>
        </pc:picChg>
        <pc:picChg chg="add mod">
          <ac:chgData name="Joel Palmer" userId="eb83a932-ed40-427e-9624-9030307beb05" providerId="ADAL" clId="{C6A297C3-78CA-45F2-86E4-09494C5C5B4E}" dt="2024-07-23T17:54:21.539" v="2747" actId="12789"/>
          <ac:picMkLst>
            <pc:docMk/>
            <pc:sldMk cId="948064643" sldId="2147473218"/>
            <ac:picMk id="27" creationId="{A7B7A216-E070-60B7-6EEC-C52345938BB9}"/>
          </ac:picMkLst>
        </pc:picChg>
        <pc:picChg chg="del">
          <ac:chgData name="Joel Palmer" userId="eb83a932-ed40-427e-9624-9030307beb05" providerId="ADAL" clId="{C6A297C3-78CA-45F2-86E4-09494C5C5B4E}" dt="2024-07-23T17:43:04.278" v="2624" actId="478"/>
          <ac:picMkLst>
            <pc:docMk/>
            <pc:sldMk cId="948064643" sldId="2147473218"/>
            <ac:picMk id="29" creationId="{1333CDAE-E503-FD23-3545-DF6E238AF65C}"/>
          </ac:picMkLst>
        </pc:picChg>
        <pc:picChg chg="add mod">
          <ac:chgData name="Joel Palmer" userId="eb83a932-ed40-427e-9624-9030307beb05" providerId="ADAL" clId="{C6A297C3-78CA-45F2-86E4-09494C5C5B4E}" dt="2024-07-23T17:54:32.034" v="2748" actId="12789"/>
          <ac:picMkLst>
            <pc:docMk/>
            <pc:sldMk cId="948064643" sldId="2147473218"/>
            <ac:picMk id="30" creationId="{40DFBFE0-1715-F05B-7E73-0BFDB10090A2}"/>
          </ac:picMkLst>
        </pc:picChg>
        <pc:picChg chg="del">
          <ac:chgData name="Joel Palmer" userId="eb83a932-ed40-427e-9624-9030307beb05" providerId="ADAL" clId="{C6A297C3-78CA-45F2-86E4-09494C5C5B4E}" dt="2024-07-23T17:44:01.422" v="2630" actId="478"/>
          <ac:picMkLst>
            <pc:docMk/>
            <pc:sldMk cId="948064643" sldId="2147473218"/>
            <ac:picMk id="31" creationId="{FD62D426-0C01-0240-D132-092DED7EA0D0}"/>
          </ac:picMkLst>
        </pc:picChg>
      </pc:sldChg>
      <pc:sldChg chg="addSp delSp modSp add mod ord">
        <pc:chgData name="Joel Palmer" userId="eb83a932-ed40-427e-9624-9030307beb05" providerId="ADAL" clId="{C6A297C3-78CA-45F2-86E4-09494C5C5B4E}" dt="2024-07-25T13:13:49.816" v="5683" actId="20577"/>
        <pc:sldMkLst>
          <pc:docMk/>
          <pc:sldMk cId="4043452944" sldId="2147473219"/>
        </pc:sldMkLst>
        <pc:spChg chg="mod">
          <ac:chgData name="Joel Palmer" userId="eb83a932-ed40-427e-9624-9030307beb05" providerId="ADAL" clId="{C6A297C3-78CA-45F2-86E4-09494C5C5B4E}" dt="2024-07-24T14:30:04.558" v="3685" actId="20577"/>
          <ac:spMkLst>
            <pc:docMk/>
            <pc:sldMk cId="4043452944" sldId="2147473219"/>
            <ac:spMk id="3" creationId="{80A409BC-A1AA-45B2-3D0C-8E1EFCE4D98A}"/>
          </ac:spMkLst>
        </pc:spChg>
        <pc:spChg chg="mod">
          <ac:chgData name="Joel Palmer" userId="eb83a932-ed40-427e-9624-9030307beb05" providerId="ADAL" clId="{C6A297C3-78CA-45F2-86E4-09494C5C5B4E}" dt="2024-07-23T17:55:36.924" v="2750"/>
          <ac:spMkLst>
            <pc:docMk/>
            <pc:sldMk cId="4043452944" sldId="2147473219"/>
            <ac:spMk id="5" creationId="{200883B1-3AFF-2E68-632C-842E687C7A0C}"/>
          </ac:spMkLst>
        </pc:spChg>
        <pc:spChg chg="mod">
          <ac:chgData name="Joel Palmer" userId="eb83a932-ed40-427e-9624-9030307beb05" providerId="ADAL" clId="{C6A297C3-78CA-45F2-86E4-09494C5C5B4E}" dt="2024-07-23T17:55:45.475" v="2751"/>
          <ac:spMkLst>
            <pc:docMk/>
            <pc:sldMk cId="4043452944" sldId="2147473219"/>
            <ac:spMk id="9" creationId="{DC97904E-5153-131E-88D4-A1108C6E2387}"/>
          </ac:spMkLst>
        </pc:spChg>
        <pc:spChg chg="mod">
          <ac:chgData name="Joel Palmer" userId="eb83a932-ed40-427e-9624-9030307beb05" providerId="ADAL" clId="{C6A297C3-78CA-45F2-86E4-09494C5C5B4E}" dt="2024-07-23T18:01:45.134" v="2775" actId="12789"/>
          <ac:spMkLst>
            <pc:docMk/>
            <pc:sldMk cId="4043452944" sldId="2147473219"/>
            <ac:spMk id="13" creationId="{663ED3C5-D3BA-EF19-3F10-CF86149A3250}"/>
          </ac:spMkLst>
        </pc:spChg>
        <pc:spChg chg="mod">
          <ac:chgData name="Joel Palmer" userId="eb83a932-ed40-427e-9624-9030307beb05" providerId="ADAL" clId="{C6A297C3-78CA-45F2-86E4-09494C5C5B4E}" dt="2024-07-23T18:01:45.134" v="2775" actId="12789"/>
          <ac:spMkLst>
            <pc:docMk/>
            <pc:sldMk cId="4043452944" sldId="2147473219"/>
            <ac:spMk id="15" creationId="{EC2E5243-B10C-997A-C250-F3ECA2E69CE3}"/>
          </ac:spMkLst>
        </pc:spChg>
        <pc:spChg chg="mod">
          <ac:chgData name="Joel Palmer" userId="eb83a932-ed40-427e-9624-9030307beb05" providerId="ADAL" clId="{C6A297C3-78CA-45F2-86E4-09494C5C5B4E}" dt="2024-07-23T17:56:18.374" v="2754"/>
          <ac:spMkLst>
            <pc:docMk/>
            <pc:sldMk cId="4043452944" sldId="2147473219"/>
            <ac:spMk id="19" creationId="{2EDB8817-2B18-B4D8-E4BE-162F2047CB70}"/>
          </ac:spMkLst>
        </pc:spChg>
        <pc:spChg chg="mod">
          <ac:chgData name="Joel Palmer" userId="eb83a932-ed40-427e-9624-9030307beb05" providerId="ADAL" clId="{C6A297C3-78CA-45F2-86E4-09494C5C5B4E}" dt="2024-07-25T13:13:49.816" v="5683" actId="20577"/>
          <ac:spMkLst>
            <pc:docMk/>
            <pc:sldMk cId="4043452944" sldId="2147473219"/>
            <ac:spMk id="20" creationId="{7C61BAF5-A91C-A4B4-CDDD-B904EB3E755A}"/>
          </ac:spMkLst>
        </pc:spChg>
        <pc:spChg chg="mod">
          <ac:chgData name="Joel Palmer" userId="eb83a932-ed40-427e-9624-9030307beb05" providerId="ADAL" clId="{C6A297C3-78CA-45F2-86E4-09494C5C5B4E}" dt="2024-07-23T18:02:13.523" v="2782" actId="2085"/>
          <ac:spMkLst>
            <pc:docMk/>
            <pc:sldMk cId="4043452944" sldId="2147473219"/>
            <ac:spMk id="23" creationId="{D06C4C24-0B62-83FF-2BBD-25154CD7F171}"/>
          </ac:spMkLst>
        </pc:spChg>
        <pc:spChg chg="mod">
          <ac:chgData name="Joel Palmer" userId="eb83a932-ed40-427e-9624-9030307beb05" providerId="ADAL" clId="{C6A297C3-78CA-45F2-86E4-09494C5C5B4E}" dt="2024-07-23T18:02:13.523" v="2782" actId="2085"/>
          <ac:spMkLst>
            <pc:docMk/>
            <pc:sldMk cId="4043452944" sldId="2147473219"/>
            <ac:spMk id="33" creationId="{55B12070-C0EF-C40C-20FE-A1A950F6A4F3}"/>
          </ac:spMkLst>
        </pc:spChg>
        <pc:spChg chg="mod">
          <ac:chgData name="Joel Palmer" userId="eb83a932-ed40-427e-9624-9030307beb05" providerId="ADAL" clId="{C6A297C3-78CA-45F2-86E4-09494C5C5B4E}" dt="2024-07-23T18:02:13.523" v="2782" actId="2085"/>
          <ac:spMkLst>
            <pc:docMk/>
            <pc:sldMk cId="4043452944" sldId="2147473219"/>
            <ac:spMk id="34" creationId="{9463ED83-9F10-1A07-549C-D9E8BB3E8327}"/>
          </ac:spMkLst>
        </pc:spChg>
        <pc:spChg chg="mod">
          <ac:chgData name="Joel Palmer" userId="eb83a932-ed40-427e-9624-9030307beb05" providerId="ADAL" clId="{C6A297C3-78CA-45F2-86E4-09494C5C5B4E}" dt="2024-07-23T18:02:13.523" v="2782" actId="2085"/>
          <ac:spMkLst>
            <pc:docMk/>
            <pc:sldMk cId="4043452944" sldId="2147473219"/>
            <ac:spMk id="35" creationId="{85CBE873-9EBF-238A-6AFE-FDB44913C394}"/>
          </ac:spMkLst>
        </pc:spChg>
        <pc:spChg chg="mod">
          <ac:chgData name="Joel Palmer" userId="eb83a932-ed40-427e-9624-9030307beb05" providerId="ADAL" clId="{C6A297C3-78CA-45F2-86E4-09494C5C5B4E}" dt="2024-07-23T18:02:13.523" v="2782" actId="2085"/>
          <ac:spMkLst>
            <pc:docMk/>
            <pc:sldMk cId="4043452944" sldId="2147473219"/>
            <ac:spMk id="36" creationId="{BA0602AC-8A15-FC22-31CC-EABF564C6AAB}"/>
          </ac:spMkLst>
        </pc:spChg>
        <pc:spChg chg="mod">
          <ac:chgData name="Joel Palmer" userId="eb83a932-ed40-427e-9624-9030307beb05" providerId="ADAL" clId="{C6A297C3-78CA-45F2-86E4-09494C5C5B4E}" dt="2024-07-23T18:02:13.523" v="2782" actId="2085"/>
          <ac:spMkLst>
            <pc:docMk/>
            <pc:sldMk cId="4043452944" sldId="2147473219"/>
            <ac:spMk id="37" creationId="{5BB1DF12-96C3-4F3A-C59E-06A1C4E50E38}"/>
          </ac:spMkLst>
        </pc:spChg>
        <pc:picChg chg="add mod">
          <ac:chgData name="Joel Palmer" userId="eb83a932-ed40-427e-9624-9030307beb05" providerId="ADAL" clId="{C6A297C3-78CA-45F2-86E4-09494C5C5B4E}" dt="2024-07-23T18:01:11.550" v="2773" actId="12788"/>
          <ac:picMkLst>
            <pc:docMk/>
            <pc:sldMk cId="4043452944" sldId="2147473219"/>
            <ac:picMk id="2" creationId="{85672DF7-80B8-8A12-8A55-CBB174855F34}"/>
          </ac:picMkLst>
        </pc:picChg>
        <pc:picChg chg="add mod">
          <ac:chgData name="Joel Palmer" userId="eb83a932-ed40-427e-9624-9030307beb05" providerId="ADAL" clId="{C6A297C3-78CA-45F2-86E4-09494C5C5B4E}" dt="2024-07-23T18:01:45.134" v="2775" actId="12789"/>
          <ac:picMkLst>
            <pc:docMk/>
            <pc:sldMk cId="4043452944" sldId="2147473219"/>
            <ac:picMk id="4" creationId="{F369B13F-7E45-051D-6B21-8F12D90F5351}"/>
          </ac:picMkLst>
        </pc:picChg>
        <pc:picChg chg="add mod">
          <ac:chgData name="Joel Palmer" userId="eb83a932-ed40-427e-9624-9030307beb05" providerId="ADAL" clId="{C6A297C3-78CA-45F2-86E4-09494C5C5B4E}" dt="2024-07-23T18:01:11.550" v="2773" actId="12788"/>
          <ac:picMkLst>
            <pc:docMk/>
            <pc:sldMk cId="4043452944" sldId="2147473219"/>
            <ac:picMk id="7" creationId="{8ABC0122-D5DF-74D2-58B5-D6D4BE33DE3E}"/>
          </ac:picMkLst>
        </pc:picChg>
        <pc:picChg chg="del">
          <ac:chgData name="Joel Palmer" userId="eb83a932-ed40-427e-9624-9030307beb05" providerId="ADAL" clId="{C6A297C3-78CA-45F2-86E4-09494C5C5B4E}" dt="2024-07-23T18:00:43.880" v="2769" actId="478"/>
          <ac:picMkLst>
            <pc:docMk/>
            <pc:sldMk cId="4043452944" sldId="2147473219"/>
            <ac:picMk id="22" creationId="{F7AA27E1-7D7C-3315-0486-B4CEBB601732}"/>
          </ac:picMkLst>
        </pc:picChg>
        <pc:picChg chg="del">
          <ac:chgData name="Joel Palmer" userId="eb83a932-ed40-427e-9624-9030307beb05" providerId="ADAL" clId="{C6A297C3-78CA-45F2-86E4-09494C5C5B4E}" dt="2024-07-23T18:00:33.590" v="2765" actId="478"/>
          <ac:picMkLst>
            <pc:docMk/>
            <pc:sldMk cId="4043452944" sldId="2147473219"/>
            <ac:picMk id="27" creationId="{A7B7A216-E070-60B7-6EEC-C52345938BB9}"/>
          </ac:picMkLst>
        </pc:picChg>
        <pc:picChg chg="del">
          <ac:chgData name="Joel Palmer" userId="eb83a932-ed40-427e-9624-9030307beb05" providerId="ADAL" clId="{C6A297C3-78CA-45F2-86E4-09494C5C5B4E}" dt="2024-07-23T18:00:26.360" v="2763" actId="478"/>
          <ac:picMkLst>
            <pc:docMk/>
            <pc:sldMk cId="4043452944" sldId="2147473219"/>
            <ac:picMk id="30" creationId="{40DFBFE0-1715-F05B-7E73-0BFDB10090A2}"/>
          </ac:picMkLst>
        </pc:picChg>
      </pc:sldChg>
      <pc:sldChg chg="addSp delSp modSp add mod">
        <pc:chgData name="Joel Palmer" userId="eb83a932-ed40-427e-9624-9030307beb05" providerId="ADAL" clId="{C6A297C3-78CA-45F2-86E4-09494C5C5B4E}" dt="2024-07-24T22:17:15.179" v="5677" actId="20577"/>
        <pc:sldMkLst>
          <pc:docMk/>
          <pc:sldMk cId="2357753741" sldId="2147473220"/>
        </pc:sldMkLst>
        <pc:spChg chg="mod">
          <ac:chgData name="Joel Palmer" userId="eb83a932-ed40-427e-9624-9030307beb05" providerId="ADAL" clId="{C6A297C3-78CA-45F2-86E4-09494C5C5B4E}" dt="2024-07-24T16:09:17.156" v="3812" actId="20577"/>
          <ac:spMkLst>
            <pc:docMk/>
            <pc:sldMk cId="2357753741" sldId="2147473220"/>
            <ac:spMk id="2" creationId="{2586AC7D-2C94-3C6B-F76B-1670FDEE94C8}"/>
          </ac:spMkLst>
        </pc:spChg>
        <pc:spChg chg="mod">
          <ac:chgData name="Joel Palmer" userId="eb83a932-ed40-427e-9624-9030307beb05" providerId="ADAL" clId="{C6A297C3-78CA-45F2-86E4-09494C5C5B4E}" dt="2024-07-24T22:17:15.179" v="5677" actId="20577"/>
          <ac:spMkLst>
            <pc:docMk/>
            <pc:sldMk cId="2357753741" sldId="2147473220"/>
            <ac:spMk id="3" creationId="{BF39D44D-A565-CC98-662F-ECC2D8E187D7}"/>
          </ac:spMkLst>
        </pc:spChg>
        <pc:spChg chg="add del mod">
          <ac:chgData name="Joel Palmer" userId="eb83a932-ed40-427e-9624-9030307beb05" providerId="ADAL" clId="{C6A297C3-78CA-45F2-86E4-09494C5C5B4E}" dt="2024-07-24T16:09:24.409" v="3815" actId="478"/>
          <ac:spMkLst>
            <pc:docMk/>
            <pc:sldMk cId="2357753741" sldId="2147473220"/>
            <ac:spMk id="4" creationId="{9301A51B-789E-50E2-03AB-3EB573E7FA25}"/>
          </ac:spMkLst>
        </pc:spChg>
        <pc:spChg chg="del">
          <ac:chgData name="Joel Palmer" userId="eb83a932-ed40-427e-9624-9030307beb05" providerId="ADAL" clId="{C6A297C3-78CA-45F2-86E4-09494C5C5B4E}" dt="2024-07-24T16:09:23.098" v="3814" actId="478"/>
          <ac:spMkLst>
            <pc:docMk/>
            <pc:sldMk cId="2357753741" sldId="2147473220"/>
            <ac:spMk id="5" creationId="{91ECD430-ADF2-C30F-B6D4-C31BB2083886}"/>
          </ac:spMkLst>
        </pc:spChg>
        <pc:spChg chg="del">
          <ac:chgData name="Joel Palmer" userId="eb83a932-ed40-427e-9624-9030307beb05" providerId="ADAL" clId="{C6A297C3-78CA-45F2-86E4-09494C5C5B4E}" dt="2024-07-24T16:09:26.322" v="3816" actId="478"/>
          <ac:spMkLst>
            <pc:docMk/>
            <pc:sldMk cId="2357753741" sldId="2147473220"/>
            <ac:spMk id="8" creationId="{5D29D2FF-2485-59A3-F1AD-21DA341FE40A}"/>
          </ac:spMkLst>
        </pc:spChg>
        <pc:spChg chg="add del mod">
          <ac:chgData name="Joel Palmer" userId="eb83a932-ed40-427e-9624-9030307beb05" providerId="ADAL" clId="{C6A297C3-78CA-45F2-86E4-09494C5C5B4E}" dt="2024-07-24T16:09:28.542" v="3817" actId="478"/>
          <ac:spMkLst>
            <pc:docMk/>
            <pc:sldMk cId="2357753741" sldId="2147473220"/>
            <ac:spMk id="9" creationId="{B071C440-C404-EC97-0026-32FB17D2F5EB}"/>
          </ac:spMkLst>
        </pc:spChg>
        <pc:spChg chg="del">
          <ac:chgData name="Joel Palmer" userId="eb83a932-ed40-427e-9624-9030307beb05" providerId="ADAL" clId="{C6A297C3-78CA-45F2-86E4-09494C5C5B4E}" dt="2024-07-24T16:09:21.221" v="3813" actId="478"/>
          <ac:spMkLst>
            <pc:docMk/>
            <pc:sldMk cId="2357753741" sldId="2147473220"/>
            <ac:spMk id="41" creationId="{0FBB6F4D-55B7-3717-B972-FB57E2F0FD84}"/>
          </ac:spMkLst>
        </pc:spChg>
        <pc:spChg chg="mod">
          <ac:chgData name="Joel Palmer" userId="eb83a932-ed40-427e-9624-9030307beb05" providerId="ADAL" clId="{C6A297C3-78CA-45F2-86E4-09494C5C5B4E}" dt="2024-07-24T16:09:13.242" v="3803" actId="20577"/>
          <ac:spMkLst>
            <pc:docMk/>
            <pc:sldMk cId="2357753741" sldId="2147473220"/>
            <ac:spMk id="42" creationId="{4F073E1E-A369-0BAA-CC5E-4105BBFFB8EE}"/>
          </ac:spMkLst>
        </pc:spChg>
      </pc:sldChg>
      <pc:sldChg chg="addSp delSp modSp add mod ord">
        <pc:chgData name="Joel Palmer" userId="eb83a932-ed40-427e-9624-9030307beb05" providerId="ADAL" clId="{C6A297C3-78CA-45F2-86E4-09494C5C5B4E}" dt="2024-07-24T16:44:21.785" v="5069"/>
        <pc:sldMkLst>
          <pc:docMk/>
          <pc:sldMk cId="2806225201" sldId="2147473221"/>
        </pc:sldMkLst>
        <pc:spChg chg="mod">
          <ac:chgData name="Joel Palmer" userId="eb83a932-ed40-427e-9624-9030307beb05" providerId="ADAL" clId="{C6A297C3-78CA-45F2-86E4-09494C5C5B4E}" dt="2024-07-23T18:17:30.404" v="2825" actId="20577"/>
          <ac:spMkLst>
            <pc:docMk/>
            <pc:sldMk cId="2806225201" sldId="2147473221"/>
            <ac:spMk id="3" creationId="{CF5A6160-BB28-4B8E-C4A6-E0EDB41C8FF2}"/>
          </ac:spMkLst>
        </pc:spChg>
        <pc:spChg chg="del">
          <ac:chgData name="Joel Palmer" userId="eb83a932-ed40-427e-9624-9030307beb05" providerId="ADAL" clId="{C6A297C3-78CA-45F2-86E4-09494C5C5B4E}" dt="2024-07-23T18:18:00.513" v="2836" actId="478"/>
          <ac:spMkLst>
            <pc:docMk/>
            <pc:sldMk cId="2806225201" sldId="2147473221"/>
            <ac:spMk id="13" creationId="{AF4D1886-607C-88FD-60CA-9226E70360B1}"/>
          </ac:spMkLst>
        </pc:spChg>
        <pc:spChg chg="del">
          <ac:chgData name="Joel Palmer" userId="eb83a932-ed40-427e-9624-9030307beb05" providerId="ADAL" clId="{C6A297C3-78CA-45F2-86E4-09494C5C5B4E}" dt="2024-07-23T18:18:04.635" v="2838" actId="478"/>
          <ac:spMkLst>
            <pc:docMk/>
            <pc:sldMk cId="2806225201" sldId="2147473221"/>
            <ac:spMk id="14" creationId="{6A239BD0-B988-45DB-FA51-354EAC54FBAF}"/>
          </ac:spMkLst>
        </pc:spChg>
        <pc:spChg chg="del">
          <ac:chgData name="Joel Palmer" userId="eb83a932-ed40-427e-9624-9030307beb05" providerId="ADAL" clId="{C6A297C3-78CA-45F2-86E4-09494C5C5B4E}" dt="2024-07-23T18:18:02.345" v="2837" actId="478"/>
          <ac:spMkLst>
            <pc:docMk/>
            <pc:sldMk cId="2806225201" sldId="2147473221"/>
            <ac:spMk id="15" creationId="{41166E5B-4C6E-363B-D046-243ABD188B78}"/>
          </ac:spMkLst>
        </pc:spChg>
        <pc:spChg chg="del mod">
          <ac:chgData name="Joel Palmer" userId="eb83a932-ed40-427e-9624-9030307beb05" providerId="ADAL" clId="{C6A297C3-78CA-45F2-86E4-09494C5C5B4E}" dt="2024-07-23T18:18:09.276" v="2840" actId="478"/>
          <ac:spMkLst>
            <pc:docMk/>
            <pc:sldMk cId="2806225201" sldId="2147473221"/>
            <ac:spMk id="16" creationId="{40CA22F4-F8A4-DBE3-D94E-45B61863520C}"/>
          </ac:spMkLst>
        </pc:spChg>
        <pc:spChg chg="del">
          <ac:chgData name="Joel Palmer" userId="eb83a932-ed40-427e-9624-9030307beb05" providerId="ADAL" clId="{C6A297C3-78CA-45F2-86E4-09494C5C5B4E}" dt="2024-07-23T18:17:57.503" v="2834" actId="478"/>
          <ac:spMkLst>
            <pc:docMk/>
            <pc:sldMk cId="2806225201" sldId="2147473221"/>
            <ac:spMk id="17" creationId="{CE99EA9D-4783-03AA-1890-E00B21600BA0}"/>
          </ac:spMkLst>
        </pc:spChg>
        <pc:spChg chg="del mod">
          <ac:chgData name="Joel Palmer" userId="eb83a932-ed40-427e-9624-9030307beb05" providerId="ADAL" clId="{C6A297C3-78CA-45F2-86E4-09494C5C5B4E}" dt="2024-07-23T18:17:55.013" v="2833" actId="478"/>
          <ac:spMkLst>
            <pc:docMk/>
            <pc:sldMk cId="2806225201" sldId="2147473221"/>
            <ac:spMk id="18" creationId="{0AF9B2BD-F1C2-5D01-E40D-89F8A1091090}"/>
          </ac:spMkLst>
        </pc:spChg>
        <pc:spChg chg="del">
          <ac:chgData name="Joel Palmer" userId="eb83a932-ed40-427e-9624-9030307beb05" providerId="ADAL" clId="{C6A297C3-78CA-45F2-86E4-09494C5C5B4E}" dt="2024-07-23T18:18:21.767" v="2847" actId="478"/>
          <ac:spMkLst>
            <pc:docMk/>
            <pc:sldMk cId="2806225201" sldId="2147473221"/>
            <ac:spMk id="28" creationId="{A23F79F3-91AC-6598-02FC-8766D652871E}"/>
          </ac:spMkLst>
        </pc:spChg>
        <pc:spChg chg="del">
          <ac:chgData name="Joel Palmer" userId="eb83a932-ed40-427e-9624-9030307beb05" providerId="ADAL" clId="{C6A297C3-78CA-45F2-86E4-09494C5C5B4E}" dt="2024-07-23T18:18:14.463" v="2843" actId="478"/>
          <ac:spMkLst>
            <pc:docMk/>
            <pc:sldMk cId="2806225201" sldId="2147473221"/>
            <ac:spMk id="29" creationId="{3F9811D9-9B0B-E118-4C77-0A5FA364746F}"/>
          </ac:spMkLst>
        </pc:spChg>
        <pc:spChg chg="del">
          <ac:chgData name="Joel Palmer" userId="eb83a932-ed40-427e-9624-9030307beb05" providerId="ADAL" clId="{C6A297C3-78CA-45F2-86E4-09494C5C5B4E}" dt="2024-07-23T18:18:17.989" v="2845" actId="478"/>
          <ac:spMkLst>
            <pc:docMk/>
            <pc:sldMk cId="2806225201" sldId="2147473221"/>
            <ac:spMk id="30" creationId="{3B050670-6B81-8695-DA00-C25CF5F0795B}"/>
          </ac:spMkLst>
        </pc:spChg>
        <pc:spChg chg="del">
          <ac:chgData name="Joel Palmer" userId="eb83a932-ed40-427e-9624-9030307beb05" providerId="ADAL" clId="{C6A297C3-78CA-45F2-86E4-09494C5C5B4E}" dt="2024-07-23T19:15:17.124" v="3318" actId="478"/>
          <ac:spMkLst>
            <pc:docMk/>
            <pc:sldMk cId="2806225201" sldId="2147473221"/>
            <ac:spMk id="31" creationId="{26074205-2232-E460-8113-FB7AD2772DBF}"/>
          </ac:spMkLst>
        </pc:spChg>
        <pc:spChg chg="del">
          <ac:chgData name="Joel Palmer" userId="eb83a932-ed40-427e-9624-9030307beb05" providerId="ADAL" clId="{C6A297C3-78CA-45F2-86E4-09494C5C5B4E}" dt="2024-07-23T18:18:12.591" v="2842" actId="478"/>
          <ac:spMkLst>
            <pc:docMk/>
            <pc:sldMk cId="2806225201" sldId="2147473221"/>
            <ac:spMk id="3081" creationId="{F09549C0-1C3E-3006-F006-5B09F7446739}"/>
          </ac:spMkLst>
        </pc:spChg>
        <pc:spChg chg="del">
          <ac:chgData name="Joel Palmer" userId="eb83a932-ed40-427e-9624-9030307beb05" providerId="ADAL" clId="{C6A297C3-78CA-45F2-86E4-09494C5C5B4E}" dt="2024-07-23T18:18:11.370" v="2841" actId="478"/>
          <ac:spMkLst>
            <pc:docMk/>
            <pc:sldMk cId="2806225201" sldId="2147473221"/>
            <ac:spMk id="3082" creationId="{AE722678-D902-1ACD-76C4-AA7E6E3042AC}"/>
          </ac:spMkLst>
        </pc:spChg>
        <pc:spChg chg="del">
          <ac:chgData name="Joel Palmer" userId="eb83a932-ed40-427e-9624-9030307beb05" providerId="ADAL" clId="{C6A297C3-78CA-45F2-86E4-09494C5C5B4E}" dt="2024-07-23T18:18:22.896" v="2848" actId="478"/>
          <ac:spMkLst>
            <pc:docMk/>
            <pc:sldMk cId="2806225201" sldId="2147473221"/>
            <ac:spMk id="3089" creationId="{972B2166-E3FD-0D34-22D8-CDE5212BAFFF}"/>
          </ac:spMkLst>
        </pc:spChg>
        <pc:spChg chg="del">
          <ac:chgData name="Joel Palmer" userId="eb83a932-ed40-427e-9624-9030307beb05" providerId="ADAL" clId="{C6A297C3-78CA-45F2-86E4-09494C5C5B4E}" dt="2024-07-23T18:18:15.668" v="2844" actId="478"/>
          <ac:spMkLst>
            <pc:docMk/>
            <pc:sldMk cId="2806225201" sldId="2147473221"/>
            <ac:spMk id="3090" creationId="{4B47E314-0EA7-5F22-09DB-0AD256D3D498}"/>
          </ac:spMkLst>
        </pc:spChg>
        <pc:spChg chg="del">
          <ac:chgData name="Joel Palmer" userId="eb83a932-ed40-427e-9624-9030307beb05" providerId="ADAL" clId="{C6A297C3-78CA-45F2-86E4-09494C5C5B4E}" dt="2024-07-23T18:18:19.717" v="2846" actId="478"/>
          <ac:spMkLst>
            <pc:docMk/>
            <pc:sldMk cId="2806225201" sldId="2147473221"/>
            <ac:spMk id="3091" creationId="{BC86FA86-45F1-865F-3D6B-2F5617BC1B5D}"/>
          </ac:spMkLst>
        </pc:spChg>
        <pc:picChg chg="add del mod">
          <ac:chgData name="Joel Palmer" userId="eb83a932-ed40-427e-9624-9030307beb05" providerId="ADAL" clId="{C6A297C3-78CA-45F2-86E4-09494C5C5B4E}" dt="2024-07-23T19:15:31.395" v="3321" actId="478"/>
          <ac:picMkLst>
            <pc:docMk/>
            <pc:sldMk cId="2806225201" sldId="2147473221"/>
            <ac:picMk id="4" creationId="{16E216D5-4F92-4911-1C54-B6107A2576AC}"/>
          </ac:picMkLst>
        </pc:picChg>
        <pc:cxnChg chg="del">
          <ac:chgData name="Joel Palmer" userId="eb83a932-ed40-427e-9624-9030307beb05" providerId="ADAL" clId="{C6A297C3-78CA-45F2-86E4-09494C5C5B4E}" dt="2024-07-23T18:17:51.479" v="2831" actId="478"/>
          <ac:cxnSpMkLst>
            <pc:docMk/>
            <pc:sldMk cId="2806225201" sldId="2147473221"/>
            <ac:cxnSpMk id="7" creationId="{5ADE3FCD-BF53-1B31-7CFD-FE5B8C35724D}"/>
          </ac:cxnSpMkLst>
        </pc:cxnChg>
        <pc:cxnChg chg="del">
          <ac:chgData name="Joel Palmer" userId="eb83a932-ed40-427e-9624-9030307beb05" providerId="ADAL" clId="{C6A297C3-78CA-45F2-86E4-09494C5C5B4E}" dt="2024-07-23T18:17:58.770" v="2835" actId="478"/>
          <ac:cxnSpMkLst>
            <pc:docMk/>
            <pc:sldMk cId="2806225201" sldId="2147473221"/>
            <ac:cxnSpMk id="8" creationId="{4D8FD5FD-6614-CA37-3B43-2B6239BC457D}"/>
          </ac:cxnSpMkLst>
        </pc:cxnChg>
      </pc:sldChg>
      <pc:sldChg chg="addSp delSp modSp add del mod">
        <pc:chgData name="Joel Palmer" userId="eb83a932-ed40-427e-9624-9030307beb05" providerId="ADAL" clId="{C6A297C3-78CA-45F2-86E4-09494C5C5B4E}" dt="2024-07-24T21:13:58.905" v="5630" actId="47"/>
        <pc:sldMkLst>
          <pc:docMk/>
          <pc:sldMk cId="2372402531" sldId="2147473222"/>
        </pc:sldMkLst>
        <pc:spChg chg="mod">
          <ac:chgData name="Joel Palmer" userId="eb83a932-ed40-427e-9624-9030307beb05" providerId="ADAL" clId="{C6A297C3-78CA-45F2-86E4-09494C5C5B4E}" dt="2024-07-24T16:09:08.893" v="3801" actId="1076"/>
          <ac:spMkLst>
            <pc:docMk/>
            <pc:sldMk cId="2372402531" sldId="2147473222"/>
            <ac:spMk id="2" creationId="{2586AC7D-2C94-3C6B-F76B-1670FDEE94C8}"/>
          </ac:spMkLst>
        </pc:spChg>
        <pc:spChg chg="add del mod">
          <ac:chgData name="Joel Palmer" userId="eb83a932-ed40-427e-9624-9030307beb05" providerId="ADAL" clId="{C6A297C3-78CA-45F2-86E4-09494C5C5B4E}" dt="2024-07-24T16:08:43.113" v="3780" actId="478"/>
          <ac:spMkLst>
            <pc:docMk/>
            <pc:sldMk cId="2372402531" sldId="2147473222"/>
            <ac:spMk id="4" creationId="{7F89CC0F-F970-8B2D-F3FC-B79AB6A612BB}"/>
          </ac:spMkLst>
        </pc:spChg>
        <pc:spChg chg="del">
          <ac:chgData name="Joel Palmer" userId="eb83a932-ed40-427e-9624-9030307beb05" providerId="ADAL" clId="{C6A297C3-78CA-45F2-86E4-09494C5C5B4E}" dt="2024-07-24T16:08:40.905" v="3779" actId="478"/>
          <ac:spMkLst>
            <pc:docMk/>
            <pc:sldMk cId="2372402531" sldId="2147473222"/>
            <ac:spMk id="5" creationId="{91ECD430-ADF2-C30F-B6D4-C31BB2083886}"/>
          </ac:spMkLst>
        </pc:spChg>
        <pc:spChg chg="del">
          <ac:chgData name="Joel Palmer" userId="eb83a932-ed40-427e-9624-9030307beb05" providerId="ADAL" clId="{C6A297C3-78CA-45F2-86E4-09494C5C5B4E}" dt="2024-07-24T16:08:44.517" v="3781" actId="478"/>
          <ac:spMkLst>
            <pc:docMk/>
            <pc:sldMk cId="2372402531" sldId="2147473222"/>
            <ac:spMk id="8" creationId="{5D29D2FF-2485-59A3-F1AD-21DA341FE40A}"/>
          </ac:spMkLst>
        </pc:spChg>
        <pc:spChg chg="add del mod">
          <ac:chgData name="Joel Palmer" userId="eb83a932-ed40-427e-9624-9030307beb05" providerId="ADAL" clId="{C6A297C3-78CA-45F2-86E4-09494C5C5B4E}" dt="2024-07-24T16:08:46.295" v="3782" actId="478"/>
          <ac:spMkLst>
            <pc:docMk/>
            <pc:sldMk cId="2372402531" sldId="2147473222"/>
            <ac:spMk id="9" creationId="{209E5B6B-DB77-2283-397B-D14217C05644}"/>
          </ac:spMkLst>
        </pc:spChg>
        <pc:spChg chg="del">
          <ac:chgData name="Joel Palmer" userId="eb83a932-ed40-427e-9624-9030307beb05" providerId="ADAL" clId="{C6A297C3-78CA-45F2-86E4-09494C5C5B4E}" dt="2024-07-24T16:08:39.600" v="3778" actId="478"/>
          <ac:spMkLst>
            <pc:docMk/>
            <pc:sldMk cId="2372402531" sldId="2147473222"/>
            <ac:spMk id="41" creationId="{0FBB6F4D-55B7-3717-B972-FB57E2F0FD84}"/>
          </ac:spMkLst>
        </pc:spChg>
        <pc:spChg chg="mod">
          <ac:chgData name="Joel Palmer" userId="eb83a932-ed40-427e-9624-9030307beb05" providerId="ADAL" clId="{C6A297C3-78CA-45F2-86E4-09494C5C5B4E}" dt="2024-07-24T16:08:36.578" v="3777" actId="20577"/>
          <ac:spMkLst>
            <pc:docMk/>
            <pc:sldMk cId="2372402531" sldId="2147473222"/>
            <ac:spMk id="42" creationId="{4F073E1E-A369-0BAA-CC5E-4105BBFFB8EE}"/>
          </ac:spMkLst>
        </pc:spChg>
      </pc:sldChg>
      <pc:sldChg chg="addSp delSp modSp add mod ord">
        <pc:chgData name="Joel Palmer" userId="eb83a932-ed40-427e-9624-9030307beb05" providerId="ADAL" clId="{C6A297C3-78CA-45F2-86E4-09494C5C5B4E}" dt="2024-07-24T21:13:50.483" v="5628"/>
        <pc:sldMkLst>
          <pc:docMk/>
          <pc:sldMk cId="1286167571" sldId="2147473223"/>
        </pc:sldMkLst>
        <pc:spChg chg="mod">
          <ac:chgData name="Joel Palmer" userId="eb83a932-ed40-427e-9624-9030307beb05" providerId="ADAL" clId="{C6A297C3-78CA-45F2-86E4-09494C5C5B4E}" dt="2024-07-23T18:24:18.007" v="2915" actId="20577"/>
          <ac:spMkLst>
            <pc:docMk/>
            <pc:sldMk cId="1286167571" sldId="2147473223"/>
            <ac:spMk id="3" creationId="{CF5A6160-BB28-4B8E-C4A6-E0EDB41C8FF2}"/>
          </ac:spMkLst>
        </pc:spChg>
        <pc:spChg chg="del">
          <ac:chgData name="Joel Palmer" userId="eb83a932-ed40-427e-9624-9030307beb05" providerId="ADAL" clId="{C6A297C3-78CA-45F2-86E4-09494C5C5B4E}" dt="2024-07-23T18:18:32.707" v="2850" actId="478"/>
          <ac:spMkLst>
            <pc:docMk/>
            <pc:sldMk cId="1286167571" sldId="2147473223"/>
            <ac:spMk id="9" creationId="{99D0DC6E-8B21-78DE-4A11-4F2B6B1A99BD}"/>
          </ac:spMkLst>
        </pc:spChg>
        <pc:spChg chg="del">
          <ac:chgData name="Joel Palmer" userId="eb83a932-ed40-427e-9624-9030307beb05" providerId="ADAL" clId="{C6A297C3-78CA-45F2-86E4-09494C5C5B4E}" dt="2024-07-23T18:18:32.707" v="2850" actId="478"/>
          <ac:spMkLst>
            <pc:docMk/>
            <pc:sldMk cId="1286167571" sldId="2147473223"/>
            <ac:spMk id="11" creationId="{2FA6F243-4E41-AB0B-69A5-B9C97144DAF3}"/>
          </ac:spMkLst>
        </pc:spChg>
        <pc:spChg chg="del">
          <ac:chgData name="Joel Palmer" userId="eb83a932-ed40-427e-9624-9030307beb05" providerId="ADAL" clId="{C6A297C3-78CA-45F2-86E4-09494C5C5B4E}" dt="2024-07-23T18:18:32.707" v="2850" actId="478"/>
          <ac:spMkLst>
            <pc:docMk/>
            <pc:sldMk cId="1286167571" sldId="2147473223"/>
            <ac:spMk id="22" creationId="{145309F1-45F5-0924-DA4F-9F7A7602417C}"/>
          </ac:spMkLst>
        </pc:spChg>
        <pc:spChg chg="del">
          <ac:chgData name="Joel Palmer" userId="eb83a932-ed40-427e-9624-9030307beb05" providerId="ADAL" clId="{C6A297C3-78CA-45F2-86E4-09494C5C5B4E}" dt="2024-07-23T18:18:32.707" v="2850" actId="478"/>
          <ac:spMkLst>
            <pc:docMk/>
            <pc:sldMk cId="1286167571" sldId="2147473223"/>
            <ac:spMk id="23" creationId="{3FB54A21-8F88-239D-B15A-C5903835C78C}"/>
          </ac:spMkLst>
        </pc:spChg>
        <pc:spChg chg="del">
          <ac:chgData name="Joel Palmer" userId="eb83a932-ed40-427e-9624-9030307beb05" providerId="ADAL" clId="{C6A297C3-78CA-45F2-86E4-09494C5C5B4E}" dt="2024-07-23T18:18:32.707" v="2850" actId="478"/>
          <ac:spMkLst>
            <pc:docMk/>
            <pc:sldMk cId="1286167571" sldId="2147473223"/>
            <ac:spMk id="24" creationId="{D581B4AC-7F72-92D7-3B22-2AF65CE9C76E}"/>
          </ac:spMkLst>
        </pc:spChg>
        <pc:spChg chg="del">
          <ac:chgData name="Joel Palmer" userId="eb83a932-ed40-427e-9624-9030307beb05" providerId="ADAL" clId="{C6A297C3-78CA-45F2-86E4-09494C5C5B4E}" dt="2024-07-23T18:18:32.707" v="2850" actId="478"/>
          <ac:spMkLst>
            <pc:docMk/>
            <pc:sldMk cId="1286167571" sldId="2147473223"/>
            <ac:spMk id="25" creationId="{3A4370BE-75CE-67AB-0C08-5C0F9C6C5AE2}"/>
          </ac:spMkLst>
        </pc:spChg>
        <pc:spChg chg="del">
          <ac:chgData name="Joel Palmer" userId="eb83a932-ed40-427e-9624-9030307beb05" providerId="ADAL" clId="{C6A297C3-78CA-45F2-86E4-09494C5C5B4E}" dt="2024-07-23T18:18:32.707" v="2850" actId="478"/>
          <ac:spMkLst>
            <pc:docMk/>
            <pc:sldMk cId="1286167571" sldId="2147473223"/>
            <ac:spMk id="26" creationId="{B58AE344-682E-3F36-D5EE-9CB6539D67AA}"/>
          </ac:spMkLst>
        </pc:spChg>
        <pc:spChg chg="del">
          <ac:chgData name="Joel Palmer" userId="eb83a932-ed40-427e-9624-9030307beb05" providerId="ADAL" clId="{C6A297C3-78CA-45F2-86E4-09494C5C5B4E}" dt="2024-07-23T18:18:32.707" v="2850" actId="478"/>
          <ac:spMkLst>
            <pc:docMk/>
            <pc:sldMk cId="1286167571" sldId="2147473223"/>
            <ac:spMk id="27" creationId="{1C660F47-CAEA-AE63-A914-DBD72A6F792F}"/>
          </ac:spMkLst>
        </pc:spChg>
        <pc:spChg chg="del">
          <ac:chgData name="Joel Palmer" userId="eb83a932-ed40-427e-9624-9030307beb05" providerId="ADAL" clId="{C6A297C3-78CA-45F2-86E4-09494C5C5B4E}" dt="2024-07-23T18:18:36.146" v="2851" actId="478"/>
          <ac:spMkLst>
            <pc:docMk/>
            <pc:sldMk cId="1286167571" sldId="2147473223"/>
            <ac:spMk id="31" creationId="{26074205-2232-E460-8113-FB7AD2772DBF}"/>
          </ac:spMkLst>
        </pc:spChg>
        <pc:spChg chg="add del mod">
          <ac:chgData name="Joel Palmer" userId="eb83a932-ed40-427e-9624-9030307beb05" providerId="ADAL" clId="{C6A297C3-78CA-45F2-86E4-09494C5C5B4E}" dt="2024-07-23T18:48:17.947" v="2993" actId="478"/>
          <ac:spMkLst>
            <pc:docMk/>
            <pc:sldMk cId="1286167571" sldId="2147473223"/>
            <ac:spMk id="39" creationId="{F81430D9-8181-7786-F6DA-862D46331051}"/>
          </ac:spMkLst>
        </pc:spChg>
        <pc:spChg chg="add mod">
          <ac:chgData name="Joel Palmer" userId="eb83a932-ed40-427e-9624-9030307beb05" providerId="ADAL" clId="{C6A297C3-78CA-45F2-86E4-09494C5C5B4E}" dt="2024-07-24T19:51:58.932" v="5582" actId="478"/>
          <ac:spMkLst>
            <pc:docMk/>
            <pc:sldMk cId="1286167571" sldId="2147473223"/>
            <ac:spMk id="40" creationId="{D9523B4A-7D55-EDF7-83BF-B3B8C48893A5}"/>
          </ac:spMkLst>
        </pc:spChg>
        <pc:spChg chg="add mod">
          <ac:chgData name="Joel Palmer" userId="eb83a932-ed40-427e-9624-9030307beb05" providerId="ADAL" clId="{C6A297C3-78CA-45F2-86E4-09494C5C5B4E}" dt="2024-07-23T18:55:29.915" v="3185" actId="20577"/>
          <ac:spMkLst>
            <pc:docMk/>
            <pc:sldMk cId="1286167571" sldId="2147473223"/>
            <ac:spMk id="41" creationId="{9319F9BE-1697-3C00-145F-9B163A906F7B}"/>
          </ac:spMkLst>
        </pc:spChg>
        <pc:spChg chg="add mod">
          <ac:chgData name="Joel Palmer" userId="eb83a932-ed40-427e-9624-9030307beb05" providerId="ADAL" clId="{C6A297C3-78CA-45F2-86E4-09494C5C5B4E}" dt="2024-07-23T18:53:35.922" v="3152" actId="122"/>
          <ac:spMkLst>
            <pc:docMk/>
            <pc:sldMk cId="1286167571" sldId="2147473223"/>
            <ac:spMk id="48" creationId="{8B8F9A62-A3ED-86CB-B1D0-488A81C7BB25}"/>
          </ac:spMkLst>
        </pc:spChg>
        <pc:spChg chg="del">
          <ac:chgData name="Joel Palmer" userId="eb83a932-ed40-427e-9624-9030307beb05" providerId="ADAL" clId="{C6A297C3-78CA-45F2-86E4-09494C5C5B4E}" dt="2024-07-23T18:18:32.707" v="2850" actId="478"/>
          <ac:spMkLst>
            <pc:docMk/>
            <pc:sldMk cId="1286167571" sldId="2147473223"/>
            <ac:spMk id="3073" creationId="{D39DF928-BAC7-A7B4-86F1-6737B1BD4D79}"/>
          </ac:spMkLst>
        </pc:spChg>
        <pc:spChg chg="del">
          <ac:chgData name="Joel Palmer" userId="eb83a932-ed40-427e-9624-9030307beb05" providerId="ADAL" clId="{C6A297C3-78CA-45F2-86E4-09494C5C5B4E}" dt="2024-07-23T18:18:32.707" v="2850" actId="478"/>
          <ac:spMkLst>
            <pc:docMk/>
            <pc:sldMk cId="1286167571" sldId="2147473223"/>
            <ac:spMk id="3075" creationId="{8E5FE205-47D8-98F7-866C-540F10B3C203}"/>
          </ac:spMkLst>
        </pc:spChg>
        <pc:spChg chg="del">
          <ac:chgData name="Joel Palmer" userId="eb83a932-ed40-427e-9624-9030307beb05" providerId="ADAL" clId="{C6A297C3-78CA-45F2-86E4-09494C5C5B4E}" dt="2024-07-23T18:18:32.707" v="2850" actId="478"/>
          <ac:spMkLst>
            <pc:docMk/>
            <pc:sldMk cId="1286167571" sldId="2147473223"/>
            <ac:spMk id="3076" creationId="{32765153-647C-8D72-AAD6-B57A945F356B}"/>
          </ac:spMkLst>
        </pc:spChg>
        <pc:spChg chg="del">
          <ac:chgData name="Joel Palmer" userId="eb83a932-ed40-427e-9624-9030307beb05" providerId="ADAL" clId="{C6A297C3-78CA-45F2-86E4-09494C5C5B4E}" dt="2024-07-23T18:18:32.707" v="2850" actId="478"/>
          <ac:spMkLst>
            <pc:docMk/>
            <pc:sldMk cId="1286167571" sldId="2147473223"/>
            <ac:spMk id="3077" creationId="{7293CDF0-5BDD-974F-1D70-251CDDD2C1CE}"/>
          </ac:spMkLst>
        </pc:spChg>
        <pc:spChg chg="del">
          <ac:chgData name="Joel Palmer" userId="eb83a932-ed40-427e-9624-9030307beb05" providerId="ADAL" clId="{C6A297C3-78CA-45F2-86E4-09494C5C5B4E}" dt="2024-07-23T18:18:32.707" v="2850" actId="478"/>
          <ac:spMkLst>
            <pc:docMk/>
            <pc:sldMk cId="1286167571" sldId="2147473223"/>
            <ac:spMk id="3078" creationId="{51271E1A-23E5-FC2C-B483-C6393DEE8DEE}"/>
          </ac:spMkLst>
        </pc:spChg>
        <pc:spChg chg="del">
          <ac:chgData name="Joel Palmer" userId="eb83a932-ed40-427e-9624-9030307beb05" providerId="ADAL" clId="{C6A297C3-78CA-45F2-86E4-09494C5C5B4E}" dt="2024-07-23T18:18:32.707" v="2850" actId="478"/>
          <ac:spMkLst>
            <pc:docMk/>
            <pc:sldMk cId="1286167571" sldId="2147473223"/>
            <ac:spMk id="3079" creationId="{134A8E3B-15D9-023A-BAEC-F58B9A3F0F98}"/>
          </ac:spMkLst>
        </pc:spChg>
        <pc:spChg chg="del">
          <ac:chgData name="Joel Palmer" userId="eb83a932-ed40-427e-9624-9030307beb05" providerId="ADAL" clId="{C6A297C3-78CA-45F2-86E4-09494C5C5B4E}" dt="2024-07-23T18:18:32.707" v="2850" actId="478"/>
          <ac:spMkLst>
            <pc:docMk/>
            <pc:sldMk cId="1286167571" sldId="2147473223"/>
            <ac:spMk id="3085" creationId="{619C0A59-79A9-74A0-22DC-1CD2E9C704E2}"/>
          </ac:spMkLst>
        </pc:spChg>
        <pc:spChg chg="del">
          <ac:chgData name="Joel Palmer" userId="eb83a932-ed40-427e-9624-9030307beb05" providerId="ADAL" clId="{C6A297C3-78CA-45F2-86E4-09494C5C5B4E}" dt="2024-07-23T18:18:32.707" v="2850" actId="478"/>
          <ac:spMkLst>
            <pc:docMk/>
            <pc:sldMk cId="1286167571" sldId="2147473223"/>
            <ac:spMk id="3086" creationId="{9FA68155-0F58-9E98-60C1-89A848290E1E}"/>
          </ac:spMkLst>
        </pc:spChg>
        <pc:spChg chg="del">
          <ac:chgData name="Joel Palmer" userId="eb83a932-ed40-427e-9624-9030307beb05" providerId="ADAL" clId="{C6A297C3-78CA-45F2-86E4-09494C5C5B4E}" dt="2024-07-23T18:18:32.707" v="2850" actId="478"/>
          <ac:spMkLst>
            <pc:docMk/>
            <pc:sldMk cId="1286167571" sldId="2147473223"/>
            <ac:spMk id="3087" creationId="{1CBAEA6F-EBF5-F682-B7E7-3BFDF3F7B365}"/>
          </ac:spMkLst>
        </pc:spChg>
        <pc:spChg chg="del">
          <ac:chgData name="Joel Palmer" userId="eb83a932-ed40-427e-9624-9030307beb05" providerId="ADAL" clId="{C6A297C3-78CA-45F2-86E4-09494C5C5B4E}" dt="2024-07-23T18:18:32.707" v="2850" actId="478"/>
          <ac:spMkLst>
            <pc:docMk/>
            <pc:sldMk cId="1286167571" sldId="2147473223"/>
            <ac:spMk id="3088" creationId="{4326895A-80AF-7DBD-D37A-2B14BD1B2DAF}"/>
          </ac:spMkLst>
        </pc:spChg>
        <pc:grpChg chg="add mod">
          <ac:chgData name="Joel Palmer" userId="eb83a932-ed40-427e-9624-9030307beb05" providerId="ADAL" clId="{C6A297C3-78CA-45F2-86E4-09494C5C5B4E}" dt="2024-07-24T19:51:58.932" v="5582" actId="478"/>
          <ac:grpSpMkLst>
            <pc:docMk/>
            <pc:sldMk cId="1286167571" sldId="2147473223"/>
            <ac:grpSpMk id="49" creationId="{011BC534-D554-5617-FB54-4D87E0D8AFAC}"/>
          </ac:grpSpMkLst>
        </pc:grpChg>
        <pc:grpChg chg="add mod">
          <ac:chgData name="Joel Palmer" userId="eb83a932-ed40-427e-9624-9030307beb05" providerId="ADAL" clId="{C6A297C3-78CA-45F2-86E4-09494C5C5B4E}" dt="2024-07-23T18:55:17.028" v="3179" actId="1076"/>
          <ac:grpSpMkLst>
            <pc:docMk/>
            <pc:sldMk cId="1286167571" sldId="2147473223"/>
            <ac:grpSpMk id="50" creationId="{2E7262C2-F90A-49AD-9E6C-CF26312C2AFC}"/>
          </ac:grpSpMkLst>
        </pc:grpChg>
        <pc:picChg chg="add mod">
          <ac:chgData name="Joel Palmer" userId="eb83a932-ed40-427e-9624-9030307beb05" providerId="ADAL" clId="{C6A297C3-78CA-45F2-86E4-09494C5C5B4E}" dt="2024-07-24T19:52:09.125" v="5586" actId="1076"/>
          <ac:picMkLst>
            <pc:docMk/>
            <pc:sldMk cId="1286167571" sldId="2147473223"/>
            <ac:picMk id="2" creationId="{7952355A-A6F3-6000-6AEC-E6C3173C09EA}"/>
          </ac:picMkLst>
        </pc:picChg>
        <pc:picChg chg="add del mod ord modCrop">
          <ac:chgData name="Joel Palmer" userId="eb83a932-ed40-427e-9624-9030307beb05" providerId="ADAL" clId="{C6A297C3-78CA-45F2-86E4-09494C5C5B4E}" dt="2024-07-23T18:38:13.691" v="2924" actId="478"/>
          <ac:picMkLst>
            <pc:docMk/>
            <pc:sldMk cId="1286167571" sldId="2147473223"/>
            <ac:picMk id="4" creationId="{6B6DC70F-A95C-5367-8BC9-1B212EC64281}"/>
          </ac:picMkLst>
        </pc:picChg>
        <pc:picChg chg="add del mod">
          <ac:chgData name="Joel Palmer" userId="eb83a932-ed40-427e-9624-9030307beb05" providerId="ADAL" clId="{C6A297C3-78CA-45F2-86E4-09494C5C5B4E}" dt="2024-07-23T18:38:13.691" v="2924" actId="478"/>
          <ac:picMkLst>
            <pc:docMk/>
            <pc:sldMk cId="1286167571" sldId="2147473223"/>
            <ac:picMk id="6" creationId="{E54B624D-08E6-6F24-8144-8F71A9281BD9}"/>
          </ac:picMkLst>
        </pc:picChg>
        <pc:picChg chg="add del mod">
          <ac:chgData name="Joel Palmer" userId="eb83a932-ed40-427e-9624-9030307beb05" providerId="ADAL" clId="{C6A297C3-78CA-45F2-86E4-09494C5C5B4E}" dt="2024-07-23T18:23:36.849" v="2897" actId="478"/>
          <ac:picMkLst>
            <pc:docMk/>
            <pc:sldMk cId="1286167571" sldId="2147473223"/>
            <ac:picMk id="8" creationId="{E8F6A6B9-0F9E-6C2C-9849-24BA98C231D7}"/>
          </ac:picMkLst>
        </pc:picChg>
        <pc:picChg chg="add del mod">
          <ac:chgData name="Joel Palmer" userId="eb83a932-ed40-427e-9624-9030307beb05" providerId="ADAL" clId="{C6A297C3-78CA-45F2-86E4-09494C5C5B4E}" dt="2024-07-23T18:23:36.150" v="2896" actId="478"/>
          <ac:picMkLst>
            <pc:docMk/>
            <pc:sldMk cId="1286167571" sldId="2147473223"/>
            <ac:picMk id="12" creationId="{D926C665-1702-7CB7-66D5-9E477F3E1C7C}"/>
          </ac:picMkLst>
        </pc:picChg>
        <pc:picChg chg="add del mod">
          <ac:chgData name="Joel Palmer" userId="eb83a932-ed40-427e-9624-9030307beb05" providerId="ADAL" clId="{C6A297C3-78CA-45F2-86E4-09494C5C5B4E}" dt="2024-07-23T18:23:38.189" v="2898" actId="478"/>
          <ac:picMkLst>
            <pc:docMk/>
            <pc:sldMk cId="1286167571" sldId="2147473223"/>
            <ac:picMk id="14" creationId="{9BBBA460-E7E3-1D10-F8FE-0A4FE713E0A5}"/>
          </ac:picMkLst>
        </pc:picChg>
        <pc:picChg chg="add del mod">
          <ac:chgData name="Joel Palmer" userId="eb83a932-ed40-427e-9624-9030307beb05" providerId="ADAL" clId="{C6A297C3-78CA-45F2-86E4-09494C5C5B4E}" dt="2024-07-23T18:38:13.691" v="2924" actId="478"/>
          <ac:picMkLst>
            <pc:docMk/>
            <pc:sldMk cId="1286167571" sldId="2147473223"/>
            <ac:picMk id="16" creationId="{2ACA3483-D12E-8E48-3437-E7732C4084DD}"/>
          </ac:picMkLst>
        </pc:picChg>
        <pc:picChg chg="add del mod">
          <ac:chgData name="Joel Palmer" userId="eb83a932-ed40-427e-9624-9030307beb05" providerId="ADAL" clId="{C6A297C3-78CA-45F2-86E4-09494C5C5B4E}" dt="2024-07-23T18:38:13.691" v="2924" actId="478"/>
          <ac:picMkLst>
            <pc:docMk/>
            <pc:sldMk cId="1286167571" sldId="2147473223"/>
            <ac:picMk id="17" creationId="{64CC63FA-F51A-46E8-6FAC-040FA7D54EBA}"/>
          </ac:picMkLst>
        </pc:picChg>
        <pc:picChg chg="add del mod">
          <ac:chgData name="Joel Palmer" userId="eb83a932-ed40-427e-9624-9030307beb05" providerId="ADAL" clId="{C6A297C3-78CA-45F2-86E4-09494C5C5B4E}" dt="2024-07-23T18:38:13.691" v="2924" actId="478"/>
          <ac:picMkLst>
            <pc:docMk/>
            <pc:sldMk cId="1286167571" sldId="2147473223"/>
            <ac:picMk id="18" creationId="{B29AE147-18BB-4D60-8197-3228D9FB94E1}"/>
          </ac:picMkLst>
        </pc:picChg>
        <pc:picChg chg="add del mod">
          <ac:chgData name="Joel Palmer" userId="eb83a932-ed40-427e-9624-9030307beb05" providerId="ADAL" clId="{C6A297C3-78CA-45F2-86E4-09494C5C5B4E}" dt="2024-07-23T18:38:13.691" v="2924" actId="478"/>
          <ac:picMkLst>
            <pc:docMk/>
            <pc:sldMk cId="1286167571" sldId="2147473223"/>
            <ac:picMk id="19" creationId="{7727776F-F69F-8781-BEFC-A21966B00ED7}"/>
          </ac:picMkLst>
        </pc:picChg>
        <pc:picChg chg="add mod modCrop">
          <ac:chgData name="Joel Palmer" userId="eb83a932-ed40-427e-9624-9030307beb05" providerId="ADAL" clId="{C6A297C3-78CA-45F2-86E4-09494C5C5B4E}" dt="2024-07-23T18:46:40.769" v="2989" actId="12789"/>
          <ac:picMkLst>
            <pc:docMk/>
            <pc:sldMk cId="1286167571" sldId="2147473223"/>
            <ac:picMk id="21" creationId="{85257FB9-3847-9877-2A32-E78059C3AF09}"/>
          </ac:picMkLst>
        </pc:picChg>
        <pc:picChg chg="add mod modCrop">
          <ac:chgData name="Joel Palmer" userId="eb83a932-ed40-427e-9624-9030307beb05" providerId="ADAL" clId="{C6A297C3-78CA-45F2-86E4-09494C5C5B4E}" dt="2024-07-23T18:46:45.731" v="2990" actId="12789"/>
          <ac:picMkLst>
            <pc:docMk/>
            <pc:sldMk cId="1286167571" sldId="2147473223"/>
            <ac:picMk id="29" creationId="{44BA1721-DD41-14A9-990E-432C2FB56167}"/>
          </ac:picMkLst>
        </pc:picChg>
        <pc:picChg chg="add mod">
          <ac:chgData name="Joel Palmer" userId="eb83a932-ed40-427e-9624-9030307beb05" providerId="ADAL" clId="{C6A297C3-78CA-45F2-86E4-09494C5C5B4E}" dt="2024-07-23T18:46:40.769" v="2989" actId="12789"/>
          <ac:picMkLst>
            <pc:docMk/>
            <pc:sldMk cId="1286167571" sldId="2147473223"/>
            <ac:picMk id="32" creationId="{E85927D9-F32D-587A-9292-CD946A0F6DA6}"/>
          </ac:picMkLst>
        </pc:picChg>
        <pc:picChg chg="add mod">
          <ac:chgData name="Joel Palmer" userId="eb83a932-ed40-427e-9624-9030307beb05" providerId="ADAL" clId="{C6A297C3-78CA-45F2-86E4-09494C5C5B4E}" dt="2024-07-23T18:46:49.939" v="2991" actId="12789"/>
          <ac:picMkLst>
            <pc:docMk/>
            <pc:sldMk cId="1286167571" sldId="2147473223"/>
            <ac:picMk id="34" creationId="{857BC413-6371-00F8-7846-145C892BA738}"/>
          </ac:picMkLst>
        </pc:picChg>
        <pc:picChg chg="add mod">
          <ac:chgData name="Joel Palmer" userId="eb83a932-ed40-427e-9624-9030307beb05" providerId="ADAL" clId="{C6A297C3-78CA-45F2-86E4-09494C5C5B4E}" dt="2024-07-23T18:46:45.731" v="2990" actId="12789"/>
          <ac:picMkLst>
            <pc:docMk/>
            <pc:sldMk cId="1286167571" sldId="2147473223"/>
            <ac:picMk id="36" creationId="{7661C4AF-CE0C-E695-3745-A9F4A1829A9B}"/>
          </ac:picMkLst>
        </pc:picChg>
        <pc:picChg chg="add mod">
          <ac:chgData name="Joel Palmer" userId="eb83a932-ed40-427e-9624-9030307beb05" providerId="ADAL" clId="{C6A297C3-78CA-45F2-86E4-09494C5C5B4E}" dt="2024-07-23T18:46:49.939" v="2991" actId="12789"/>
          <ac:picMkLst>
            <pc:docMk/>
            <pc:sldMk cId="1286167571" sldId="2147473223"/>
            <ac:picMk id="38" creationId="{1BB58DBA-8C17-7E53-E28A-DEC2941FBE25}"/>
          </ac:picMkLst>
        </pc:picChg>
        <pc:picChg chg="add mod">
          <ac:chgData name="Joel Palmer" userId="eb83a932-ed40-427e-9624-9030307beb05" providerId="ADAL" clId="{C6A297C3-78CA-45F2-86E4-09494C5C5B4E}" dt="2024-07-24T19:51:58.932" v="5582" actId="478"/>
          <ac:picMkLst>
            <pc:docMk/>
            <pc:sldMk cId="1286167571" sldId="2147473223"/>
            <ac:picMk id="42" creationId="{537CC5A8-B647-D58D-267D-75C387E9F3AA}"/>
          </ac:picMkLst>
        </pc:picChg>
        <pc:picChg chg="add mod">
          <ac:chgData name="Joel Palmer" userId="eb83a932-ed40-427e-9624-9030307beb05" providerId="ADAL" clId="{C6A297C3-78CA-45F2-86E4-09494C5C5B4E}" dt="2024-07-24T19:51:58.932" v="5582" actId="478"/>
          <ac:picMkLst>
            <pc:docMk/>
            <pc:sldMk cId="1286167571" sldId="2147473223"/>
            <ac:picMk id="43" creationId="{774E4460-DD05-ACDF-2A98-B9B9CAB20C0F}"/>
          </ac:picMkLst>
        </pc:picChg>
        <pc:picChg chg="add mod">
          <ac:chgData name="Joel Palmer" userId="eb83a932-ed40-427e-9624-9030307beb05" providerId="ADAL" clId="{C6A297C3-78CA-45F2-86E4-09494C5C5B4E}" dt="2024-07-23T18:55:17.028" v="3179" actId="1076"/>
          <ac:picMkLst>
            <pc:docMk/>
            <pc:sldMk cId="1286167571" sldId="2147473223"/>
            <ac:picMk id="44" creationId="{9869A6A8-B70A-5EA9-1248-A2E39F54CFF3}"/>
          </ac:picMkLst>
        </pc:picChg>
        <pc:picChg chg="add del mod">
          <ac:chgData name="Joel Palmer" userId="eb83a932-ed40-427e-9624-9030307beb05" providerId="ADAL" clId="{C6A297C3-78CA-45F2-86E4-09494C5C5B4E}" dt="2024-07-24T19:51:58.932" v="5582" actId="478"/>
          <ac:picMkLst>
            <pc:docMk/>
            <pc:sldMk cId="1286167571" sldId="2147473223"/>
            <ac:picMk id="45" creationId="{2AC6046E-23F6-5CED-DB91-17717BAF5F5D}"/>
          </ac:picMkLst>
        </pc:picChg>
        <pc:picChg chg="add mod">
          <ac:chgData name="Joel Palmer" userId="eb83a932-ed40-427e-9624-9030307beb05" providerId="ADAL" clId="{C6A297C3-78CA-45F2-86E4-09494C5C5B4E}" dt="2024-07-23T18:55:17.028" v="3179" actId="1076"/>
          <ac:picMkLst>
            <pc:docMk/>
            <pc:sldMk cId="1286167571" sldId="2147473223"/>
            <ac:picMk id="46" creationId="{EC6E71C3-7AE0-5919-ACC9-89131FEF8FE4}"/>
          </ac:picMkLst>
        </pc:picChg>
        <pc:picChg chg="add mod">
          <ac:chgData name="Joel Palmer" userId="eb83a932-ed40-427e-9624-9030307beb05" providerId="ADAL" clId="{C6A297C3-78CA-45F2-86E4-09494C5C5B4E}" dt="2024-07-23T18:55:17.028" v="3179" actId="1076"/>
          <ac:picMkLst>
            <pc:docMk/>
            <pc:sldMk cId="1286167571" sldId="2147473223"/>
            <ac:picMk id="47" creationId="{1D02D6A3-CE08-2B6F-4FD8-F5CB3274A58B}"/>
          </ac:picMkLst>
        </pc:picChg>
      </pc:sldChg>
      <pc:sldChg chg="addSp modSp add mod">
        <pc:chgData name="Joel Palmer" userId="eb83a932-ed40-427e-9624-9030307beb05" providerId="ADAL" clId="{C6A297C3-78CA-45F2-86E4-09494C5C5B4E}" dt="2024-07-24T22:17:20.289" v="5679" actId="20577"/>
        <pc:sldMkLst>
          <pc:docMk/>
          <pc:sldMk cId="415219194" sldId="2147473227"/>
        </pc:sldMkLst>
        <pc:spChg chg="mod">
          <ac:chgData name="Joel Palmer" userId="eb83a932-ed40-427e-9624-9030307beb05" providerId="ADAL" clId="{C6A297C3-78CA-45F2-86E4-09494C5C5B4E}" dt="2024-07-24T22:17:20.289" v="5679" actId="20577"/>
          <ac:spMkLst>
            <pc:docMk/>
            <pc:sldMk cId="415219194" sldId="2147473227"/>
            <ac:spMk id="41" creationId="{0FBB6F4D-55B7-3717-B972-FB57E2F0FD84}"/>
          </ac:spMkLst>
        </pc:spChg>
        <pc:spChg chg="mod">
          <ac:chgData name="Joel Palmer" userId="eb83a932-ed40-427e-9624-9030307beb05" providerId="ADAL" clId="{C6A297C3-78CA-45F2-86E4-09494C5C5B4E}" dt="2024-07-23T19:00:32.111" v="3188" actId="20577"/>
          <ac:spMkLst>
            <pc:docMk/>
            <pc:sldMk cId="415219194" sldId="2147473227"/>
            <ac:spMk id="42" creationId="{4F073E1E-A369-0BAA-CC5E-4105BBFFB8EE}"/>
          </ac:spMkLst>
        </pc:spChg>
        <pc:picChg chg="add mod">
          <ac:chgData name="Joel Palmer" userId="eb83a932-ed40-427e-9624-9030307beb05" providerId="ADAL" clId="{C6A297C3-78CA-45F2-86E4-09494C5C5B4E}" dt="2024-07-24T19:50:11.927" v="5561" actId="14100"/>
          <ac:picMkLst>
            <pc:docMk/>
            <pc:sldMk cId="415219194" sldId="2147473227"/>
            <ac:picMk id="3" creationId="{408A914D-B578-A0C3-EC83-FF76CA559CBA}"/>
          </ac:picMkLst>
        </pc:picChg>
      </pc:sldChg>
      <pc:sldChg chg="addSp delSp modSp add mod ord">
        <pc:chgData name="Joel Palmer" userId="eb83a932-ed40-427e-9624-9030307beb05" providerId="ADAL" clId="{C6A297C3-78CA-45F2-86E4-09494C5C5B4E}" dt="2024-07-24T21:13:50.483" v="5628"/>
        <pc:sldMkLst>
          <pc:docMk/>
          <pc:sldMk cId="212619309" sldId="2147473228"/>
        </pc:sldMkLst>
        <pc:spChg chg="mod">
          <ac:chgData name="Joel Palmer" userId="eb83a932-ed40-427e-9624-9030307beb05" providerId="ADAL" clId="{C6A297C3-78CA-45F2-86E4-09494C5C5B4E}" dt="2024-07-24T19:41:10.161" v="5313" actId="20577"/>
          <ac:spMkLst>
            <pc:docMk/>
            <pc:sldMk cId="212619309" sldId="2147473228"/>
            <ac:spMk id="3" creationId="{CF5A6160-BB28-4B8E-C4A6-E0EDB41C8FF2}"/>
          </ac:spMkLst>
        </pc:spChg>
        <pc:spChg chg="del mod topLvl">
          <ac:chgData name="Joel Palmer" userId="eb83a932-ed40-427e-9624-9030307beb05" providerId="ADAL" clId="{C6A297C3-78CA-45F2-86E4-09494C5C5B4E}" dt="2024-07-23T19:19:55.376" v="3348" actId="478"/>
          <ac:spMkLst>
            <pc:docMk/>
            <pc:sldMk cId="212619309" sldId="2147473228"/>
            <ac:spMk id="5" creationId="{A9A7D86F-FFB7-D2EE-5234-72BB632E5238}"/>
          </ac:spMkLst>
        </pc:spChg>
        <pc:spChg chg="del">
          <ac:chgData name="Joel Palmer" userId="eb83a932-ed40-427e-9624-9030307beb05" providerId="ADAL" clId="{C6A297C3-78CA-45F2-86E4-09494C5C5B4E}" dt="2024-07-23T19:15:47.593" v="3324" actId="478"/>
          <ac:spMkLst>
            <pc:docMk/>
            <pc:sldMk cId="212619309" sldId="2147473228"/>
            <ac:spMk id="9" creationId="{99D0DC6E-8B21-78DE-4A11-4F2B6B1A99BD}"/>
          </ac:spMkLst>
        </pc:spChg>
        <pc:spChg chg="del">
          <ac:chgData name="Joel Palmer" userId="eb83a932-ed40-427e-9624-9030307beb05" providerId="ADAL" clId="{C6A297C3-78CA-45F2-86E4-09494C5C5B4E}" dt="2024-07-23T19:15:47.593" v="3324" actId="478"/>
          <ac:spMkLst>
            <pc:docMk/>
            <pc:sldMk cId="212619309" sldId="2147473228"/>
            <ac:spMk id="11" creationId="{2FA6F243-4E41-AB0B-69A5-B9C97144DAF3}"/>
          </ac:spMkLst>
        </pc:spChg>
        <pc:spChg chg="del mod topLvl">
          <ac:chgData name="Joel Palmer" userId="eb83a932-ed40-427e-9624-9030307beb05" providerId="ADAL" clId="{C6A297C3-78CA-45F2-86E4-09494C5C5B4E}" dt="2024-07-23T19:19:56.895" v="3349" actId="478"/>
          <ac:spMkLst>
            <pc:docMk/>
            <pc:sldMk cId="212619309" sldId="2147473228"/>
            <ac:spMk id="12" creationId="{D23871DF-152E-AD06-66CA-20FC4F869D15}"/>
          </ac:spMkLst>
        </pc:spChg>
        <pc:spChg chg="del">
          <ac:chgData name="Joel Palmer" userId="eb83a932-ed40-427e-9624-9030307beb05" providerId="ADAL" clId="{C6A297C3-78CA-45F2-86E4-09494C5C5B4E}" dt="2024-07-23T19:15:47.593" v="3324" actId="478"/>
          <ac:spMkLst>
            <pc:docMk/>
            <pc:sldMk cId="212619309" sldId="2147473228"/>
            <ac:spMk id="22" creationId="{145309F1-45F5-0924-DA4F-9F7A7602417C}"/>
          </ac:spMkLst>
        </pc:spChg>
        <pc:spChg chg="del">
          <ac:chgData name="Joel Palmer" userId="eb83a932-ed40-427e-9624-9030307beb05" providerId="ADAL" clId="{C6A297C3-78CA-45F2-86E4-09494C5C5B4E}" dt="2024-07-23T19:15:47.593" v="3324" actId="478"/>
          <ac:spMkLst>
            <pc:docMk/>
            <pc:sldMk cId="212619309" sldId="2147473228"/>
            <ac:spMk id="23" creationId="{3FB54A21-8F88-239D-B15A-C5903835C78C}"/>
          </ac:spMkLst>
        </pc:spChg>
        <pc:spChg chg="del">
          <ac:chgData name="Joel Palmer" userId="eb83a932-ed40-427e-9624-9030307beb05" providerId="ADAL" clId="{C6A297C3-78CA-45F2-86E4-09494C5C5B4E}" dt="2024-07-23T19:16:42.417" v="3325" actId="478"/>
          <ac:spMkLst>
            <pc:docMk/>
            <pc:sldMk cId="212619309" sldId="2147473228"/>
            <ac:spMk id="24" creationId="{D581B4AC-7F72-92D7-3B22-2AF65CE9C76E}"/>
          </ac:spMkLst>
        </pc:spChg>
        <pc:spChg chg="del">
          <ac:chgData name="Joel Palmer" userId="eb83a932-ed40-427e-9624-9030307beb05" providerId="ADAL" clId="{C6A297C3-78CA-45F2-86E4-09494C5C5B4E}" dt="2024-07-23T19:15:47.593" v="3324" actId="478"/>
          <ac:spMkLst>
            <pc:docMk/>
            <pc:sldMk cId="212619309" sldId="2147473228"/>
            <ac:spMk id="25" creationId="{3A4370BE-75CE-67AB-0C08-5C0F9C6C5AE2}"/>
          </ac:spMkLst>
        </pc:spChg>
        <pc:spChg chg="del">
          <ac:chgData name="Joel Palmer" userId="eb83a932-ed40-427e-9624-9030307beb05" providerId="ADAL" clId="{C6A297C3-78CA-45F2-86E4-09494C5C5B4E}" dt="2024-07-23T19:15:47.593" v="3324" actId="478"/>
          <ac:spMkLst>
            <pc:docMk/>
            <pc:sldMk cId="212619309" sldId="2147473228"/>
            <ac:spMk id="26" creationId="{B58AE344-682E-3F36-D5EE-9CB6539D67AA}"/>
          </ac:spMkLst>
        </pc:spChg>
        <pc:spChg chg="del">
          <ac:chgData name="Joel Palmer" userId="eb83a932-ed40-427e-9624-9030307beb05" providerId="ADAL" clId="{C6A297C3-78CA-45F2-86E4-09494C5C5B4E}" dt="2024-07-23T19:16:42.417" v="3325" actId="478"/>
          <ac:spMkLst>
            <pc:docMk/>
            <pc:sldMk cId="212619309" sldId="2147473228"/>
            <ac:spMk id="27" creationId="{1C660F47-CAEA-AE63-A914-DBD72A6F792F}"/>
          </ac:spMkLst>
        </pc:spChg>
        <pc:spChg chg="del">
          <ac:chgData name="Joel Palmer" userId="eb83a932-ed40-427e-9624-9030307beb05" providerId="ADAL" clId="{C6A297C3-78CA-45F2-86E4-09494C5C5B4E}" dt="2024-07-23T19:15:42.807" v="3323" actId="478"/>
          <ac:spMkLst>
            <pc:docMk/>
            <pc:sldMk cId="212619309" sldId="2147473228"/>
            <ac:spMk id="3073" creationId="{D39DF928-BAC7-A7B4-86F1-6737B1BD4D79}"/>
          </ac:spMkLst>
        </pc:spChg>
        <pc:spChg chg="del">
          <ac:chgData name="Joel Palmer" userId="eb83a932-ed40-427e-9624-9030307beb05" providerId="ADAL" clId="{C6A297C3-78CA-45F2-86E4-09494C5C5B4E}" dt="2024-07-23T19:15:42.807" v="3323" actId="478"/>
          <ac:spMkLst>
            <pc:docMk/>
            <pc:sldMk cId="212619309" sldId="2147473228"/>
            <ac:spMk id="3075" creationId="{8E5FE205-47D8-98F7-866C-540F10B3C203}"/>
          </ac:spMkLst>
        </pc:spChg>
        <pc:spChg chg="del">
          <ac:chgData name="Joel Palmer" userId="eb83a932-ed40-427e-9624-9030307beb05" providerId="ADAL" clId="{C6A297C3-78CA-45F2-86E4-09494C5C5B4E}" dt="2024-07-23T19:15:42.807" v="3323" actId="478"/>
          <ac:spMkLst>
            <pc:docMk/>
            <pc:sldMk cId="212619309" sldId="2147473228"/>
            <ac:spMk id="3076" creationId="{32765153-647C-8D72-AAD6-B57A945F356B}"/>
          </ac:spMkLst>
        </pc:spChg>
        <pc:spChg chg="del">
          <ac:chgData name="Joel Palmer" userId="eb83a932-ed40-427e-9624-9030307beb05" providerId="ADAL" clId="{C6A297C3-78CA-45F2-86E4-09494C5C5B4E}" dt="2024-07-23T19:15:42.807" v="3323" actId="478"/>
          <ac:spMkLst>
            <pc:docMk/>
            <pc:sldMk cId="212619309" sldId="2147473228"/>
            <ac:spMk id="3077" creationId="{7293CDF0-5BDD-974F-1D70-251CDDD2C1CE}"/>
          </ac:spMkLst>
        </pc:spChg>
        <pc:spChg chg="del">
          <ac:chgData name="Joel Palmer" userId="eb83a932-ed40-427e-9624-9030307beb05" providerId="ADAL" clId="{C6A297C3-78CA-45F2-86E4-09494C5C5B4E}" dt="2024-07-23T19:15:42.807" v="3323" actId="478"/>
          <ac:spMkLst>
            <pc:docMk/>
            <pc:sldMk cId="212619309" sldId="2147473228"/>
            <ac:spMk id="3078" creationId="{51271E1A-23E5-FC2C-B483-C6393DEE8DEE}"/>
          </ac:spMkLst>
        </pc:spChg>
        <pc:spChg chg="del">
          <ac:chgData name="Joel Palmer" userId="eb83a932-ed40-427e-9624-9030307beb05" providerId="ADAL" clId="{C6A297C3-78CA-45F2-86E4-09494C5C5B4E}" dt="2024-07-23T19:15:42.807" v="3323" actId="478"/>
          <ac:spMkLst>
            <pc:docMk/>
            <pc:sldMk cId="212619309" sldId="2147473228"/>
            <ac:spMk id="3079" creationId="{134A8E3B-15D9-023A-BAEC-F58B9A3F0F98}"/>
          </ac:spMkLst>
        </pc:spChg>
        <pc:spChg chg="del">
          <ac:chgData name="Joel Palmer" userId="eb83a932-ed40-427e-9624-9030307beb05" providerId="ADAL" clId="{C6A297C3-78CA-45F2-86E4-09494C5C5B4E}" dt="2024-07-23T19:15:47.593" v="3324" actId="478"/>
          <ac:spMkLst>
            <pc:docMk/>
            <pc:sldMk cId="212619309" sldId="2147473228"/>
            <ac:spMk id="3085" creationId="{619C0A59-79A9-74A0-22DC-1CD2E9C704E2}"/>
          </ac:spMkLst>
        </pc:spChg>
        <pc:spChg chg="del">
          <ac:chgData name="Joel Palmer" userId="eb83a932-ed40-427e-9624-9030307beb05" providerId="ADAL" clId="{C6A297C3-78CA-45F2-86E4-09494C5C5B4E}" dt="2024-07-23T19:16:42.417" v="3325" actId="478"/>
          <ac:spMkLst>
            <pc:docMk/>
            <pc:sldMk cId="212619309" sldId="2147473228"/>
            <ac:spMk id="3086" creationId="{9FA68155-0F58-9E98-60C1-89A848290E1E}"/>
          </ac:spMkLst>
        </pc:spChg>
        <pc:spChg chg="del">
          <ac:chgData name="Joel Palmer" userId="eb83a932-ed40-427e-9624-9030307beb05" providerId="ADAL" clId="{C6A297C3-78CA-45F2-86E4-09494C5C5B4E}" dt="2024-07-23T19:15:47.593" v="3324" actId="478"/>
          <ac:spMkLst>
            <pc:docMk/>
            <pc:sldMk cId="212619309" sldId="2147473228"/>
            <ac:spMk id="3087" creationId="{1CBAEA6F-EBF5-F682-B7E7-3BFDF3F7B365}"/>
          </ac:spMkLst>
        </pc:spChg>
        <pc:spChg chg="del">
          <ac:chgData name="Joel Palmer" userId="eb83a932-ed40-427e-9624-9030307beb05" providerId="ADAL" clId="{C6A297C3-78CA-45F2-86E4-09494C5C5B4E}" dt="2024-07-23T19:16:42.417" v="3325" actId="478"/>
          <ac:spMkLst>
            <pc:docMk/>
            <pc:sldMk cId="212619309" sldId="2147473228"/>
            <ac:spMk id="3088" creationId="{4326895A-80AF-7DBD-D37A-2B14BD1B2DAF}"/>
          </ac:spMkLst>
        </pc:spChg>
        <pc:grpChg chg="add del mod">
          <ac:chgData name="Joel Palmer" userId="eb83a932-ed40-427e-9624-9030307beb05" providerId="ADAL" clId="{C6A297C3-78CA-45F2-86E4-09494C5C5B4E}" dt="2024-07-23T19:17:55.106" v="3331" actId="165"/>
          <ac:grpSpMkLst>
            <pc:docMk/>
            <pc:sldMk cId="212619309" sldId="2147473228"/>
            <ac:grpSpMk id="2" creationId="{29557A7A-63B5-7918-2C42-873171CBC16F}"/>
          </ac:grpSpMkLst>
        </pc:grpChg>
        <pc:grpChg chg="add del mod">
          <ac:chgData name="Joel Palmer" userId="eb83a932-ed40-427e-9624-9030307beb05" providerId="ADAL" clId="{C6A297C3-78CA-45F2-86E4-09494C5C5B4E}" dt="2024-07-23T19:17:55.106" v="3331" actId="165"/>
          <ac:grpSpMkLst>
            <pc:docMk/>
            <pc:sldMk cId="212619309" sldId="2147473228"/>
            <ac:grpSpMk id="10" creationId="{0739FA20-226D-C43F-ED7A-803588DBD00A}"/>
          </ac:grpSpMkLst>
        </pc:grpChg>
        <pc:graphicFrameChg chg="add del mod ord modGraphic">
          <ac:chgData name="Joel Palmer" userId="eb83a932-ed40-427e-9624-9030307beb05" providerId="ADAL" clId="{C6A297C3-78CA-45F2-86E4-09494C5C5B4E}" dt="2024-07-23T19:23:27.190" v="3385" actId="478"/>
          <ac:graphicFrameMkLst>
            <pc:docMk/>
            <pc:sldMk cId="212619309" sldId="2147473228"/>
            <ac:graphicFrameMk id="16" creationId="{975B8CAA-7668-6F2A-A64B-5CAC5C11E319}"/>
          </ac:graphicFrameMkLst>
        </pc:graphicFrameChg>
        <pc:graphicFrameChg chg="add mod">
          <ac:chgData name="Joel Palmer" userId="eb83a932-ed40-427e-9624-9030307beb05" providerId="ADAL" clId="{C6A297C3-78CA-45F2-86E4-09494C5C5B4E}" dt="2024-07-23T19:22:29.816" v="3379" actId="571"/>
          <ac:graphicFrameMkLst>
            <pc:docMk/>
            <pc:sldMk cId="212619309" sldId="2147473228"/>
            <ac:graphicFrameMk id="17" creationId="{49EDE15A-0E93-BABB-5812-74BBA9D4A2DE}"/>
          </ac:graphicFrameMkLst>
        </pc:graphicFrameChg>
        <pc:graphicFrameChg chg="add del">
          <ac:chgData name="Joel Palmer" userId="eb83a932-ed40-427e-9624-9030307beb05" providerId="ADAL" clId="{C6A297C3-78CA-45F2-86E4-09494C5C5B4E}" dt="2024-07-23T19:23:45" v="3389" actId="3680"/>
          <ac:graphicFrameMkLst>
            <pc:docMk/>
            <pc:sldMk cId="212619309" sldId="2147473228"/>
            <ac:graphicFrameMk id="18" creationId="{05C082E9-8808-1DE4-871C-E94544C931C2}"/>
          </ac:graphicFrameMkLst>
        </pc:graphicFrameChg>
        <pc:graphicFrameChg chg="add mod ord modGraphic">
          <ac:chgData name="Joel Palmer" userId="eb83a932-ed40-427e-9624-9030307beb05" providerId="ADAL" clId="{C6A297C3-78CA-45F2-86E4-09494C5C5B4E}" dt="2024-07-24T19:43:27.048" v="5489" actId="14100"/>
          <ac:graphicFrameMkLst>
            <pc:docMk/>
            <pc:sldMk cId="212619309" sldId="2147473228"/>
            <ac:graphicFrameMk id="19" creationId="{45A3632A-B9A3-D107-1C83-403AEA9340B4}"/>
          </ac:graphicFrameMkLst>
        </pc:graphicFrameChg>
        <pc:picChg chg="add mod">
          <ac:chgData name="Joel Palmer" userId="eb83a932-ed40-427e-9624-9030307beb05" providerId="ADAL" clId="{C6A297C3-78CA-45F2-86E4-09494C5C5B4E}" dt="2024-07-24T19:51:48.651" v="5580" actId="12789"/>
          <ac:picMkLst>
            <pc:docMk/>
            <pc:sldMk cId="212619309" sldId="2147473228"/>
            <ac:picMk id="2" creationId="{D049DE99-85C2-7AE0-0AF1-59FEEE799C69}"/>
          </ac:picMkLst>
        </pc:picChg>
        <pc:picChg chg="mod">
          <ac:chgData name="Joel Palmer" userId="eb83a932-ed40-427e-9624-9030307beb05" providerId="ADAL" clId="{C6A297C3-78CA-45F2-86E4-09494C5C5B4E}" dt="2024-07-23T19:23:33.582" v="3387" actId="14100"/>
          <ac:picMkLst>
            <pc:docMk/>
            <pc:sldMk cId="212619309" sldId="2147473228"/>
            <ac:picMk id="4" creationId="{16E216D5-4F92-4911-1C54-B6107A2576AC}"/>
          </ac:picMkLst>
        </pc:picChg>
        <pc:picChg chg="mod topLvl">
          <ac:chgData name="Joel Palmer" userId="eb83a932-ed40-427e-9624-9030307beb05" providerId="ADAL" clId="{C6A297C3-78CA-45F2-86E4-09494C5C5B4E}" dt="2024-07-24T19:51:48.651" v="5580" actId="12789"/>
          <ac:picMkLst>
            <pc:docMk/>
            <pc:sldMk cId="212619309" sldId="2147473228"/>
            <ac:picMk id="6" creationId="{B9287D6A-2A0F-E392-3C83-65458B8249DB}"/>
          </ac:picMkLst>
        </pc:picChg>
        <pc:picChg chg="mod topLvl">
          <ac:chgData name="Joel Palmer" userId="eb83a932-ed40-427e-9624-9030307beb05" providerId="ADAL" clId="{C6A297C3-78CA-45F2-86E4-09494C5C5B4E}" dt="2024-07-24T19:51:48.651" v="5580" actId="12789"/>
          <ac:picMkLst>
            <pc:docMk/>
            <pc:sldMk cId="212619309" sldId="2147473228"/>
            <ac:picMk id="7" creationId="{3C955FC7-7A30-9F06-5465-8C70C1C6AFF0}"/>
          </ac:picMkLst>
        </pc:picChg>
        <pc:picChg chg="del mod topLvl">
          <ac:chgData name="Joel Palmer" userId="eb83a932-ed40-427e-9624-9030307beb05" providerId="ADAL" clId="{C6A297C3-78CA-45F2-86E4-09494C5C5B4E}" dt="2024-07-24T19:51:14.614" v="5572" actId="478"/>
          <ac:picMkLst>
            <pc:docMk/>
            <pc:sldMk cId="212619309" sldId="2147473228"/>
            <ac:picMk id="8" creationId="{30DFADC6-CC2B-C067-4617-CBB7E67D023B}"/>
          </ac:picMkLst>
        </pc:picChg>
        <pc:picChg chg="mod topLvl">
          <ac:chgData name="Joel Palmer" userId="eb83a932-ed40-427e-9624-9030307beb05" providerId="ADAL" clId="{C6A297C3-78CA-45F2-86E4-09494C5C5B4E}" dt="2024-07-24T19:51:48.651" v="5580" actId="12789"/>
          <ac:picMkLst>
            <pc:docMk/>
            <pc:sldMk cId="212619309" sldId="2147473228"/>
            <ac:picMk id="13" creationId="{70CFE5DB-3CC9-63C5-79A5-B28C412C366D}"/>
          </ac:picMkLst>
        </pc:picChg>
        <pc:picChg chg="mod topLvl">
          <ac:chgData name="Joel Palmer" userId="eb83a932-ed40-427e-9624-9030307beb05" providerId="ADAL" clId="{C6A297C3-78CA-45F2-86E4-09494C5C5B4E}" dt="2024-07-24T19:51:48.651" v="5580" actId="12789"/>
          <ac:picMkLst>
            <pc:docMk/>
            <pc:sldMk cId="212619309" sldId="2147473228"/>
            <ac:picMk id="14" creationId="{F4673D80-37C3-E90A-3CAE-F639F15B3661}"/>
          </ac:picMkLst>
        </pc:picChg>
        <pc:picChg chg="mod topLvl">
          <ac:chgData name="Joel Palmer" userId="eb83a932-ed40-427e-9624-9030307beb05" providerId="ADAL" clId="{C6A297C3-78CA-45F2-86E4-09494C5C5B4E}" dt="2024-07-24T19:51:48.651" v="5580" actId="12789"/>
          <ac:picMkLst>
            <pc:docMk/>
            <pc:sldMk cId="212619309" sldId="2147473228"/>
            <ac:picMk id="15" creationId="{67442510-E69A-E47E-97C2-032EB3BA7BD8}"/>
          </ac:picMkLst>
        </pc:picChg>
      </pc:sldChg>
      <pc:sldChg chg="addSp delSp modSp">
        <pc:chgData name="Joel Palmer" userId="eb83a932-ed40-427e-9624-9030307beb05" providerId="ADAL" clId="{C6A297C3-78CA-45F2-86E4-09494C5C5B4E}" dt="2024-07-24T19:53:44.953" v="5608" actId="12789"/>
        <pc:sldMkLst>
          <pc:docMk/>
          <pc:sldMk cId="3106654355" sldId="2147473234"/>
        </pc:sldMkLst>
        <pc:spChg chg="mod">
          <ac:chgData name="Joel Palmer" userId="eb83a932-ed40-427e-9624-9030307beb05" providerId="ADAL" clId="{C6A297C3-78CA-45F2-86E4-09494C5C5B4E}" dt="2024-07-24T19:53:44.953" v="5608" actId="12789"/>
          <ac:spMkLst>
            <pc:docMk/>
            <pc:sldMk cId="3106654355" sldId="2147473234"/>
            <ac:spMk id="12" creationId="{CB1F57C4-584A-5CF9-F359-624EC5900C6B}"/>
          </ac:spMkLst>
        </pc:spChg>
        <pc:picChg chg="del">
          <ac:chgData name="Joel Palmer" userId="eb83a932-ed40-427e-9624-9030307beb05" providerId="ADAL" clId="{C6A297C3-78CA-45F2-86E4-09494C5C5B4E}" dt="2024-07-24T19:53:08.326" v="5599" actId="478"/>
          <ac:picMkLst>
            <pc:docMk/>
            <pc:sldMk cId="3106654355" sldId="2147473234"/>
            <ac:picMk id="8" creationId="{0CD54DAA-C54C-DBDF-1BFF-46DD0C915ADC}"/>
          </ac:picMkLst>
        </pc:picChg>
        <pc:picChg chg="del">
          <ac:chgData name="Joel Palmer" userId="eb83a932-ed40-427e-9624-9030307beb05" providerId="ADAL" clId="{C6A297C3-78CA-45F2-86E4-09494C5C5B4E}" dt="2024-07-24T19:53:22.125" v="5602" actId="478"/>
          <ac:picMkLst>
            <pc:docMk/>
            <pc:sldMk cId="3106654355" sldId="2147473234"/>
            <ac:picMk id="13" creationId="{1DB517DA-52AA-D92F-F6DD-912451ABC758}"/>
          </ac:picMkLst>
        </pc:picChg>
        <pc:picChg chg="add mod">
          <ac:chgData name="Joel Palmer" userId="eb83a932-ed40-427e-9624-9030307beb05" providerId="ADAL" clId="{C6A297C3-78CA-45F2-86E4-09494C5C5B4E}" dt="2024-07-24T19:53:44.953" v="5608" actId="12789"/>
          <ac:picMkLst>
            <pc:docMk/>
            <pc:sldMk cId="3106654355" sldId="2147473234"/>
            <ac:picMk id="15" creationId="{C6416B47-B11D-9D8C-CF8F-884D11E8FBFF}"/>
          </ac:picMkLst>
        </pc:picChg>
        <pc:picChg chg="mod">
          <ac:chgData name="Joel Palmer" userId="eb83a932-ed40-427e-9624-9030307beb05" providerId="ADAL" clId="{C6A297C3-78CA-45F2-86E4-09494C5C5B4E}" dt="2024-07-24T19:53:40.343" v="5607" actId="12788"/>
          <ac:picMkLst>
            <pc:docMk/>
            <pc:sldMk cId="3106654355" sldId="2147473234"/>
            <ac:picMk id="16" creationId="{DF5878B9-4B17-4263-631D-AFF92B99D14D}"/>
          </ac:picMkLst>
        </pc:picChg>
        <pc:picChg chg="add mod">
          <ac:chgData name="Joel Palmer" userId="eb83a932-ed40-427e-9624-9030307beb05" providerId="ADAL" clId="{C6A297C3-78CA-45F2-86E4-09494C5C5B4E}" dt="2024-07-24T19:53:16.757" v="5600" actId="1076"/>
          <ac:picMkLst>
            <pc:docMk/>
            <pc:sldMk cId="3106654355" sldId="2147473234"/>
            <ac:picMk id="17" creationId="{4B391951-531F-883F-3BD3-B7E8D7028237}"/>
          </ac:picMkLst>
        </pc:picChg>
      </pc:sldChg>
      <pc:sldChg chg="addSp delSp modSp mod">
        <pc:chgData name="Joel Palmer" userId="eb83a932-ed40-427e-9624-9030307beb05" providerId="ADAL" clId="{C6A297C3-78CA-45F2-86E4-09494C5C5B4E}" dt="2024-07-24T19:54:20.259" v="5619" actId="1076"/>
        <pc:sldMkLst>
          <pc:docMk/>
          <pc:sldMk cId="4110593447" sldId="2147473235"/>
        </pc:sldMkLst>
        <pc:picChg chg="del">
          <ac:chgData name="Joel Palmer" userId="eb83a932-ed40-427e-9624-9030307beb05" providerId="ADAL" clId="{C6A297C3-78CA-45F2-86E4-09494C5C5B4E}" dt="2024-07-24T19:54:10.384" v="5616" actId="478"/>
          <ac:picMkLst>
            <pc:docMk/>
            <pc:sldMk cId="4110593447" sldId="2147473235"/>
            <ac:picMk id="6" creationId="{A2E6AB69-1108-284F-30E9-4E09D132588E}"/>
          </ac:picMkLst>
        </pc:picChg>
        <pc:picChg chg="add mod">
          <ac:chgData name="Joel Palmer" userId="eb83a932-ed40-427e-9624-9030307beb05" providerId="ADAL" clId="{C6A297C3-78CA-45F2-86E4-09494C5C5B4E}" dt="2024-07-24T19:54:20.259" v="5619" actId="1076"/>
          <ac:picMkLst>
            <pc:docMk/>
            <pc:sldMk cId="4110593447" sldId="2147473235"/>
            <ac:picMk id="7" creationId="{6C3318DA-7F36-587D-6968-27E8C840988E}"/>
          </ac:picMkLst>
        </pc:picChg>
        <pc:picChg chg="add mod">
          <ac:chgData name="Joel Palmer" userId="eb83a932-ed40-427e-9624-9030307beb05" providerId="ADAL" clId="{C6A297C3-78CA-45F2-86E4-09494C5C5B4E}" dt="2024-07-24T19:54:04.670" v="5614" actId="1076"/>
          <ac:picMkLst>
            <pc:docMk/>
            <pc:sldMk cId="4110593447" sldId="2147473235"/>
            <ac:picMk id="8" creationId="{EF99224D-1457-22C8-2F39-56E8F4A5EF1D}"/>
          </ac:picMkLst>
        </pc:picChg>
        <pc:picChg chg="del">
          <ac:chgData name="Joel Palmer" userId="eb83a932-ed40-427e-9624-9030307beb05" providerId="ADAL" clId="{C6A297C3-78CA-45F2-86E4-09494C5C5B4E}" dt="2024-07-24T19:53:57.674" v="5612" actId="478"/>
          <ac:picMkLst>
            <pc:docMk/>
            <pc:sldMk cId="4110593447" sldId="2147473235"/>
            <ac:picMk id="9" creationId="{CB0ABCB8-B32F-F64A-AB08-A0B745DB983B}"/>
          </ac:picMkLst>
        </pc:picChg>
      </pc:sldChg>
      <pc:sldChg chg="addCm modCm">
        <pc:chgData name="Joel Palmer" userId="eb83a932-ed40-427e-9624-9030307beb05" providerId="ADAL" clId="{C6A297C3-78CA-45F2-86E4-09494C5C5B4E}" dt="2024-07-24T16:59:23.081" v="5070"/>
        <pc:sldMkLst>
          <pc:docMk/>
          <pc:sldMk cId="2511479918" sldId="2147473236"/>
        </pc:sldMkLst>
        <pc:extLst>
          <p:ext xmlns:p="http://schemas.openxmlformats.org/presentationml/2006/main" uri="{D6D511B9-2390-475A-947B-AFAB55BFBCF1}">
            <pc226:cmChg xmlns:pc226="http://schemas.microsoft.com/office/powerpoint/2022/06/main/command" chg="add">
              <pc226:chgData name="Joel Palmer" userId="eb83a932-ed40-427e-9624-9030307beb05" providerId="ADAL" clId="{C6A297C3-78CA-45F2-86E4-09494C5C5B4E}" dt="2024-07-24T16:59:23.081" v="5070"/>
              <pc2:cmMkLst xmlns:pc2="http://schemas.microsoft.com/office/powerpoint/2019/9/main/command">
                <pc:docMk/>
                <pc:sldMk cId="2511479918" sldId="2147473236"/>
                <pc2:cmMk id="{79F593F8-0337-48DF-A66B-1ED4ED390E76}"/>
              </pc2:cmMkLst>
              <pc226:cmRplyChg chg="add">
                <pc226:chgData name="Joel Palmer" userId="eb83a932-ed40-427e-9624-9030307beb05" providerId="ADAL" clId="{C6A297C3-78CA-45F2-86E4-09494C5C5B4E}" dt="2024-07-24T16:59:23.081" v="5070"/>
                <pc2:cmRplyMkLst xmlns:pc2="http://schemas.microsoft.com/office/powerpoint/2019/9/main/command">
                  <pc:docMk/>
                  <pc:sldMk cId="2511479918" sldId="2147473236"/>
                  <pc2:cmMk id="{79F593F8-0337-48DF-A66B-1ED4ED390E76}"/>
                  <pc2:cmRplyMk id="{4C162379-D38A-49C7-A6A3-F4C11D9699F4}"/>
                </pc2:cmRplyMkLst>
              </pc226:cmRplyChg>
            </pc226:cmChg>
          </p:ext>
        </pc:extLst>
      </pc:sldChg>
      <pc:sldChg chg="addSp delSp modSp mod addCm delCm">
        <pc:chgData name="Joel Palmer" userId="eb83a932-ed40-427e-9624-9030307beb05" providerId="ADAL" clId="{C6A297C3-78CA-45F2-86E4-09494C5C5B4E}" dt="2024-07-25T14:00:16.702" v="5684"/>
        <pc:sldMkLst>
          <pc:docMk/>
          <pc:sldMk cId="2049575005" sldId="2147473237"/>
        </pc:sldMkLst>
        <pc:graphicFrameChg chg="mod modGraphic">
          <ac:chgData name="Joel Palmer" userId="eb83a932-ed40-427e-9624-9030307beb05" providerId="ADAL" clId="{C6A297C3-78CA-45F2-86E4-09494C5C5B4E}" dt="2024-07-24T19:37:15.157" v="5099" actId="20577"/>
          <ac:graphicFrameMkLst>
            <pc:docMk/>
            <pc:sldMk cId="2049575005" sldId="2147473237"/>
            <ac:graphicFrameMk id="4" creationId="{878955A9-CBF7-9AE8-026E-6A1BBC35C28A}"/>
          </ac:graphicFrameMkLst>
        </pc:graphicFrameChg>
        <pc:picChg chg="add mod">
          <ac:chgData name="Joel Palmer" userId="eb83a932-ed40-427e-9624-9030307beb05" providerId="ADAL" clId="{C6A297C3-78CA-45F2-86E4-09494C5C5B4E}" dt="2024-07-24T19:54:44.867" v="5626" actId="12788"/>
          <ac:picMkLst>
            <pc:docMk/>
            <pc:sldMk cId="2049575005" sldId="2147473237"/>
            <ac:picMk id="2" creationId="{9271E59F-3E84-E923-D270-7DEDA512A4E2}"/>
          </ac:picMkLst>
        </pc:picChg>
        <pc:picChg chg="mod">
          <ac:chgData name="Joel Palmer" userId="eb83a932-ed40-427e-9624-9030307beb05" providerId="ADAL" clId="{C6A297C3-78CA-45F2-86E4-09494C5C5B4E}" dt="2024-07-24T19:54:44.867" v="5626" actId="12788"/>
          <ac:picMkLst>
            <pc:docMk/>
            <pc:sldMk cId="2049575005" sldId="2147473237"/>
            <ac:picMk id="5" creationId="{DEA5736F-72F9-519B-FF95-00EFFEB9136C}"/>
          </ac:picMkLst>
        </pc:picChg>
        <pc:picChg chg="del mod">
          <ac:chgData name="Joel Palmer" userId="eb83a932-ed40-427e-9624-9030307beb05" providerId="ADAL" clId="{C6A297C3-78CA-45F2-86E4-09494C5C5B4E}" dt="2024-07-24T19:54:30.298" v="5622" actId="478"/>
          <ac:picMkLst>
            <pc:docMk/>
            <pc:sldMk cId="2049575005" sldId="2147473237"/>
            <ac:picMk id="6" creationId="{7B34F4CD-9064-7BAD-84E9-011A6978356D}"/>
          </ac:picMkLst>
        </pc:picChg>
        <pc:extLst>
          <p:ext xmlns:p="http://schemas.openxmlformats.org/presentationml/2006/main" uri="{D6D511B9-2390-475A-947B-AFAB55BFBCF1}">
            <pc226:cmChg xmlns:pc226="http://schemas.microsoft.com/office/powerpoint/2022/06/main/command" chg="add del">
              <pc226:chgData name="Joel Palmer" userId="eb83a932-ed40-427e-9624-9030307beb05" providerId="ADAL" clId="{C6A297C3-78CA-45F2-86E4-09494C5C5B4E}" dt="2024-07-24T19:36:49.118" v="5072"/>
              <pc2:cmMkLst xmlns:pc2="http://schemas.microsoft.com/office/powerpoint/2019/9/main/command">
                <pc:docMk/>
                <pc:sldMk cId="2049575005" sldId="2147473237"/>
                <pc2:cmMk id="{5F08E511-CB0B-47B4-92EC-D4FE159A6BFB}"/>
              </pc2:cmMkLst>
            </pc226:cmChg>
            <pc226:cmChg xmlns:pc226="http://schemas.microsoft.com/office/powerpoint/2022/06/main/command" chg="add del">
              <pc226:chgData name="Joel Palmer" userId="eb83a932-ed40-427e-9624-9030307beb05" providerId="ADAL" clId="{C6A297C3-78CA-45F2-86E4-09494C5C5B4E}" dt="2024-07-24T19:36:50.721" v="5073"/>
              <pc2:cmMkLst xmlns:pc2="http://schemas.microsoft.com/office/powerpoint/2019/9/main/command">
                <pc:docMk/>
                <pc:sldMk cId="2049575005" sldId="2147473237"/>
                <pc2:cmMk id="{B2302C6F-B807-4C03-8090-90D411FC6253}"/>
              </pc2:cmMkLst>
            </pc226:cmChg>
            <pc226:cmChg xmlns:pc226="http://schemas.microsoft.com/office/powerpoint/2022/06/main/command" chg="add">
              <pc226:chgData name="Joel Palmer" userId="eb83a932-ed40-427e-9624-9030307beb05" providerId="ADAL" clId="{C6A297C3-78CA-45F2-86E4-09494C5C5B4E}" dt="2024-07-25T14:00:16.702" v="5684"/>
              <pc2:cmMkLst xmlns:pc2="http://schemas.microsoft.com/office/powerpoint/2019/9/main/command">
                <pc:docMk/>
                <pc:sldMk cId="2049575005" sldId="2147473237"/>
                <pc2:cmMk id="{1F441079-26B6-4764-8DD3-D705D8F752A9}"/>
              </pc2:cmMkLst>
            </pc226:cmChg>
          </p:ext>
        </pc:extLst>
      </pc:sldChg>
      <pc:sldChg chg="ord">
        <pc:chgData name="Joel Palmer" userId="eb83a932-ed40-427e-9624-9030307beb05" providerId="ADAL" clId="{C6A297C3-78CA-45F2-86E4-09494C5C5B4E}" dt="2024-07-24T21:13:50.483" v="5628"/>
        <pc:sldMkLst>
          <pc:docMk/>
          <pc:sldMk cId="2538469809" sldId="2147473239"/>
        </pc:sldMkLst>
      </pc:sldChg>
      <pc:sldChg chg="addCm">
        <pc:chgData name="Joel Palmer" userId="eb83a932-ed40-427e-9624-9030307beb05" providerId="ADAL" clId="{C6A297C3-78CA-45F2-86E4-09494C5C5B4E}" dt="2024-07-25T14:00:24.426" v="5685"/>
        <pc:sldMkLst>
          <pc:docMk/>
          <pc:sldMk cId="1019241543" sldId="2147473242"/>
        </pc:sldMkLst>
        <pc:extLst>
          <p:ext xmlns:p="http://schemas.openxmlformats.org/presentationml/2006/main" uri="{D6D511B9-2390-475A-947B-AFAB55BFBCF1}">
            <pc226:cmChg xmlns:pc226="http://schemas.microsoft.com/office/powerpoint/2022/06/main/command" chg="add">
              <pc226:chgData name="Joel Palmer" userId="eb83a932-ed40-427e-9624-9030307beb05" providerId="ADAL" clId="{C6A297C3-78CA-45F2-86E4-09494C5C5B4E}" dt="2024-07-25T14:00:24.426" v="5685"/>
              <pc2:cmMkLst xmlns:pc2="http://schemas.microsoft.com/office/powerpoint/2019/9/main/command">
                <pc:docMk/>
                <pc:sldMk cId="1019241543" sldId="2147473242"/>
                <pc2:cmMk id="{2DA69C40-A488-4EA2-8A1F-99BEC688DE2F}"/>
              </pc2:cmMkLst>
            </pc226:cmChg>
          </p:ext>
        </pc:extLst>
      </pc:sldChg>
      <pc:sldChg chg="add del ord">
        <pc:chgData name="Joel Palmer" userId="eb83a932-ed40-427e-9624-9030307beb05" providerId="ADAL" clId="{C6A297C3-78CA-45F2-86E4-09494C5C5B4E}" dt="2024-07-24T14:32:43.019" v="3715" actId="47"/>
        <pc:sldMkLst>
          <pc:docMk/>
          <pc:sldMk cId="3334110039" sldId="2147473244"/>
        </pc:sldMkLst>
      </pc:sldChg>
      <pc:sldChg chg="addSp delSp modSp mod addCm">
        <pc:chgData name="Joel Palmer" userId="eb83a932-ed40-427e-9624-9030307beb05" providerId="ADAL" clId="{C6A297C3-78CA-45F2-86E4-09494C5C5B4E}" dt="2024-07-24T17:02:36.805" v="5071"/>
        <pc:sldMkLst>
          <pc:docMk/>
          <pc:sldMk cId="3686999811" sldId="2147473244"/>
        </pc:sldMkLst>
        <pc:spChg chg="mod">
          <ac:chgData name="Joel Palmer" userId="eb83a932-ed40-427e-9624-9030307beb05" providerId="ADAL" clId="{C6A297C3-78CA-45F2-86E4-09494C5C5B4E}" dt="2024-07-24T14:33:15.928" v="3739" actId="1076"/>
          <ac:spMkLst>
            <pc:docMk/>
            <pc:sldMk cId="3686999811" sldId="2147473244"/>
            <ac:spMk id="2" creationId="{2586AC7D-2C94-3C6B-F76B-1670FDEE94C8}"/>
          </ac:spMkLst>
        </pc:spChg>
        <pc:spChg chg="add del mod">
          <ac:chgData name="Joel Palmer" userId="eb83a932-ed40-427e-9624-9030307beb05" providerId="ADAL" clId="{C6A297C3-78CA-45F2-86E4-09494C5C5B4E}" dt="2024-07-24T14:33:19.812" v="3741" actId="478"/>
          <ac:spMkLst>
            <pc:docMk/>
            <pc:sldMk cId="3686999811" sldId="2147473244"/>
            <ac:spMk id="4" creationId="{8569D8D8-0FEB-400E-D0EA-743A28DE597A}"/>
          </ac:spMkLst>
        </pc:spChg>
        <pc:spChg chg="del">
          <ac:chgData name="Joel Palmer" userId="eb83a932-ed40-427e-9624-9030307beb05" providerId="ADAL" clId="{C6A297C3-78CA-45F2-86E4-09494C5C5B4E}" dt="2024-07-24T14:33:18.110" v="3740" actId="478"/>
          <ac:spMkLst>
            <pc:docMk/>
            <pc:sldMk cId="3686999811" sldId="2147473244"/>
            <ac:spMk id="5" creationId="{91ECD430-ADF2-C30F-B6D4-C31BB2083886}"/>
          </ac:spMkLst>
        </pc:spChg>
        <pc:spChg chg="del">
          <ac:chgData name="Joel Palmer" userId="eb83a932-ed40-427e-9624-9030307beb05" providerId="ADAL" clId="{C6A297C3-78CA-45F2-86E4-09494C5C5B4E}" dt="2024-07-24T14:33:22.176" v="3742" actId="478"/>
          <ac:spMkLst>
            <pc:docMk/>
            <pc:sldMk cId="3686999811" sldId="2147473244"/>
            <ac:spMk id="8" creationId="{5D29D2FF-2485-59A3-F1AD-21DA341FE40A}"/>
          </ac:spMkLst>
        </pc:spChg>
        <pc:spChg chg="add del mod">
          <ac:chgData name="Joel Palmer" userId="eb83a932-ed40-427e-9624-9030307beb05" providerId="ADAL" clId="{C6A297C3-78CA-45F2-86E4-09494C5C5B4E}" dt="2024-07-24T14:33:24.273" v="3743" actId="478"/>
          <ac:spMkLst>
            <pc:docMk/>
            <pc:sldMk cId="3686999811" sldId="2147473244"/>
            <ac:spMk id="9" creationId="{29F8F10D-2648-8294-935F-B4CA5C4F2DC2}"/>
          </ac:spMkLst>
        </pc:spChg>
        <pc:spChg chg="del">
          <ac:chgData name="Joel Palmer" userId="eb83a932-ed40-427e-9624-9030307beb05" providerId="ADAL" clId="{C6A297C3-78CA-45F2-86E4-09494C5C5B4E}" dt="2024-07-24T14:33:08.311" v="3737" actId="478"/>
          <ac:spMkLst>
            <pc:docMk/>
            <pc:sldMk cId="3686999811" sldId="2147473244"/>
            <ac:spMk id="41" creationId="{0FBB6F4D-55B7-3717-B972-FB57E2F0FD84}"/>
          </ac:spMkLst>
        </pc:spChg>
        <pc:extLst>
          <p:ext xmlns:p="http://schemas.openxmlformats.org/presentationml/2006/main" uri="{D6D511B9-2390-475A-947B-AFAB55BFBCF1}">
            <pc226:cmChg xmlns:pc226="http://schemas.microsoft.com/office/powerpoint/2022/06/main/command" chg="add">
              <pc226:chgData name="Joel Palmer" userId="eb83a932-ed40-427e-9624-9030307beb05" providerId="ADAL" clId="{C6A297C3-78CA-45F2-86E4-09494C5C5B4E}" dt="2024-07-24T17:02:36.805" v="5071"/>
              <pc2:cmMkLst xmlns:pc2="http://schemas.microsoft.com/office/powerpoint/2019/9/main/command">
                <pc:docMk/>
                <pc:sldMk cId="3686999811" sldId="2147473244"/>
                <pc2:cmMk id="{A3B6920A-4088-471A-8D90-358EE26A82CC}"/>
              </pc2:cmMkLst>
            </pc226:cmChg>
          </p:ext>
        </pc:extLst>
      </pc:sldChg>
      <pc:sldChg chg="addSp delSp modSp add mod ord modShow delCm">
        <pc:chgData name="Joel Palmer" userId="eb83a932-ed40-427e-9624-9030307beb05" providerId="ADAL" clId="{C6A297C3-78CA-45F2-86E4-09494C5C5B4E}" dt="2024-07-24T19:51:03.690" v="5570" actId="12788"/>
        <pc:sldMkLst>
          <pc:docMk/>
          <pc:sldMk cId="1883354529" sldId="2147473246"/>
        </pc:sldMkLst>
        <pc:spChg chg="mod">
          <ac:chgData name="Joel Palmer" userId="eb83a932-ed40-427e-9624-9030307beb05" providerId="ADAL" clId="{C6A297C3-78CA-45F2-86E4-09494C5C5B4E}" dt="2024-07-24T16:14:20.209" v="3896" actId="20577"/>
          <ac:spMkLst>
            <pc:docMk/>
            <pc:sldMk cId="1883354529" sldId="2147473246"/>
            <ac:spMk id="2" creationId="{1A06D1F9-80A5-C9DB-5981-C0BD13DE9012}"/>
          </ac:spMkLst>
        </pc:spChg>
        <pc:spChg chg="del mod topLvl">
          <ac:chgData name="Joel Palmer" userId="eb83a932-ed40-427e-9624-9030307beb05" providerId="ADAL" clId="{C6A297C3-78CA-45F2-86E4-09494C5C5B4E}" dt="2024-07-24T16:14:57.880" v="3905" actId="478"/>
          <ac:spMkLst>
            <pc:docMk/>
            <pc:sldMk cId="1883354529" sldId="2147473246"/>
            <ac:spMk id="5" creationId="{365D18FB-1B2F-5CA5-E76A-093AADA8A29A}"/>
          </ac:spMkLst>
        </pc:spChg>
        <pc:spChg chg="del">
          <ac:chgData name="Joel Palmer" userId="eb83a932-ed40-427e-9624-9030307beb05" providerId="ADAL" clId="{C6A297C3-78CA-45F2-86E4-09494C5C5B4E}" dt="2024-07-24T16:14:23.885" v="3897" actId="478"/>
          <ac:spMkLst>
            <pc:docMk/>
            <pc:sldMk cId="1883354529" sldId="2147473246"/>
            <ac:spMk id="13" creationId="{EB5BEF78-5DE0-BAF5-5CC1-14736BF94B42}"/>
          </ac:spMkLst>
        </pc:spChg>
        <pc:spChg chg="del">
          <ac:chgData name="Joel Palmer" userId="eb83a932-ed40-427e-9624-9030307beb05" providerId="ADAL" clId="{C6A297C3-78CA-45F2-86E4-09494C5C5B4E}" dt="2024-07-24T16:14:25.038" v="3898" actId="478"/>
          <ac:spMkLst>
            <pc:docMk/>
            <pc:sldMk cId="1883354529" sldId="2147473246"/>
            <ac:spMk id="14" creationId="{BF6754E3-EC5D-9FB5-4D45-D8B74AFFEE63}"/>
          </ac:spMkLst>
        </pc:spChg>
        <pc:spChg chg="del mod topLvl">
          <ac:chgData name="Joel Palmer" userId="eb83a932-ed40-427e-9624-9030307beb05" providerId="ADAL" clId="{C6A297C3-78CA-45F2-86E4-09494C5C5B4E}" dt="2024-07-24T16:14:56.987" v="3904" actId="478"/>
          <ac:spMkLst>
            <pc:docMk/>
            <pc:sldMk cId="1883354529" sldId="2147473246"/>
            <ac:spMk id="15" creationId="{AC51BFD2-8452-C25D-A57D-632AC2710782}"/>
          </ac:spMkLst>
        </pc:spChg>
        <pc:spChg chg="add del mod">
          <ac:chgData name="Joel Palmer" userId="eb83a932-ed40-427e-9624-9030307beb05" providerId="ADAL" clId="{C6A297C3-78CA-45F2-86E4-09494C5C5B4E}" dt="2024-07-24T16:17:39.129" v="3940"/>
          <ac:spMkLst>
            <pc:docMk/>
            <pc:sldMk cId="1883354529" sldId="2147473246"/>
            <ac:spMk id="19" creationId="{FB671E36-B7FD-B497-F28C-0279D9245948}"/>
          </ac:spMkLst>
        </pc:spChg>
        <pc:spChg chg="add mod">
          <ac:chgData name="Joel Palmer" userId="eb83a932-ed40-427e-9624-9030307beb05" providerId="ADAL" clId="{C6A297C3-78CA-45F2-86E4-09494C5C5B4E}" dt="2024-07-24T16:24:05.881" v="4027" actId="20577"/>
          <ac:spMkLst>
            <pc:docMk/>
            <pc:sldMk cId="1883354529" sldId="2147473246"/>
            <ac:spMk id="20" creationId="{FAA4FA5B-D615-028E-C411-1001B724F2C9}"/>
          </ac:spMkLst>
        </pc:spChg>
        <pc:spChg chg="add mod">
          <ac:chgData name="Joel Palmer" userId="eb83a932-ed40-427e-9624-9030307beb05" providerId="ADAL" clId="{C6A297C3-78CA-45F2-86E4-09494C5C5B4E}" dt="2024-07-24T16:24:20.756" v="4035" actId="20577"/>
          <ac:spMkLst>
            <pc:docMk/>
            <pc:sldMk cId="1883354529" sldId="2147473246"/>
            <ac:spMk id="21" creationId="{439F16A6-8B23-3D30-C858-F6B10DEC37B5}"/>
          </ac:spMkLst>
        </pc:spChg>
        <pc:spChg chg="add mod">
          <ac:chgData name="Joel Palmer" userId="eb83a932-ed40-427e-9624-9030307beb05" providerId="ADAL" clId="{C6A297C3-78CA-45F2-86E4-09494C5C5B4E}" dt="2024-07-24T16:24:34.924" v="4043" actId="20577"/>
          <ac:spMkLst>
            <pc:docMk/>
            <pc:sldMk cId="1883354529" sldId="2147473246"/>
            <ac:spMk id="22" creationId="{425BC7DD-09A1-0675-70F6-15551787974E}"/>
          </ac:spMkLst>
        </pc:spChg>
        <pc:spChg chg="add mod">
          <ac:chgData name="Joel Palmer" userId="eb83a932-ed40-427e-9624-9030307beb05" providerId="ADAL" clId="{C6A297C3-78CA-45F2-86E4-09494C5C5B4E}" dt="2024-07-24T16:23:33.683" v="4020" actId="14100"/>
          <ac:spMkLst>
            <pc:docMk/>
            <pc:sldMk cId="1883354529" sldId="2147473246"/>
            <ac:spMk id="23" creationId="{1EF44D6A-D369-BA93-3889-15C02085E908}"/>
          </ac:spMkLst>
        </pc:spChg>
        <pc:spChg chg="add mod">
          <ac:chgData name="Joel Palmer" userId="eb83a932-ed40-427e-9624-9030307beb05" providerId="ADAL" clId="{C6A297C3-78CA-45F2-86E4-09494C5C5B4E}" dt="2024-07-24T16:27:17.939" v="4061" actId="20577"/>
          <ac:spMkLst>
            <pc:docMk/>
            <pc:sldMk cId="1883354529" sldId="2147473246"/>
            <ac:spMk id="24" creationId="{A0DECABB-17A1-93F9-C652-A6F46C1EB77C}"/>
          </ac:spMkLst>
        </pc:spChg>
        <pc:spChg chg="add mod">
          <ac:chgData name="Joel Palmer" userId="eb83a932-ed40-427e-9624-9030307beb05" providerId="ADAL" clId="{C6A297C3-78CA-45F2-86E4-09494C5C5B4E}" dt="2024-07-24T16:28:25.238" v="4073" actId="20577"/>
          <ac:spMkLst>
            <pc:docMk/>
            <pc:sldMk cId="1883354529" sldId="2147473246"/>
            <ac:spMk id="25" creationId="{7C0FDE98-B42A-2B32-0000-577DA4307164}"/>
          </ac:spMkLst>
        </pc:spChg>
        <pc:grpChg chg="add del mod">
          <ac:chgData name="Joel Palmer" userId="eb83a932-ed40-427e-9624-9030307beb05" providerId="ADAL" clId="{C6A297C3-78CA-45F2-86E4-09494C5C5B4E}" dt="2024-07-24T16:14:47.014" v="3901" actId="165"/>
          <ac:grpSpMkLst>
            <pc:docMk/>
            <pc:sldMk cId="1883354529" sldId="2147473246"/>
            <ac:grpSpMk id="3" creationId="{ED2F7038-786B-C685-A79E-C1603C3C9013}"/>
          </ac:grpSpMkLst>
        </pc:grpChg>
        <pc:grpChg chg="add del mod">
          <ac:chgData name="Joel Palmer" userId="eb83a932-ed40-427e-9624-9030307beb05" providerId="ADAL" clId="{C6A297C3-78CA-45F2-86E4-09494C5C5B4E}" dt="2024-07-24T16:14:47.014" v="3901" actId="165"/>
          <ac:grpSpMkLst>
            <pc:docMk/>
            <pc:sldMk cId="1883354529" sldId="2147473246"/>
            <ac:grpSpMk id="11" creationId="{8810DCBB-C2A5-6302-F4DF-A6763D1A7F94}"/>
          </ac:grpSpMkLst>
        </pc:grpChg>
        <pc:picChg chg="del">
          <ac:chgData name="Joel Palmer" userId="eb83a932-ed40-427e-9624-9030307beb05" providerId="ADAL" clId="{C6A297C3-78CA-45F2-86E4-09494C5C5B4E}" dt="2024-07-24T16:14:12.902" v="3875" actId="478"/>
          <ac:picMkLst>
            <pc:docMk/>
            <pc:sldMk cId="1883354529" sldId="2147473246"/>
            <ac:picMk id="4" creationId="{A0231023-7C13-BE51-4354-C49038B39A9E}"/>
          </ac:picMkLst>
        </pc:picChg>
        <pc:picChg chg="mod topLvl">
          <ac:chgData name="Joel Palmer" userId="eb83a932-ed40-427e-9624-9030307beb05" providerId="ADAL" clId="{C6A297C3-78CA-45F2-86E4-09494C5C5B4E}" dt="2024-07-24T19:51:03.690" v="5570" actId="12788"/>
          <ac:picMkLst>
            <pc:docMk/>
            <pc:sldMk cId="1883354529" sldId="2147473246"/>
            <ac:picMk id="7" creationId="{62498E3F-6DC1-4B74-AD38-C671186E1982}"/>
          </ac:picMkLst>
        </pc:picChg>
        <pc:picChg chg="mod topLvl">
          <ac:chgData name="Joel Palmer" userId="eb83a932-ed40-427e-9624-9030307beb05" providerId="ADAL" clId="{C6A297C3-78CA-45F2-86E4-09494C5C5B4E}" dt="2024-07-24T19:51:03.690" v="5570" actId="12788"/>
          <ac:picMkLst>
            <pc:docMk/>
            <pc:sldMk cId="1883354529" sldId="2147473246"/>
            <ac:picMk id="8" creationId="{10893C23-416D-1678-86A4-7E8577702551}"/>
          </ac:picMkLst>
        </pc:picChg>
        <pc:picChg chg="del mod topLvl">
          <ac:chgData name="Joel Palmer" userId="eb83a932-ed40-427e-9624-9030307beb05" providerId="ADAL" clId="{C6A297C3-78CA-45F2-86E4-09494C5C5B4E}" dt="2024-07-24T19:50:23.294" v="5563" actId="478"/>
          <ac:picMkLst>
            <pc:docMk/>
            <pc:sldMk cId="1883354529" sldId="2147473246"/>
            <ac:picMk id="9" creationId="{A5B04FE6-3F82-A9E3-C183-EFE029AB4B0B}"/>
          </ac:picMkLst>
        </pc:picChg>
        <pc:picChg chg="del">
          <ac:chgData name="Joel Palmer" userId="eb83a932-ed40-427e-9624-9030307beb05" providerId="ADAL" clId="{C6A297C3-78CA-45F2-86E4-09494C5C5B4E}" dt="2024-07-24T16:14:52.056" v="3902" actId="478"/>
          <ac:picMkLst>
            <pc:docMk/>
            <pc:sldMk cId="1883354529" sldId="2147473246"/>
            <ac:picMk id="10" creationId="{32046DFD-88E8-B0AC-A8B3-B2409B05D54B}"/>
          </ac:picMkLst>
        </pc:picChg>
        <pc:picChg chg="del">
          <ac:chgData name="Joel Palmer" userId="eb83a932-ed40-427e-9624-9030307beb05" providerId="ADAL" clId="{C6A297C3-78CA-45F2-86E4-09494C5C5B4E}" dt="2024-07-24T16:14:53.993" v="3903" actId="478"/>
          <ac:picMkLst>
            <pc:docMk/>
            <pc:sldMk cId="1883354529" sldId="2147473246"/>
            <ac:picMk id="12" creationId="{1A445E1C-D390-DF91-7600-C45DD129383E}"/>
          </ac:picMkLst>
        </pc:picChg>
        <pc:picChg chg="mod topLvl">
          <ac:chgData name="Joel Palmer" userId="eb83a932-ed40-427e-9624-9030307beb05" providerId="ADAL" clId="{C6A297C3-78CA-45F2-86E4-09494C5C5B4E}" dt="2024-07-24T19:50:55.291" v="5569" actId="12789"/>
          <ac:picMkLst>
            <pc:docMk/>
            <pc:sldMk cId="1883354529" sldId="2147473246"/>
            <ac:picMk id="16" creationId="{88D0E05F-96AC-82E4-DD39-0B2AD4BA789F}"/>
          </ac:picMkLst>
        </pc:picChg>
        <pc:picChg chg="mod topLvl">
          <ac:chgData name="Joel Palmer" userId="eb83a932-ed40-427e-9624-9030307beb05" providerId="ADAL" clId="{C6A297C3-78CA-45F2-86E4-09494C5C5B4E}" dt="2024-07-24T19:50:50.404" v="5568" actId="12789"/>
          <ac:picMkLst>
            <pc:docMk/>
            <pc:sldMk cId="1883354529" sldId="2147473246"/>
            <ac:picMk id="17" creationId="{17414220-FC24-AF76-A666-549C40629242}"/>
          </ac:picMkLst>
        </pc:picChg>
        <pc:picChg chg="mod topLvl">
          <ac:chgData name="Joel Palmer" userId="eb83a932-ed40-427e-9624-9030307beb05" providerId="ADAL" clId="{C6A297C3-78CA-45F2-86E4-09494C5C5B4E}" dt="2024-07-24T19:51:03.690" v="5570" actId="12788"/>
          <ac:picMkLst>
            <pc:docMk/>
            <pc:sldMk cId="1883354529" sldId="2147473246"/>
            <ac:picMk id="18" creationId="{9DEB64A8-9A3A-583F-72B1-A23A3031671E}"/>
          </ac:picMkLst>
        </pc:picChg>
        <pc:picChg chg="add mod">
          <ac:chgData name="Joel Palmer" userId="eb83a932-ed40-427e-9624-9030307beb05" providerId="ADAL" clId="{C6A297C3-78CA-45F2-86E4-09494C5C5B4E}" dt="2024-07-24T19:50:45.856" v="5567" actId="12789"/>
          <ac:picMkLst>
            <pc:docMk/>
            <pc:sldMk cId="1883354529" sldId="2147473246"/>
            <ac:picMk id="26" creationId="{99DDFE89-276C-C533-7685-87C7E5B51CC3}"/>
          </ac:picMkLst>
        </pc:picChg>
        <pc:extLst>
          <p:ext xmlns:p="http://schemas.openxmlformats.org/presentationml/2006/main" uri="{D6D511B9-2390-475A-947B-AFAB55BFBCF1}">
            <pc226:cmChg xmlns:pc226="http://schemas.microsoft.com/office/powerpoint/2022/06/main/command" chg="del">
              <pc226:chgData name="Joel Palmer" userId="eb83a932-ed40-427e-9624-9030307beb05" providerId="ADAL" clId="{C6A297C3-78CA-45F2-86E4-09494C5C5B4E}" dt="2024-07-24T16:17:23.925" v="3936"/>
              <pc2:cmMkLst xmlns:pc2="http://schemas.microsoft.com/office/powerpoint/2019/9/main/command">
                <pc:docMk/>
                <pc:sldMk cId="1883354529" sldId="2147473246"/>
                <pc2:cmMk id="{AD1D0B03-3E60-4C5D-BBF7-214248D6ED56}"/>
              </pc2:cmMkLst>
            </pc226:cmChg>
          </p:ext>
        </pc:extLst>
      </pc:sldChg>
      <pc:sldChg chg="ord">
        <pc:chgData name="Joel Palmer" userId="eb83a932-ed40-427e-9624-9030307beb05" providerId="ADAL" clId="{C6A297C3-78CA-45F2-86E4-09494C5C5B4E}" dt="2024-07-24T21:13:50.483" v="5628"/>
        <pc:sldMkLst>
          <pc:docMk/>
          <pc:sldMk cId="2939565954" sldId="2147473247"/>
        </pc:sldMkLst>
      </pc:sldChg>
      <pc:sldChg chg="ord">
        <pc:chgData name="Joel Palmer" userId="eb83a932-ed40-427e-9624-9030307beb05" providerId="ADAL" clId="{C6A297C3-78CA-45F2-86E4-09494C5C5B4E}" dt="2024-07-24T22:17:54.452" v="5681"/>
        <pc:sldMkLst>
          <pc:docMk/>
          <pc:sldMk cId="975883678" sldId="2147473248"/>
        </pc:sldMkLst>
      </pc:sldChg>
      <pc:sldChg chg="addSp delSp modSp mod">
        <pc:chgData name="Joel Palmer" userId="eb83a932-ed40-427e-9624-9030307beb05" providerId="ADAL" clId="{C6A297C3-78CA-45F2-86E4-09494C5C5B4E}" dt="2024-07-24T22:16:48.120" v="5675" actId="478"/>
        <pc:sldMkLst>
          <pc:docMk/>
          <pc:sldMk cId="4169272708" sldId="2147473249"/>
        </pc:sldMkLst>
        <pc:spChg chg="add mod">
          <ac:chgData name="Joel Palmer" userId="eb83a932-ed40-427e-9624-9030307beb05" providerId="ADAL" clId="{C6A297C3-78CA-45F2-86E4-09494C5C5B4E}" dt="2024-07-24T22:16:39.585" v="5673" actId="20577"/>
          <ac:spMkLst>
            <pc:docMk/>
            <pc:sldMk cId="4169272708" sldId="2147473249"/>
            <ac:spMk id="2" creationId="{D19B8EE4-3634-78EA-DFBD-ACF510B3885F}"/>
          </ac:spMkLst>
        </pc:spChg>
        <pc:spChg chg="del">
          <ac:chgData name="Joel Palmer" userId="eb83a932-ed40-427e-9624-9030307beb05" providerId="ADAL" clId="{C6A297C3-78CA-45F2-86E4-09494C5C5B4E}" dt="2024-07-24T22:16:46.333" v="5674" actId="478"/>
          <ac:spMkLst>
            <pc:docMk/>
            <pc:sldMk cId="4169272708" sldId="2147473249"/>
            <ac:spMk id="3" creationId="{C6D713C4-61E9-8514-FC7C-99EB9DF0F57A}"/>
          </ac:spMkLst>
        </pc:spChg>
        <pc:spChg chg="add del mod">
          <ac:chgData name="Joel Palmer" userId="eb83a932-ed40-427e-9624-9030307beb05" providerId="ADAL" clId="{C6A297C3-78CA-45F2-86E4-09494C5C5B4E}" dt="2024-07-24T22:16:48.120" v="5675" actId="478"/>
          <ac:spMkLst>
            <pc:docMk/>
            <pc:sldMk cId="4169272708" sldId="2147473249"/>
            <ac:spMk id="6" creationId="{A76309B2-E961-6838-C2EB-AF05C34F62A5}"/>
          </ac:spMkLst>
        </pc:spChg>
      </pc:sldChg>
      <pc:sldChg chg="addSp delSp modSp mod">
        <pc:chgData name="Joel Palmer" userId="eb83a932-ed40-427e-9624-9030307beb05" providerId="ADAL" clId="{C6A297C3-78CA-45F2-86E4-09494C5C5B4E}" dt="2024-07-24T22:16:27.787" v="5664" actId="478"/>
        <pc:sldMkLst>
          <pc:docMk/>
          <pc:sldMk cId="2192708937" sldId="2147473250"/>
        </pc:sldMkLst>
        <pc:spChg chg="del">
          <ac:chgData name="Joel Palmer" userId="eb83a932-ed40-427e-9624-9030307beb05" providerId="ADAL" clId="{C6A297C3-78CA-45F2-86E4-09494C5C5B4E}" dt="2024-07-24T22:16:26.210" v="5663" actId="478"/>
          <ac:spMkLst>
            <pc:docMk/>
            <pc:sldMk cId="2192708937" sldId="2147473250"/>
            <ac:spMk id="3" creationId="{E30D6F01-8F5A-F203-F332-DBC7E1696E1D}"/>
          </ac:spMkLst>
        </pc:spChg>
        <pc:spChg chg="add mod">
          <ac:chgData name="Joel Palmer" userId="eb83a932-ed40-427e-9624-9030307beb05" providerId="ADAL" clId="{C6A297C3-78CA-45F2-86E4-09494C5C5B4E}" dt="2024-07-24T22:16:22.737" v="5662" actId="20577"/>
          <ac:spMkLst>
            <pc:docMk/>
            <pc:sldMk cId="2192708937" sldId="2147473250"/>
            <ac:spMk id="26" creationId="{B1513E89-7556-FDD5-1FA3-28FEE0418A4B}"/>
          </ac:spMkLst>
        </pc:spChg>
        <pc:spChg chg="add del mod">
          <ac:chgData name="Joel Palmer" userId="eb83a932-ed40-427e-9624-9030307beb05" providerId="ADAL" clId="{C6A297C3-78CA-45F2-86E4-09494C5C5B4E}" dt="2024-07-24T22:16:27.787" v="5664" actId="478"/>
          <ac:spMkLst>
            <pc:docMk/>
            <pc:sldMk cId="2192708937" sldId="2147473250"/>
            <ac:spMk id="46" creationId="{F2CB39A6-257B-454D-877A-73F7A54B261D}"/>
          </ac:spMkLst>
        </pc:spChg>
      </pc:sldChg>
      <pc:sldChg chg="del">
        <pc:chgData name="Joel Palmer" userId="eb83a932-ed40-427e-9624-9030307beb05" providerId="ADAL" clId="{C6A297C3-78CA-45F2-86E4-09494C5C5B4E}" dt="2024-07-24T21:13:52.439" v="5629" actId="47"/>
        <pc:sldMkLst>
          <pc:docMk/>
          <pc:sldMk cId="1513695293" sldId="2147473253"/>
        </pc:sldMkLst>
      </pc:sldChg>
      <pc:sldMasterChg chg="addSp delSp modSp mod">
        <pc:chgData name="Joel Palmer" userId="eb83a932-ed40-427e-9624-9030307beb05" providerId="ADAL" clId="{C6A297C3-78CA-45F2-86E4-09494C5C5B4E}" dt="2024-07-23T16:25:59.430" v="444"/>
        <pc:sldMasterMkLst>
          <pc:docMk/>
          <pc:sldMasterMk cId="657117285" sldId="2147483950"/>
        </pc:sldMasterMkLst>
        <pc:spChg chg="del">
          <ac:chgData name="Joel Palmer" userId="eb83a932-ed40-427e-9624-9030307beb05" providerId="ADAL" clId="{C6A297C3-78CA-45F2-86E4-09494C5C5B4E}" dt="2024-07-23T15:47:15.465" v="0" actId="478"/>
          <ac:spMkLst>
            <pc:docMk/>
            <pc:sldMasterMk cId="657117285" sldId="2147483950"/>
            <ac:spMk id="4" creationId="{E45E8B21-4ADF-F321-3C11-5C1DBD3921D4}"/>
          </ac:spMkLst>
        </pc:spChg>
        <pc:spChg chg="add mod">
          <ac:chgData name="Joel Palmer" userId="eb83a932-ed40-427e-9624-9030307beb05" providerId="ADAL" clId="{C6A297C3-78CA-45F2-86E4-09494C5C5B4E}" dt="2024-07-23T16:25:59.430" v="444"/>
          <ac:spMkLst>
            <pc:docMk/>
            <pc:sldMasterMk cId="657117285" sldId="2147483950"/>
            <ac:spMk id="5" creationId="{28A20BA0-F44D-75DD-9D98-BA04ED5553B9}"/>
          </ac:spMkLst>
        </pc:spChg>
        <pc:spChg chg="add mod">
          <ac:chgData name="Joel Palmer" userId="eb83a932-ed40-427e-9624-9030307beb05" providerId="ADAL" clId="{C6A297C3-78CA-45F2-86E4-09494C5C5B4E}" dt="2024-07-23T16:25:59.430" v="444"/>
          <ac:spMkLst>
            <pc:docMk/>
            <pc:sldMasterMk cId="657117285" sldId="2147483950"/>
            <ac:spMk id="7" creationId="{547862B6-C064-FBDB-108A-A8C9542C7E56}"/>
          </ac:spMkLst>
        </pc:spChg>
        <pc:spChg chg="add mod">
          <ac:chgData name="Joel Palmer" userId="eb83a932-ed40-427e-9624-9030307beb05" providerId="ADAL" clId="{C6A297C3-78CA-45F2-86E4-09494C5C5B4E}" dt="2024-07-23T16:25:59.430" v="444"/>
          <ac:spMkLst>
            <pc:docMk/>
            <pc:sldMasterMk cId="657117285" sldId="2147483950"/>
            <ac:spMk id="8" creationId="{8A2518B3-9CEB-2C08-0C3A-65BC18A3D13C}"/>
          </ac:spMkLst>
        </pc:spChg>
        <pc:spChg chg="add mod">
          <ac:chgData name="Joel Palmer" userId="eb83a932-ed40-427e-9624-9030307beb05" providerId="ADAL" clId="{C6A297C3-78CA-45F2-86E4-09494C5C5B4E}" dt="2024-07-23T16:25:59.430" v="444"/>
          <ac:spMkLst>
            <pc:docMk/>
            <pc:sldMasterMk cId="657117285" sldId="2147483950"/>
            <ac:spMk id="10" creationId="{63792BA8-EDBE-43EE-3173-682532A3CB07}"/>
          </ac:spMkLst>
        </pc:spChg>
        <pc:spChg chg="add mod">
          <ac:chgData name="Joel Palmer" userId="eb83a932-ed40-427e-9624-9030307beb05" providerId="ADAL" clId="{C6A297C3-78CA-45F2-86E4-09494C5C5B4E}" dt="2024-07-23T16:25:59.430" v="444"/>
          <ac:spMkLst>
            <pc:docMk/>
            <pc:sldMasterMk cId="657117285" sldId="2147483950"/>
            <ac:spMk id="11" creationId="{D6FD0E02-F00E-556D-00B7-5FE679CF4603}"/>
          </ac:spMkLst>
        </pc:spChg>
        <pc:spChg chg="add mod">
          <ac:chgData name="Joel Palmer" userId="eb83a932-ed40-427e-9624-9030307beb05" providerId="ADAL" clId="{C6A297C3-78CA-45F2-86E4-09494C5C5B4E}" dt="2024-07-23T16:25:59.430" v="444"/>
          <ac:spMkLst>
            <pc:docMk/>
            <pc:sldMasterMk cId="657117285" sldId="2147483950"/>
            <ac:spMk id="12" creationId="{582867A0-B9A8-27A6-10B5-A6DB8EA39F39}"/>
          </ac:spMkLst>
        </pc:spChg>
      </pc:sldMasterChg>
      <pc:sldMasterChg chg="addSp delSp modSp mod">
        <pc:chgData name="Joel Palmer" userId="eb83a932-ed40-427e-9624-9030307beb05" providerId="ADAL" clId="{C6A297C3-78CA-45F2-86E4-09494C5C5B4E}" dt="2024-07-23T16:26:02.738" v="445"/>
        <pc:sldMasterMkLst>
          <pc:docMk/>
          <pc:sldMasterMk cId="3070364208" sldId="2147483997"/>
        </pc:sldMasterMkLst>
        <pc:spChg chg="del">
          <ac:chgData name="Joel Palmer" userId="eb83a932-ed40-427e-9624-9030307beb05" providerId="ADAL" clId="{C6A297C3-78CA-45F2-86E4-09494C5C5B4E}" dt="2024-07-23T15:47:19.169" v="1" actId="478"/>
          <ac:spMkLst>
            <pc:docMk/>
            <pc:sldMasterMk cId="3070364208" sldId="2147483997"/>
            <ac:spMk id="4" creationId="{CF60526B-4392-DEC2-5C71-8B616386398E}"/>
          </ac:spMkLst>
        </pc:spChg>
        <pc:spChg chg="add mod">
          <ac:chgData name="Joel Palmer" userId="eb83a932-ed40-427e-9624-9030307beb05" providerId="ADAL" clId="{C6A297C3-78CA-45F2-86E4-09494C5C5B4E}" dt="2024-07-23T16:26:02.738" v="445"/>
          <ac:spMkLst>
            <pc:docMk/>
            <pc:sldMasterMk cId="3070364208" sldId="2147483997"/>
            <ac:spMk id="5" creationId="{E873B304-298C-8C24-9498-E682DAB0C49D}"/>
          </ac:spMkLst>
        </pc:spChg>
        <pc:spChg chg="del">
          <ac:chgData name="Joel Palmer" userId="eb83a932-ed40-427e-9624-9030307beb05" providerId="ADAL" clId="{C6A297C3-78CA-45F2-86E4-09494C5C5B4E}" dt="2024-07-23T15:47:24.493" v="2" actId="478"/>
          <ac:spMkLst>
            <pc:docMk/>
            <pc:sldMasterMk cId="3070364208" sldId="2147483997"/>
            <ac:spMk id="6" creationId="{B43201D0-8105-DA4D-44A8-65FF28A41971}"/>
          </ac:spMkLst>
        </pc:spChg>
        <pc:spChg chg="add mod">
          <ac:chgData name="Joel Palmer" userId="eb83a932-ed40-427e-9624-9030307beb05" providerId="ADAL" clId="{C6A297C3-78CA-45F2-86E4-09494C5C5B4E}" dt="2024-07-23T16:26:02.738" v="445"/>
          <ac:spMkLst>
            <pc:docMk/>
            <pc:sldMasterMk cId="3070364208" sldId="2147483997"/>
            <ac:spMk id="7" creationId="{19641B16-3110-601B-CA54-F13232DC52C0}"/>
          </ac:spMkLst>
        </pc:spChg>
        <pc:spChg chg="add mod">
          <ac:chgData name="Joel Palmer" userId="eb83a932-ed40-427e-9624-9030307beb05" providerId="ADAL" clId="{C6A297C3-78CA-45F2-86E4-09494C5C5B4E}" dt="2024-07-23T16:26:02.738" v="445"/>
          <ac:spMkLst>
            <pc:docMk/>
            <pc:sldMasterMk cId="3070364208" sldId="2147483997"/>
            <ac:spMk id="8" creationId="{883B49F7-9DC1-00DD-4FF7-50C85C39452E}"/>
          </ac:spMkLst>
        </pc:spChg>
        <pc:spChg chg="add mod">
          <ac:chgData name="Joel Palmer" userId="eb83a932-ed40-427e-9624-9030307beb05" providerId="ADAL" clId="{C6A297C3-78CA-45F2-86E4-09494C5C5B4E}" dt="2024-07-23T16:26:02.738" v="445"/>
          <ac:spMkLst>
            <pc:docMk/>
            <pc:sldMasterMk cId="3070364208" sldId="2147483997"/>
            <ac:spMk id="10" creationId="{ACC1BE02-C54B-EEE2-A6B4-538BBB6974B2}"/>
          </ac:spMkLst>
        </pc:spChg>
        <pc:spChg chg="add mod">
          <ac:chgData name="Joel Palmer" userId="eb83a932-ed40-427e-9624-9030307beb05" providerId="ADAL" clId="{C6A297C3-78CA-45F2-86E4-09494C5C5B4E}" dt="2024-07-23T16:26:02.738" v="445"/>
          <ac:spMkLst>
            <pc:docMk/>
            <pc:sldMasterMk cId="3070364208" sldId="2147483997"/>
            <ac:spMk id="11" creationId="{F3218F3B-6416-1A0E-3772-468BC081AD58}"/>
          </ac:spMkLst>
        </pc:spChg>
        <pc:spChg chg="add mod">
          <ac:chgData name="Joel Palmer" userId="eb83a932-ed40-427e-9624-9030307beb05" providerId="ADAL" clId="{C6A297C3-78CA-45F2-86E4-09494C5C5B4E}" dt="2024-07-23T16:26:02.738" v="445"/>
          <ac:spMkLst>
            <pc:docMk/>
            <pc:sldMasterMk cId="3070364208" sldId="2147483997"/>
            <ac:spMk id="12" creationId="{10B9EAFE-99E8-BAA2-23AF-2F9E94C90D9D}"/>
          </ac:spMkLst>
        </pc:spChg>
      </pc:sldMasterChg>
      <pc:sldMasterChg chg="addSp delSp modSp mod">
        <pc:chgData name="Joel Palmer" userId="eb83a932-ed40-427e-9624-9030307beb05" providerId="ADAL" clId="{C6A297C3-78CA-45F2-86E4-09494C5C5B4E}" dt="2024-07-23T16:26:05.539" v="446"/>
        <pc:sldMasterMkLst>
          <pc:docMk/>
          <pc:sldMasterMk cId="1062126388" sldId="2147484003"/>
        </pc:sldMasterMkLst>
        <pc:spChg chg="add mod">
          <ac:chgData name="Joel Palmer" userId="eb83a932-ed40-427e-9624-9030307beb05" providerId="ADAL" clId="{C6A297C3-78CA-45F2-86E4-09494C5C5B4E}" dt="2024-07-23T16:26:05.539" v="446"/>
          <ac:spMkLst>
            <pc:docMk/>
            <pc:sldMasterMk cId="1062126388" sldId="2147484003"/>
            <ac:spMk id="4" creationId="{3BC6A38C-1303-39F2-4890-5541919CFD78}"/>
          </ac:spMkLst>
        </pc:spChg>
        <pc:spChg chg="del">
          <ac:chgData name="Joel Palmer" userId="eb83a932-ed40-427e-9624-9030307beb05" providerId="ADAL" clId="{C6A297C3-78CA-45F2-86E4-09494C5C5B4E}" dt="2024-07-23T15:47:32.224" v="4" actId="478"/>
          <ac:spMkLst>
            <pc:docMk/>
            <pc:sldMasterMk cId="1062126388" sldId="2147484003"/>
            <ac:spMk id="6" creationId="{B43201D0-8105-DA4D-44A8-65FF28A41971}"/>
          </ac:spMkLst>
        </pc:spChg>
        <pc:spChg chg="add mod">
          <ac:chgData name="Joel Palmer" userId="eb83a932-ed40-427e-9624-9030307beb05" providerId="ADAL" clId="{C6A297C3-78CA-45F2-86E4-09494C5C5B4E}" dt="2024-07-23T16:26:05.539" v="446"/>
          <ac:spMkLst>
            <pc:docMk/>
            <pc:sldMasterMk cId="1062126388" sldId="2147484003"/>
            <ac:spMk id="7" creationId="{683E076A-4514-C883-0E03-2EE3650EBD14}"/>
          </ac:spMkLst>
        </pc:spChg>
        <pc:spChg chg="add mod">
          <ac:chgData name="Joel Palmer" userId="eb83a932-ed40-427e-9624-9030307beb05" providerId="ADAL" clId="{C6A297C3-78CA-45F2-86E4-09494C5C5B4E}" dt="2024-07-23T16:26:05.539" v="446"/>
          <ac:spMkLst>
            <pc:docMk/>
            <pc:sldMasterMk cId="1062126388" sldId="2147484003"/>
            <ac:spMk id="8" creationId="{AB00BFBC-6F26-A574-016E-855CDF38B96E}"/>
          </ac:spMkLst>
        </pc:spChg>
        <pc:spChg chg="add mod">
          <ac:chgData name="Joel Palmer" userId="eb83a932-ed40-427e-9624-9030307beb05" providerId="ADAL" clId="{C6A297C3-78CA-45F2-86E4-09494C5C5B4E}" dt="2024-07-23T16:26:05.539" v="446"/>
          <ac:spMkLst>
            <pc:docMk/>
            <pc:sldMasterMk cId="1062126388" sldId="2147484003"/>
            <ac:spMk id="10" creationId="{815E9A79-4BD4-644D-9D99-8440E079A872}"/>
          </ac:spMkLst>
        </pc:spChg>
        <pc:spChg chg="add mod">
          <ac:chgData name="Joel Palmer" userId="eb83a932-ed40-427e-9624-9030307beb05" providerId="ADAL" clId="{C6A297C3-78CA-45F2-86E4-09494C5C5B4E}" dt="2024-07-23T16:26:05.539" v="446"/>
          <ac:spMkLst>
            <pc:docMk/>
            <pc:sldMasterMk cId="1062126388" sldId="2147484003"/>
            <ac:spMk id="11" creationId="{31BBB462-781B-302E-894F-66F9EE568A32}"/>
          </ac:spMkLst>
        </pc:spChg>
        <pc:spChg chg="add mod">
          <ac:chgData name="Joel Palmer" userId="eb83a932-ed40-427e-9624-9030307beb05" providerId="ADAL" clId="{C6A297C3-78CA-45F2-86E4-09494C5C5B4E}" dt="2024-07-23T16:26:05.539" v="446"/>
          <ac:spMkLst>
            <pc:docMk/>
            <pc:sldMasterMk cId="1062126388" sldId="2147484003"/>
            <ac:spMk id="12" creationId="{6DB7933D-A33A-AC43-705A-5D56B2018196}"/>
          </ac:spMkLst>
        </pc:spChg>
        <pc:picChg chg="del">
          <ac:chgData name="Joel Palmer" userId="eb83a932-ed40-427e-9624-9030307beb05" providerId="ADAL" clId="{C6A297C3-78CA-45F2-86E4-09494C5C5B4E}" dt="2024-07-23T15:47:31.250" v="3" actId="478"/>
          <ac:picMkLst>
            <pc:docMk/>
            <pc:sldMasterMk cId="1062126388" sldId="2147484003"/>
            <ac:picMk id="5" creationId="{B606E0DF-D52D-757F-ED8E-3C1FE1F31987}"/>
          </ac:picMkLst>
        </pc:picChg>
      </pc:sldMasterChg>
      <pc:sldMasterChg chg="addSp delSp modSp mod">
        <pc:chgData name="Joel Palmer" userId="eb83a932-ed40-427e-9624-9030307beb05" providerId="ADAL" clId="{C6A297C3-78CA-45F2-86E4-09494C5C5B4E}" dt="2024-07-23T16:26:07.799" v="447"/>
        <pc:sldMasterMkLst>
          <pc:docMk/>
          <pc:sldMasterMk cId="3605980566" sldId="2147484009"/>
        </pc:sldMasterMkLst>
        <pc:spChg chg="del">
          <ac:chgData name="Joel Palmer" userId="eb83a932-ed40-427e-9624-9030307beb05" providerId="ADAL" clId="{C6A297C3-78CA-45F2-86E4-09494C5C5B4E}" dt="2024-07-23T15:47:37.288" v="6" actId="478"/>
          <ac:spMkLst>
            <pc:docMk/>
            <pc:sldMasterMk cId="3605980566" sldId="2147484009"/>
            <ac:spMk id="4" creationId="{F8EEA708-D8F5-560B-EE0D-34EF38D9CC80}"/>
          </ac:spMkLst>
        </pc:spChg>
        <pc:spChg chg="del">
          <ac:chgData name="Joel Palmer" userId="eb83a932-ed40-427e-9624-9030307beb05" providerId="ADAL" clId="{C6A297C3-78CA-45F2-86E4-09494C5C5B4E}" dt="2024-07-23T15:47:36.656" v="5" actId="478"/>
          <ac:spMkLst>
            <pc:docMk/>
            <pc:sldMasterMk cId="3605980566" sldId="2147484009"/>
            <ac:spMk id="5" creationId="{67739262-FB3E-AEC6-19C6-DCA0DD75AC94}"/>
          </ac:spMkLst>
        </pc:spChg>
        <pc:spChg chg="add mod">
          <ac:chgData name="Joel Palmer" userId="eb83a932-ed40-427e-9624-9030307beb05" providerId="ADAL" clId="{C6A297C3-78CA-45F2-86E4-09494C5C5B4E}" dt="2024-07-23T16:26:07.799" v="447"/>
          <ac:spMkLst>
            <pc:docMk/>
            <pc:sldMasterMk cId="3605980566" sldId="2147484009"/>
            <ac:spMk id="6" creationId="{436D009D-35AF-1566-CF71-8857D1F93051}"/>
          </ac:spMkLst>
        </pc:spChg>
        <pc:spChg chg="add mod">
          <ac:chgData name="Joel Palmer" userId="eb83a932-ed40-427e-9624-9030307beb05" providerId="ADAL" clId="{C6A297C3-78CA-45F2-86E4-09494C5C5B4E}" dt="2024-07-23T16:26:07.799" v="447"/>
          <ac:spMkLst>
            <pc:docMk/>
            <pc:sldMasterMk cId="3605980566" sldId="2147484009"/>
            <ac:spMk id="7" creationId="{34AAE366-49C4-7DA4-9EFF-7DDD73F589A3}"/>
          </ac:spMkLst>
        </pc:spChg>
        <pc:spChg chg="add mod">
          <ac:chgData name="Joel Palmer" userId="eb83a932-ed40-427e-9624-9030307beb05" providerId="ADAL" clId="{C6A297C3-78CA-45F2-86E4-09494C5C5B4E}" dt="2024-07-23T16:26:07.799" v="447"/>
          <ac:spMkLst>
            <pc:docMk/>
            <pc:sldMasterMk cId="3605980566" sldId="2147484009"/>
            <ac:spMk id="8" creationId="{D817A02C-3DE8-959B-FC58-F8D3130EE85C}"/>
          </ac:spMkLst>
        </pc:spChg>
        <pc:spChg chg="add mod">
          <ac:chgData name="Joel Palmer" userId="eb83a932-ed40-427e-9624-9030307beb05" providerId="ADAL" clId="{C6A297C3-78CA-45F2-86E4-09494C5C5B4E}" dt="2024-07-23T16:26:07.799" v="447"/>
          <ac:spMkLst>
            <pc:docMk/>
            <pc:sldMasterMk cId="3605980566" sldId="2147484009"/>
            <ac:spMk id="10" creationId="{12FB1744-BDD4-5145-50FB-83E0614BC10D}"/>
          </ac:spMkLst>
        </pc:spChg>
        <pc:spChg chg="add mod">
          <ac:chgData name="Joel Palmer" userId="eb83a932-ed40-427e-9624-9030307beb05" providerId="ADAL" clId="{C6A297C3-78CA-45F2-86E4-09494C5C5B4E}" dt="2024-07-23T16:26:07.799" v="447"/>
          <ac:spMkLst>
            <pc:docMk/>
            <pc:sldMasterMk cId="3605980566" sldId="2147484009"/>
            <ac:spMk id="11" creationId="{CB4D0FFD-F94A-879B-F284-C156A82D58EA}"/>
          </ac:spMkLst>
        </pc:spChg>
        <pc:spChg chg="add mod">
          <ac:chgData name="Joel Palmer" userId="eb83a932-ed40-427e-9624-9030307beb05" providerId="ADAL" clId="{C6A297C3-78CA-45F2-86E4-09494C5C5B4E}" dt="2024-07-23T16:26:07.799" v="447"/>
          <ac:spMkLst>
            <pc:docMk/>
            <pc:sldMasterMk cId="3605980566" sldId="2147484009"/>
            <ac:spMk id="12" creationId="{1CC1BCA8-2545-D459-FD45-336A6CABCFA3}"/>
          </ac:spMkLst>
        </pc:spChg>
      </pc:sldMasterChg>
      <pc:sldMasterChg chg="addSp delSp modSp mod">
        <pc:chgData name="Joel Palmer" userId="eb83a932-ed40-427e-9624-9030307beb05" providerId="ADAL" clId="{C6A297C3-78CA-45F2-86E4-09494C5C5B4E}" dt="2024-07-23T16:26:10.242" v="448"/>
        <pc:sldMasterMkLst>
          <pc:docMk/>
          <pc:sldMasterMk cId="2936819504" sldId="2147484016"/>
        </pc:sldMasterMkLst>
        <pc:spChg chg="del">
          <ac:chgData name="Joel Palmer" userId="eb83a932-ed40-427e-9624-9030307beb05" providerId="ADAL" clId="{C6A297C3-78CA-45F2-86E4-09494C5C5B4E}" dt="2024-07-23T15:47:41.931" v="8" actId="478"/>
          <ac:spMkLst>
            <pc:docMk/>
            <pc:sldMasterMk cId="2936819504" sldId="2147484016"/>
            <ac:spMk id="4" creationId="{F8EEA708-D8F5-560B-EE0D-34EF38D9CC80}"/>
          </ac:spMkLst>
        </pc:spChg>
        <pc:spChg chg="add mod">
          <ac:chgData name="Joel Palmer" userId="eb83a932-ed40-427e-9624-9030307beb05" providerId="ADAL" clId="{C6A297C3-78CA-45F2-86E4-09494C5C5B4E}" dt="2024-07-23T16:26:10.242" v="448"/>
          <ac:spMkLst>
            <pc:docMk/>
            <pc:sldMasterMk cId="2936819504" sldId="2147484016"/>
            <ac:spMk id="5" creationId="{E00894E4-F969-11E8-E1A2-5C411577DD40}"/>
          </ac:spMkLst>
        </pc:spChg>
        <pc:spChg chg="add mod">
          <ac:chgData name="Joel Palmer" userId="eb83a932-ed40-427e-9624-9030307beb05" providerId="ADAL" clId="{C6A297C3-78CA-45F2-86E4-09494C5C5B4E}" dt="2024-07-23T16:26:10.242" v="448"/>
          <ac:spMkLst>
            <pc:docMk/>
            <pc:sldMasterMk cId="2936819504" sldId="2147484016"/>
            <ac:spMk id="6" creationId="{F981E9E7-5597-B604-A43C-D4D2DCFACE65}"/>
          </ac:spMkLst>
        </pc:spChg>
        <pc:spChg chg="add mod">
          <ac:chgData name="Joel Palmer" userId="eb83a932-ed40-427e-9624-9030307beb05" providerId="ADAL" clId="{C6A297C3-78CA-45F2-86E4-09494C5C5B4E}" dt="2024-07-23T16:26:10.242" v="448"/>
          <ac:spMkLst>
            <pc:docMk/>
            <pc:sldMasterMk cId="2936819504" sldId="2147484016"/>
            <ac:spMk id="8" creationId="{76B9F787-62AE-87A8-0A62-17600E1260D4}"/>
          </ac:spMkLst>
        </pc:spChg>
        <pc:spChg chg="add mod">
          <ac:chgData name="Joel Palmer" userId="eb83a932-ed40-427e-9624-9030307beb05" providerId="ADAL" clId="{C6A297C3-78CA-45F2-86E4-09494C5C5B4E}" dt="2024-07-23T16:26:10.242" v="448"/>
          <ac:spMkLst>
            <pc:docMk/>
            <pc:sldMasterMk cId="2936819504" sldId="2147484016"/>
            <ac:spMk id="10" creationId="{F41405DB-4EEA-BB9A-42D1-3D68A039B7B9}"/>
          </ac:spMkLst>
        </pc:spChg>
        <pc:spChg chg="add mod">
          <ac:chgData name="Joel Palmer" userId="eb83a932-ed40-427e-9624-9030307beb05" providerId="ADAL" clId="{C6A297C3-78CA-45F2-86E4-09494C5C5B4E}" dt="2024-07-23T16:26:10.242" v="448"/>
          <ac:spMkLst>
            <pc:docMk/>
            <pc:sldMasterMk cId="2936819504" sldId="2147484016"/>
            <ac:spMk id="11" creationId="{3298C808-383F-8764-5804-B1673E51BCAB}"/>
          </ac:spMkLst>
        </pc:spChg>
        <pc:spChg chg="add mod">
          <ac:chgData name="Joel Palmer" userId="eb83a932-ed40-427e-9624-9030307beb05" providerId="ADAL" clId="{C6A297C3-78CA-45F2-86E4-09494C5C5B4E}" dt="2024-07-23T16:26:10.242" v="448"/>
          <ac:spMkLst>
            <pc:docMk/>
            <pc:sldMasterMk cId="2936819504" sldId="2147484016"/>
            <ac:spMk id="12" creationId="{E7F4E467-E377-BA3F-28B4-7E434B855033}"/>
          </ac:spMkLst>
        </pc:spChg>
        <pc:picChg chg="del">
          <ac:chgData name="Joel Palmer" userId="eb83a932-ed40-427e-9624-9030307beb05" providerId="ADAL" clId="{C6A297C3-78CA-45F2-86E4-09494C5C5B4E}" dt="2024-07-23T15:47:40.488" v="7" actId="478"/>
          <ac:picMkLst>
            <pc:docMk/>
            <pc:sldMasterMk cId="2936819504" sldId="2147484016"/>
            <ac:picMk id="7" creationId="{48954A4F-E926-C799-A5E9-2836AE134AAD}"/>
          </ac:picMkLst>
        </pc:picChg>
      </pc:sldMasterChg>
      <pc:sldMasterChg chg="addSp delSp modSp mod">
        <pc:chgData name="Joel Palmer" userId="eb83a932-ed40-427e-9624-9030307beb05" providerId="ADAL" clId="{C6A297C3-78CA-45F2-86E4-09494C5C5B4E}" dt="2024-07-23T16:26:12.737" v="449"/>
        <pc:sldMasterMkLst>
          <pc:docMk/>
          <pc:sldMasterMk cId="2845666281" sldId="2147484023"/>
        </pc:sldMasterMkLst>
        <pc:spChg chg="del mod">
          <ac:chgData name="Joel Palmer" userId="eb83a932-ed40-427e-9624-9030307beb05" providerId="ADAL" clId="{C6A297C3-78CA-45F2-86E4-09494C5C5B4E}" dt="2024-07-23T15:47:46.735" v="11" actId="478"/>
          <ac:spMkLst>
            <pc:docMk/>
            <pc:sldMasterMk cId="2845666281" sldId="2147484023"/>
            <ac:spMk id="4" creationId="{F8EEA708-D8F5-560B-EE0D-34EF38D9CC80}"/>
          </ac:spMkLst>
        </pc:spChg>
        <pc:spChg chg="del">
          <ac:chgData name="Joel Palmer" userId="eb83a932-ed40-427e-9624-9030307beb05" providerId="ADAL" clId="{C6A297C3-78CA-45F2-86E4-09494C5C5B4E}" dt="2024-07-23T15:47:45.304" v="9" actId="478"/>
          <ac:spMkLst>
            <pc:docMk/>
            <pc:sldMasterMk cId="2845666281" sldId="2147484023"/>
            <ac:spMk id="5" creationId="{C68726FD-792C-5D09-091B-AC0A7F0BE289}"/>
          </ac:spMkLst>
        </pc:spChg>
        <pc:spChg chg="add mod">
          <ac:chgData name="Joel Palmer" userId="eb83a932-ed40-427e-9624-9030307beb05" providerId="ADAL" clId="{C6A297C3-78CA-45F2-86E4-09494C5C5B4E}" dt="2024-07-23T16:26:12.737" v="449"/>
          <ac:spMkLst>
            <pc:docMk/>
            <pc:sldMasterMk cId="2845666281" sldId="2147484023"/>
            <ac:spMk id="6" creationId="{FC081ACC-AD8D-395A-AC5E-FB7B08861571}"/>
          </ac:spMkLst>
        </pc:spChg>
        <pc:spChg chg="add mod">
          <ac:chgData name="Joel Palmer" userId="eb83a932-ed40-427e-9624-9030307beb05" providerId="ADAL" clId="{C6A297C3-78CA-45F2-86E4-09494C5C5B4E}" dt="2024-07-23T16:26:12.737" v="449"/>
          <ac:spMkLst>
            <pc:docMk/>
            <pc:sldMasterMk cId="2845666281" sldId="2147484023"/>
            <ac:spMk id="7" creationId="{CE91A4F4-4588-2683-6A81-AD48430F401F}"/>
          </ac:spMkLst>
        </pc:spChg>
        <pc:spChg chg="add mod">
          <ac:chgData name="Joel Palmer" userId="eb83a932-ed40-427e-9624-9030307beb05" providerId="ADAL" clId="{C6A297C3-78CA-45F2-86E4-09494C5C5B4E}" dt="2024-07-23T16:26:12.737" v="449"/>
          <ac:spMkLst>
            <pc:docMk/>
            <pc:sldMasterMk cId="2845666281" sldId="2147484023"/>
            <ac:spMk id="8" creationId="{97C508EA-C28B-08C8-6235-D791C86139FE}"/>
          </ac:spMkLst>
        </pc:spChg>
        <pc:spChg chg="add mod">
          <ac:chgData name="Joel Palmer" userId="eb83a932-ed40-427e-9624-9030307beb05" providerId="ADAL" clId="{C6A297C3-78CA-45F2-86E4-09494C5C5B4E}" dt="2024-07-23T16:26:12.737" v="449"/>
          <ac:spMkLst>
            <pc:docMk/>
            <pc:sldMasterMk cId="2845666281" sldId="2147484023"/>
            <ac:spMk id="10" creationId="{F87F5073-6D61-F467-02D6-06AD255404EA}"/>
          </ac:spMkLst>
        </pc:spChg>
        <pc:spChg chg="add mod">
          <ac:chgData name="Joel Palmer" userId="eb83a932-ed40-427e-9624-9030307beb05" providerId="ADAL" clId="{C6A297C3-78CA-45F2-86E4-09494C5C5B4E}" dt="2024-07-23T16:26:12.737" v="449"/>
          <ac:spMkLst>
            <pc:docMk/>
            <pc:sldMasterMk cId="2845666281" sldId="2147484023"/>
            <ac:spMk id="11" creationId="{B297136A-E5D5-C647-E33D-B376DFB9DE89}"/>
          </ac:spMkLst>
        </pc:spChg>
        <pc:spChg chg="add mod">
          <ac:chgData name="Joel Palmer" userId="eb83a932-ed40-427e-9624-9030307beb05" providerId="ADAL" clId="{C6A297C3-78CA-45F2-86E4-09494C5C5B4E}" dt="2024-07-23T16:26:12.737" v="449"/>
          <ac:spMkLst>
            <pc:docMk/>
            <pc:sldMasterMk cId="2845666281" sldId="2147484023"/>
            <ac:spMk id="12" creationId="{840007E8-4178-3860-9518-1DFE2D6D7F81}"/>
          </ac:spMkLst>
        </pc:spChg>
      </pc:sldMasterChg>
      <pc:sldMasterChg chg="addSp delSp modSp mod">
        <pc:chgData name="Joel Palmer" userId="eb83a932-ed40-427e-9624-9030307beb05" providerId="ADAL" clId="{C6A297C3-78CA-45F2-86E4-09494C5C5B4E}" dt="2024-07-23T16:26:16.044" v="450"/>
        <pc:sldMasterMkLst>
          <pc:docMk/>
          <pc:sldMasterMk cId="4233377527" sldId="2147484031"/>
        </pc:sldMasterMkLst>
        <pc:spChg chg="del">
          <ac:chgData name="Joel Palmer" userId="eb83a932-ed40-427e-9624-9030307beb05" providerId="ADAL" clId="{C6A297C3-78CA-45F2-86E4-09494C5C5B4E}" dt="2024-07-23T15:47:50.309" v="13" actId="478"/>
          <ac:spMkLst>
            <pc:docMk/>
            <pc:sldMasterMk cId="4233377527" sldId="2147484031"/>
            <ac:spMk id="4" creationId="{F8EEA708-D8F5-560B-EE0D-34EF38D9CC80}"/>
          </ac:spMkLst>
        </pc:spChg>
        <pc:spChg chg="del">
          <ac:chgData name="Joel Palmer" userId="eb83a932-ed40-427e-9624-9030307beb05" providerId="ADAL" clId="{C6A297C3-78CA-45F2-86E4-09494C5C5B4E}" dt="2024-07-23T15:47:49.520" v="12" actId="478"/>
          <ac:spMkLst>
            <pc:docMk/>
            <pc:sldMasterMk cId="4233377527" sldId="2147484031"/>
            <ac:spMk id="5" creationId="{EBC50129-6459-49F0-D6D8-6BD48123EE22}"/>
          </ac:spMkLst>
        </pc:spChg>
        <pc:spChg chg="add mod">
          <ac:chgData name="Joel Palmer" userId="eb83a932-ed40-427e-9624-9030307beb05" providerId="ADAL" clId="{C6A297C3-78CA-45F2-86E4-09494C5C5B4E}" dt="2024-07-23T16:26:16.044" v="450"/>
          <ac:spMkLst>
            <pc:docMk/>
            <pc:sldMasterMk cId="4233377527" sldId="2147484031"/>
            <ac:spMk id="6" creationId="{AFCF8D40-95B3-7D1E-9A9E-F0874C26AB85}"/>
          </ac:spMkLst>
        </pc:spChg>
        <pc:spChg chg="add mod">
          <ac:chgData name="Joel Palmer" userId="eb83a932-ed40-427e-9624-9030307beb05" providerId="ADAL" clId="{C6A297C3-78CA-45F2-86E4-09494C5C5B4E}" dt="2024-07-23T16:26:16.044" v="450"/>
          <ac:spMkLst>
            <pc:docMk/>
            <pc:sldMasterMk cId="4233377527" sldId="2147484031"/>
            <ac:spMk id="7" creationId="{227A2FE9-AC55-E57B-8B07-992363399387}"/>
          </ac:spMkLst>
        </pc:spChg>
        <pc:spChg chg="add mod">
          <ac:chgData name="Joel Palmer" userId="eb83a932-ed40-427e-9624-9030307beb05" providerId="ADAL" clId="{C6A297C3-78CA-45F2-86E4-09494C5C5B4E}" dt="2024-07-23T16:26:16.044" v="450"/>
          <ac:spMkLst>
            <pc:docMk/>
            <pc:sldMasterMk cId="4233377527" sldId="2147484031"/>
            <ac:spMk id="8" creationId="{2BEDA2F7-3DF5-43E5-0C5F-781FB155D4B9}"/>
          </ac:spMkLst>
        </pc:spChg>
        <pc:spChg chg="add mod">
          <ac:chgData name="Joel Palmer" userId="eb83a932-ed40-427e-9624-9030307beb05" providerId="ADAL" clId="{C6A297C3-78CA-45F2-86E4-09494C5C5B4E}" dt="2024-07-23T16:26:16.044" v="450"/>
          <ac:spMkLst>
            <pc:docMk/>
            <pc:sldMasterMk cId="4233377527" sldId="2147484031"/>
            <ac:spMk id="10" creationId="{A0791801-2F8B-7C69-0DBE-67B916E8C3DD}"/>
          </ac:spMkLst>
        </pc:spChg>
        <pc:spChg chg="add mod">
          <ac:chgData name="Joel Palmer" userId="eb83a932-ed40-427e-9624-9030307beb05" providerId="ADAL" clId="{C6A297C3-78CA-45F2-86E4-09494C5C5B4E}" dt="2024-07-23T16:26:16.044" v="450"/>
          <ac:spMkLst>
            <pc:docMk/>
            <pc:sldMasterMk cId="4233377527" sldId="2147484031"/>
            <ac:spMk id="11" creationId="{638F8CA2-7D76-5F0F-474B-4B8AD489BC37}"/>
          </ac:spMkLst>
        </pc:spChg>
        <pc:spChg chg="add mod">
          <ac:chgData name="Joel Palmer" userId="eb83a932-ed40-427e-9624-9030307beb05" providerId="ADAL" clId="{C6A297C3-78CA-45F2-86E4-09494C5C5B4E}" dt="2024-07-23T16:26:16.044" v="450"/>
          <ac:spMkLst>
            <pc:docMk/>
            <pc:sldMasterMk cId="4233377527" sldId="2147484031"/>
            <ac:spMk id="12" creationId="{AEE958BD-B2AA-4B3E-1BF9-ED514972413D}"/>
          </ac:spMkLst>
        </pc:spChg>
      </pc:sldMasterChg>
      <pc:sldMasterChg chg="addSp modSp modSldLayout">
        <pc:chgData name="Joel Palmer" userId="eb83a932-ed40-427e-9624-9030307beb05" providerId="ADAL" clId="{C6A297C3-78CA-45F2-86E4-09494C5C5B4E}" dt="2024-07-24T02:20:50.698" v="3654" actId="478"/>
        <pc:sldMasterMkLst>
          <pc:docMk/>
          <pc:sldMasterMk cId="1067953793" sldId="2147484071"/>
        </pc:sldMasterMkLst>
        <pc:spChg chg="add mod">
          <ac:chgData name="Joel Palmer" userId="eb83a932-ed40-427e-9624-9030307beb05" providerId="ADAL" clId="{C6A297C3-78CA-45F2-86E4-09494C5C5B4E}" dt="2024-07-23T16:26:18.698" v="451"/>
          <ac:spMkLst>
            <pc:docMk/>
            <pc:sldMasterMk cId="1067953793" sldId="2147484071"/>
            <ac:spMk id="7" creationId="{1153E9AD-B250-210A-AB00-04020093806C}"/>
          </ac:spMkLst>
        </pc:spChg>
        <pc:spChg chg="add mod">
          <ac:chgData name="Joel Palmer" userId="eb83a932-ed40-427e-9624-9030307beb05" providerId="ADAL" clId="{C6A297C3-78CA-45F2-86E4-09494C5C5B4E}" dt="2024-07-23T16:26:18.698" v="451"/>
          <ac:spMkLst>
            <pc:docMk/>
            <pc:sldMasterMk cId="1067953793" sldId="2147484071"/>
            <ac:spMk id="8" creationId="{A4D9C644-246A-1AA8-F470-CBDE55E7BBDD}"/>
          </ac:spMkLst>
        </pc:spChg>
        <pc:spChg chg="add mod">
          <ac:chgData name="Joel Palmer" userId="eb83a932-ed40-427e-9624-9030307beb05" providerId="ADAL" clId="{C6A297C3-78CA-45F2-86E4-09494C5C5B4E}" dt="2024-07-23T16:26:18.698" v="451"/>
          <ac:spMkLst>
            <pc:docMk/>
            <pc:sldMasterMk cId="1067953793" sldId="2147484071"/>
            <ac:spMk id="9" creationId="{7F0C5EBB-1CEB-4E95-91FA-9E26859D695E}"/>
          </ac:spMkLst>
        </pc:spChg>
        <pc:spChg chg="add mod">
          <ac:chgData name="Joel Palmer" userId="eb83a932-ed40-427e-9624-9030307beb05" providerId="ADAL" clId="{C6A297C3-78CA-45F2-86E4-09494C5C5B4E}" dt="2024-07-23T16:26:18.698" v="451"/>
          <ac:spMkLst>
            <pc:docMk/>
            <pc:sldMasterMk cId="1067953793" sldId="2147484071"/>
            <ac:spMk id="10" creationId="{F9CF1A59-E501-2193-CA73-87CECE3D71B3}"/>
          </ac:spMkLst>
        </pc:spChg>
        <pc:spChg chg="add mod">
          <ac:chgData name="Joel Palmer" userId="eb83a932-ed40-427e-9624-9030307beb05" providerId="ADAL" clId="{C6A297C3-78CA-45F2-86E4-09494C5C5B4E}" dt="2024-07-23T16:26:18.698" v="451"/>
          <ac:spMkLst>
            <pc:docMk/>
            <pc:sldMasterMk cId="1067953793" sldId="2147484071"/>
            <ac:spMk id="11" creationId="{4674465C-ECBC-1A5C-EB2A-E4E991832E05}"/>
          </ac:spMkLst>
        </pc:spChg>
        <pc:spChg chg="add mod">
          <ac:chgData name="Joel Palmer" userId="eb83a932-ed40-427e-9624-9030307beb05" providerId="ADAL" clId="{C6A297C3-78CA-45F2-86E4-09494C5C5B4E}" dt="2024-07-23T16:26:18.698" v="451"/>
          <ac:spMkLst>
            <pc:docMk/>
            <pc:sldMasterMk cId="1067953793" sldId="2147484071"/>
            <ac:spMk id="12" creationId="{D061B086-8CB4-39D3-AC96-20D104AB1C13}"/>
          </ac:spMkLst>
        </pc:spChg>
        <pc:sldLayoutChg chg="delSp mod">
          <pc:chgData name="Joel Palmer" userId="eb83a932-ed40-427e-9624-9030307beb05" providerId="ADAL" clId="{C6A297C3-78CA-45F2-86E4-09494C5C5B4E}" dt="2024-07-23T16:13:20.339" v="292" actId="478"/>
          <pc:sldLayoutMkLst>
            <pc:docMk/>
            <pc:sldMasterMk cId="1067953793" sldId="2147484071"/>
            <pc:sldLayoutMk cId="2714999798" sldId="2147484068"/>
          </pc:sldLayoutMkLst>
          <pc:spChg chg="del">
            <ac:chgData name="Joel Palmer" userId="eb83a932-ed40-427e-9624-9030307beb05" providerId="ADAL" clId="{C6A297C3-78CA-45F2-86E4-09494C5C5B4E}" dt="2024-07-23T16:13:19.586" v="291" actId="478"/>
            <ac:spMkLst>
              <pc:docMk/>
              <pc:sldMasterMk cId="1067953793" sldId="2147484071"/>
              <pc:sldLayoutMk cId="2714999798" sldId="2147484068"/>
              <ac:spMk id="2" creationId="{0C81E44E-DB84-EF73-B52E-B607FBE691FA}"/>
            </ac:spMkLst>
          </pc:spChg>
          <pc:spChg chg="del">
            <ac:chgData name="Joel Palmer" userId="eb83a932-ed40-427e-9624-9030307beb05" providerId="ADAL" clId="{C6A297C3-78CA-45F2-86E4-09494C5C5B4E}" dt="2024-07-23T16:13:20.339" v="292" actId="478"/>
            <ac:spMkLst>
              <pc:docMk/>
              <pc:sldMasterMk cId="1067953793" sldId="2147484071"/>
              <pc:sldLayoutMk cId="2714999798" sldId="2147484068"/>
              <ac:spMk id="8" creationId="{F928C5C6-FF4B-B5D0-4EE6-2D88C88132CA}"/>
            </ac:spMkLst>
          </pc:spChg>
        </pc:sldLayoutChg>
        <pc:sldLayoutChg chg="delSp mod">
          <pc:chgData name="Joel Palmer" userId="eb83a932-ed40-427e-9624-9030307beb05" providerId="ADAL" clId="{C6A297C3-78CA-45F2-86E4-09494C5C5B4E}" dt="2024-07-24T02:20:50.698" v="3654" actId="478"/>
          <pc:sldLayoutMkLst>
            <pc:docMk/>
            <pc:sldMasterMk cId="1067953793" sldId="2147484071"/>
            <pc:sldLayoutMk cId="507653620" sldId="2147484083"/>
          </pc:sldLayoutMkLst>
          <pc:spChg chg="del">
            <ac:chgData name="Joel Palmer" userId="eb83a932-ed40-427e-9624-9030307beb05" providerId="ADAL" clId="{C6A297C3-78CA-45F2-86E4-09494C5C5B4E}" dt="2024-07-24T02:20:50.698" v="3654" actId="478"/>
            <ac:spMkLst>
              <pc:docMk/>
              <pc:sldMasterMk cId="1067953793" sldId="2147484071"/>
              <pc:sldLayoutMk cId="507653620" sldId="2147484083"/>
              <ac:spMk id="12" creationId="{58AAD7CE-DDD6-732E-B9F5-19087AF0D34E}"/>
            </ac:spMkLst>
          </pc:spChg>
        </pc:sldLayoutChg>
        <pc:sldLayoutChg chg="delSp mod">
          <pc:chgData name="Joel Palmer" userId="eb83a932-ed40-427e-9624-9030307beb05" providerId="ADAL" clId="{C6A297C3-78CA-45F2-86E4-09494C5C5B4E}" dt="2024-07-23T16:13:34.833" v="293" actId="478"/>
          <pc:sldLayoutMkLst>
            <pc:docMk/>
            <pc:sldMasterMk cId="1067953793" sldId="2147484071"/>
            <pc:sldLayoutMk cId="2783725489" sldId="2147484084"/>
          </pc:sldLayoutMkLst>
          <pc:spChg chg="del">
            <ac:chgData name="Joel Palmer" userId="eb83a932-ed40-427e-9624-9030307beb05" providerId="ADAL" clId="{C6A297C3-78CA-45F2-86E4-09494C5C5B4E}" dt="2024-07-23T16:13:34.833" v="293" actId="478"/>
            <ac:spMkLst>
              <pc:docMk/>
              <pc:sldMasterMk cId="1067953793" sldId="2147484071"/>
              <pc:sldLayoutMk cId="2783725489" sldId="2147484084"/>
              <ac:spMk id="8" creationId="{F928C5C6-FF4B-B5D0-4EE6-2D88C88132CA}"/>
            </ac:spMkLst>
          </pc:spChg>
        </pc:sldLayoutChg>
        <pc:sldLayoutChg chg="delSp mod">
          <pc:chgData name="Joel Palmer" userId="eb83a932-ed40-427e-9624-9030307beb05" providerId="ADAL" clId="{C6A297C3-78CA-45F2-86E4-09494C5C5B4E}" dt="2024-07-23T16:13:11.357" v="290" actId="478"/>
          <pc:sldLayoutMkLst>
            <pc:docMk/>
            <pc:sldMasterMk cId="1067953793" sldId="2147484071"/>
            <pc:sldLayoutMk cId="1632605587" sldId="2147484086"/>
          </pc:sldLayoutMkLst>
          <pc:spChg chg="del">
            <ac:chgData name="Joel Palmer" userId="eb83a932-ed40-427e-9624-9030307beb05" providerId="ADAL" clId="{C6A297C3-78CA-45F2-86E4-09494C5C5B4E}" dt="2024-07-23T16:13:10.215" v="289" actId="478"/>
            <ac:spMkLst>
              <pc:docMk/>
              <pc:sldMasterMk cId="1067953793" sldId="2147484071"/>
              <pc:sldLayoutMk cId="1632605587" sldId="2147484086"/>
              <ac:spMk id="2" creationId="{5D3F3007-73A3-58EA-9AF5-F4733620EF8F}"/>
            </ac:spMkLst>
          </pc:spChg>
          <pc:spChg chg="del">
            <ac:chgData name="Joel Palmer" userId="eb83a932-ed40-427e-9624-9030307beb05" providerId="ADAL" clId="{C6A297C3-78CA-45F2-86E4-09494C5C5B4E}" dt="2024-07-23T16:13:11.357" v="290" actId="478"/>
            <ac:spMkLst>
              <pc:docMk/>
              <pc:sldMasterMk cId="1067953793" sldId="2147484071"/>
              <pc:sldLayoutMk cId="1632605587" sldId="2147484086"/>
              <ac:spMk id="7" creationId="{454F5C2C-AC0A-7D7F-CF6B-2E2F67252663}"/>
            </ac:spMkLst>
          </pc:spChg>
        </pc:sldLayoutChg>
      </pc:sldMasterChg>
      <pc:sldMasterChg chg="del delSldLayout">
        <pc:chgData name="Joel Palmer" userId="eb83a932-ed40-427e-9624-9030307beb05" providerId="ADAL" clId="{C6A297C3-78CA-45F2-86E4-09494C5C5B4E}" dt="2024-07-23T19:07:13.596" v="3234" actId="700"/>
        <pc:sldMasterMkLst>
          <pc:docMk/>
          <pc:sldMasterMk cId="2086318600" sldId="2147484087"/>
        </pc:sldMasterMkLst>
        <pc:sldLayoutChg chg="del">
          <pc:chgData name="Joel Palmer" userId="eb83a932-ed40-427e-9624-9030307beb05" providerId="ADAL" clId="{C6A297C3-78CA-45F2-86E4-09494C5C5B4E}" dt="2024-07-23T19:07:13.596" v="3234" actId="700"/>
          <pc:sldLayoutMkLst>
            <pc:docMk/>
            <pc:sldMasterMk cId="2086318600" sldId="2147484087"/>
            <pc:sldLayoutMk cId="1229885402" sldId="2147484088"/>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1846696656" sldId="2147484089"/>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1216812136" sldId="2147484090"/>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644822383" sldId="2147484091"/>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1808722095" sldId="2147484092"/>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4134019732" sldId="2147484093"/>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2033315927" sldId="2147484094"/>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1441623513" sldId="2147484095"/>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3576417795" sldId="2147484096"/>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3274282382" sldId="2147484097"/>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3873348151" sldId="2147484098"/>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1954093005" sldId="2147484099"/>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2559716003" sldId="2147484100"/>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528023463" sldId="2147484101"/>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446116921" sldId="2147484102"/>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1059694262" sldId="2147484103"/>
          </pc:sldLayoutMkLst>
        </pc:sldLayoutChg>
        <pc:sldLayoutChg chg="del">
          <pc:chgData name="Joel Palmer" userId="eb83a932-ed40-427e-9624-9030307beb05" providerId="ADAL" clId="{C6A297C3-78CA-45F2-86E4-09494C5C5B4E}" dt="2024-07-23T19:07:13.596" v="3234" actId="700"/>
          <pc:sldLayoutMkLst>
            <pc:docMk/>
            <pc:sldMasterMk cId="2086318600" sldId="2147484087"/>
            <pc:sldLayoutMk cId="4128728985" sldId="2147484104"/>
          </pc:sldLayoutMkLst>
        </pc:sldLayoutChg>
      </pc:sldMasterChg>
    </pc:docChg>
  </pc:docChgLst>
  <pc:docChgLst>
    <pc:chgData clId="Web-{27B191A0-8EF8-4E19-92B9-937B2F1AE4CE}"/>
    <pc:docChg chg="">
      <pc:chgData name="" userId="" providerId="" clId="Web-{27B191A0-8EF8-4E19-92B9-937B2F1AE4CE}" dt="2024-07-24T02:02:51.784" v="0"/>
      <pc:docMkLst>
        <pc:docMk/>
      </pc:docMkLst>
      <pc:sldChg chg="modCm">
        <pc:chgData name="" userId="" providerId="" clId="Web-{27B191A0-8EF8-4E19-92B9-937B2F1AE4CE}" dt="2024-07-24T02:02:51.784" v="0"/>
        <pc:sldMkLst>
          <pc:docMk/>
          <pc:sldMk cId="2902211712" sldId="2147472868"/>
        </pc:sldMkLst>
        <pc:extLst>
          <p:ext xmlns:p="http://schemas.openxmlformats.org/presentationml/2006/main" uri="{D6D511B9-2390-475A-947B-AFAB55BFBCF1}">
            <pc226:cmChg xmlns:pc226="http://schemas.microsoft.com/office/powerpoint/2022/06/main/command" chg="">
              <pc226:chgData name="" userId="" providerId="" clId="Web-{27B191A0-8EF8-4E19-92B9-937B2F1AE4CE}" dt="2024-07-24T02:02:51.784" v="0"/>
              <pc2:cmMkLst xmlns:pc2="http://schemas.microsoft.com/office/powerpoint/2019/9/main/command">
                <pc:docMk/>
                <pc:sldMk cId="2902211712" sldId="2147472868"/>
                <pc2:cmMk id="{69337BB0-4242-4EEC-91E5-3A1C992EE12D}"/>
              </pc2:cmMkLst>
              <pc226:cmRplyChg chg="add">
                <pc226:chgData name="" userId="" providerId="" clId="Web-{27B191A0-8EF8-4E19-92B9-937B2F1AE4CE}" dt="2024-07-24T02:02:51.784" v="0"/>
                <pc2:cmRplyMkLst xmlns:pc2="http://schemas.microsoft.com/office/powerpoint/2019/9/main/command">
                  <pc:docMk/>
                  <pc:sldMk cId="2902211712" sldId="2147472868"/>
                  <pc2:cmMk id="{69337BB0-4242-4EEC-91E5-3A1C992EE12D}"/>
                  <pc2:cmRplyMk id="{49D3DA6E-8DFE-475A-8A9A-5B61B3238953}"/>
                </pc2:cmRplyMkLst>
              </pc226:cmRplyChg>
            </pc226:cmChg>
          </p:ext>
        </pc:ext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22608755376598E-2"/>
          <c:y val="5.4248741962114627E-2"/>
          <c:w val="0.88354782489246808"/>
          <c:h val="0.89150251607577069"/>
        </c:manualLayout>
      </c:layout>
      <c:pie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419-7E4B-9654-588D5C200F5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419-7E4B-9654-588D5C200F5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419-7E4B-9654-588D5C200F5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419-7E4B-9654-588D5C200F57}"/>
              </c:ext>
            </c:extLst>
          </c:dPt>
          <c:dLbls>
            <c:dLbl>
              <c:idx val="0"/>
              <c:layout>
                <c:manualLayout>
                  <c:x val="-0.13368368862522226"/>
                  <c:y val="-0.31019480637607993"/>
                </c:manualLayout>
              </c:layout>
              <c:tx>
                <c:rich>
                  <a:bodyPr rot="0" spcFirstLastPara="1" vertOverflow="ellipsis" vert="horz" wrap="square" lIns="38100" tIns="19050" rIns="38100" bIns="19050" anchor="ctr" anchorCtr="1">
                    <a:noAutofit/>
                  </a:bodyPr>
                  <a:lstStyle/>
                  <a:p>
                    <a:pPr>
                      <a:defRPr sz="1600" b="1" i="0" u="none" strike="noStrike"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pPr>
                    <a:r>
                      <a:rPr lang="en-US" sz="1600">
                        <a:latin typeface="Verdana" panose="020B0604030504040204" pitchFamily="34" charset="0"/>
                        <a:ea typeface="Verdana" panose="020B0604030504040204" pitchFamily="34" charset="0"/>
                        <a:cs typeface="Verdana" panose="020B0604030504040204" pitchFamily="34" charset="0"/>
                      </a:rPr>
                      <a:t>CMG 66.4%</a:t>
                    </a:r>
                  </a:p>
                </c:rich>
              </c:tx>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29240300660216179"/>
                      <c:h val="0.15821694299176092"/>
                    </c:manualLayout>
                  </c15:layout>
                  <c15:showDataLabelsRange val="0"/>
                </c:ext>
                <c:ext xmlns:c16="http://schemas.microsoft.com/office/drawing/2014/chart" uri="{C3380CC4-5D6E-409C-BE32-E72D297353CC}">
                  <c16:uniqueId val="{00000001-2419-7E4B-9654-588D5C200F57}"/>
                </c:ext>
              </c:extLst>
            </c:dLbl>
            <c:dLbl>
              <c:idx val="1"/>
              <c:layout>
                <c:manualLayout>
                  <c:x val="0.16183194965529676"/>
                  <c:y val="4.4620821447412737E-2"/>
                </c:manualLayout>
              </c:layout>
              <c:tx>
                <c:rich>
                  <a:bodyPr rot="0" spcFirstLastPara="1" vertOverflow="ellipsis" vert="horz" wrap="square" lIns="38100" tIns="19050" rIns="38100" bIns="19050" anchor="ctr" anchorCtr="1">
                    <a:noAutofit/>
                  </a:bodyPr>
                  <a:lstStyle/>
                  <a:p>
                    <a:pPr>
                      <a:defRPr sz="1600" b="1" i="0" u="none" strike="noStrike"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pPr>
                    <a:r>
                      <a:rPr lang="en-US" sz="1600">
                        <a:latin typeface="Verdana" panose="020B0604030504040204" pitchFamily="34" charset="0"/>
                        <a:ea typeface="Verdana" panose="020B0604030504040204" pitchFamily="34" charset="0"/>
                        <a:cs typeface="Verdana" panose="020B0604030504040204" pitchFamily="34" charset="0"/>
                      </a:rPr>
                      <a:t>EL</a:t>
                    </a:r>
                    <a:r>
                      <a:rPr lang="en-US" sz="1600" baseline="0">
                        <a:latin typeface="Verdana" panose="020B0604030504040204" pitchFamily="34" charset="0"/>
                        <a:ea typeface="Verdana" panose="020B0604030504040204" pitchFamily="34" charset="0"/>
                        <a:cs typeface="Verdana" panose="020B0604030504040204" pitchFamily="34" charset="0"/>
                      </a:rPr>
                      <a:t> </a:t>
                    </a:r>
                    <a:fld id="{1076F45B-E856-D842-8D0B-54F382586AB8}" type="VALUE">
                      <a:rPr lang="en-US" sz="1600" smtClean="0">
                        <a:latin typeface="Verdana" panose="020B0604030504040204" pitchFamily="34" charset="0"/>
                        <a:ea typeface="Verdana" panose="020B0604030504040204" pitchFamily="34" charset="0"/>
                        <a:cs typeface="Verdana" panose="020B0604030504040204" pitchFamily="34" charset="0"/>
                      </a:rPr>
                      <a:pPr>
                        <a:defRPr sz="1600" b="1">
                          <a:solidFill>
                            <a:schemeClr val="bg1"/>
                          </a:solidFill>
                          <a:latin typeface="Verdana" panose="020B0604030504040204" pitchFamily="34" charset="0"/>
                          <a:ea typeface="Verdana" panose="020B0604030504040204" pitchFamily="34" charset="0"/>
                          <a:cs typeface="Verdana" panose="020B0604030504040204" pitchFamily="34" charset="0"/>
                        </a:defRPr>
                      </a:pPr>
                      <a:t>[VALUE]</a:t>
                    </a:fld>
                    <a:endParaRPr lang="en-US" sz="1600" baseline="0">
                      <a:latin typeface="Verdana" panose="020B0604030504040204" pitchFamily="34" charset="0"/>
                      <a:ea typeface="Verdana" panose="020B0604030504040204" pitchFamily="34" charset="0"/>
                      <a:cs typeface="Verdana" panose="020B0604030504040204"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2462134155240949"/>
                      <c:h val="0.14802659789652775"/>
                    </c:manualLayout>
                  </c15:layout>
                  <c15:dlblFieldTable/>
                  <c15:showDataLabelsRange val="0"/>
                </c:ext>
                <c:ext xmlns:c16="http://schemas.microsoft.com/office/drawing/2014/chart" uri="{C3380CC4-5D6E-409C-BE32-E72D297353CC}">
                  <c16:uniqueId val="{00000003-2419-7E4B-9654-588D5C200F57}"/>
                </c:ext>
              </c:extLst>
            </c:dLbl>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2419-7E4B-9654-588D5C200F5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2"/>
                <c:pt idx="0">
                  <c:v>CMG</c:v>
                </c:pt>
                <c:pt idx="1">
                  <c:v>EL</c:v>
                </c:pt>
              </c:strCache>
            </c:strRef>
          </c:cat>
          <c:val>
            <c:numRef>
              <c:f>Hoja1!$B$2:$B$5</c:f>
              <c:numCache>
                <c:formatCode>0.0%</c:formatCode>
                <c:ptCount val="4"/>
                <c:pt idx="0">
                  <c:v>0.66400000000000003</c:v>
                </c:pt>
                <c:pt idx="1">
                  <c:v>0.33600000000000002</c:v>
                </c:pt>
              </c:numCache>
            </c:numRef>
          </c:val>
          <c:extLst>
            <c:ext xmlns:c16="http://schemas.microsoft.com/office/drawing/2014/chart" uri="{C3380CC4-5D6E-409C-BE32-E72D297353CC}">
              <c16:uniqueId val="{00000008-2419-7E4B-9654-588D5C200F5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lumn1</c:v>
                </c:pt>
              </c:strCache>
            </c:strRef>
          </c:tx>
          <c:spPr>
            <a:ln w="28575" cap="rnd">
              <a:solidFill>
                <a:schemeClr val="accent1"/>
              </a:solidFill>
              <a:round/>
            </a:ln>
            <a:effectLst/>
          </c:spPr>
          <c:marker>
            <c:symbol val="none"/>
          </c:marker>
          <c:cat>
            <c:strRef>
              <c:f>Sheet1!$A$2:$A$6</c:f>
              <c:strCache>
                <c:ptCount val="5"/>
                <c:pt idx="0">
                  <c:v>Monday</c:v>
                </c:pt>
                <c:pt idx="1">
                  <c:v>Tuesday</c:v>
                </c:pt>
                <c:pt idx="2">
                  <c:v>Wednesday</c:v>
                </c:pt>
                <c:pt idx="3">
                  <c:v>Thursday</c:v>
                </c:pt>
                <c:pt idx="4">
                  <c:v>Friday</c:v>
                </c:pt>
              </c:strCache>
            </c:strRef>
          </c:cat>
          <c:val>
            <c:numRef>
              <c:f>Sheet1!$B$2:$B$6</c:f>
              <c:numCache>
                <c:formatCode>General</c:formatCode>
                <c:ptCount val="5"/>
                <c:pt idx="0">
                  <c:v>101.04</c:v>
                </c:pt>
                <c:pt idx="1">
                  <c:v>100.07</c:v>
                </c:pt>
                <c:pt idx="2">
                  <c:v>99.8</c:v>
                </c:pt>
                <c:pt idx="3">
                  <c:v>101.34</c:v>
                </c:pt>
              </c:numCache>
            </c:numRef>
          </c:val>
          <c:smooth val="0"/>
          <c:extLst>
            <c:ext xmlns:c16="http://schemas.microsoft.com/office/drawing/2014/chart" uri="{C3380CC4-5D6E-409C-BE32-E72D297353CC}">
              <c16:uniqueId val="{00000000-0616-8B4D-ABD4-297E36DA51C4}"/>
            </c:ext>
          </c:extLst>
        </c:ser>
        <c:dLbls>
          <c:showLegendKey val="0"/>
          <c:showVal val="0"/>
          <c:showCatName val="0"/>
          <c:showSerName val="0"/>
          <c:showPercent val="0"/>
          <c:showBubbleSize val="0"/>
        </c:dLbls>
        <c:smooth val="0"/>
        <c:axId val="1863134575"/>
        <c:axId val="1638950479"/>
      </c:lineChart>
      <c:catAx>
        <c:axId val="1863134575"/>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r>
                  <a:rPr lang="en-US"/>
                  <a:t>Time</a:t>
                </a:r>
              </a:p>
            </c:rich>
          </c:tx>
          <c:layout>
            <c:manualLayout>
              <c:xMode val="edge"/>
              <c:yMode val="edge"/>
              <c:x val="0.47069393236749685"/>
              <c:y val="0.92661503113243004"/>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638950479"/>
        <c:crosses val="autoZero"/>
        <c:auto val="1"/>
        <c:lblAlgn val="ctr"/>
        <c:lblOffset val="100"/>
        <c:noMultiLvlLbl val="0"/>
      </c:catAx>
      <c:valAx>
        <c:axId val="1638950479"/>
        <c:scaling>
          <c:orientation val="minMax"/>
          <c:max val="110"/>
          <c:min val="9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r>
                  <a:rPr lang="en-US"/>
                  <a:t>Price</a:t>
                </a:r>
              </a:p>
            </c:rich>
          </c:tx>
          <c:layout>
            <c:manualLayout>
              <c:xMode val="edge"/>
              <c:yMode val="edge"/>
              <c:x val="1.1258086763503943E-2"/>
              <c:y val="0.35209376060858683"/>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8631345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lumn2</c:v>
                </c:pt>
              </c:strCache>
            </c:strRef>
          </c:tx>
          <c:spPr>
            <a:ln w="28575" cap="rnd">
              <a:solidFill>
                <a:schemeClr val="accent1"/>
              </a:solidFill>
              <a:round/>
            </a:ln>
            <a:effectLst/>
          </c:spPr>
          <c:marker>
            <c:symbol val="none"/>
          </c:marker>
          <c:cat>
            <c:strRef>
              <c:f>Sheet1!$A$2:$A$6</c:f>
              <c:strCache>
                <c:ptCount val="5"/>
                <c:pt idx="0">
                  <c:v>Monday</c:v>
                </c:pt>
                <c:pt idx="1">
                  <c:v>Tuesday</c:v>
                </c:pt>
                <c:pt idx="2">
                  <c:v>Wednesday</c:v>
                </c:pt>
                <c:pt idx="3">
                  <c:v>Thursday</c:v>
                </c:pt>
                <c:pt idx="4">
                  <c:v>Friday</c:v>
                </c:pt>
              </c:strCache>
            </c:strRef>
          </c:cat>
          <c:val>
            <c:numRef>
              <c:f>Sheet1!$B$2:$B$6</c:f>
              <c:numCache>
                <c:formatCode>General</c:formatCode>
                <c:ptCount val="5"/>
                <c:pt idx="0">
                  <c:v>53.65</c:v>
                </c:pt>
                <c:pt idx="1">
                  <c:v>52.55</c:v>
                </c:pt>
                <c:pt idx="2">
                  <c:v>57.6</c:v>
                </c:pt>
                <c:pt idx="3">
                  <c:v>51.46</c:v>
                </c:pt>
              </c:numCache>
            </c:numRef>
          </c:val>
          <c:smooth val="0"/>
          <c:extLst>
            <c:ext xmlns:c16="http://schemas.microsoft.com/office/drawing/2014/chart" uri="{C3380CC4-5D6E-409C-BE32-E72D297353CC}">
              <c16:uniqueId val="{00000000-84AF-1941-BE53-066E2ECB9E12}"/>
            </c:ext>
          </c:extLst>
        </c:ser>
        <c:dLbls>
          <c:showLegendKey val="0"/>
          <c:showVal val="0"/>
          <c:showCatName val="0"/>
          <c:showSerName val="0"/>
          <c:showPercent val="0"/>
          <c:showBubbleSize val="0"/>
        </c:dLbls>
        <c:smooth val="0"/>
        <c:axId val="1863134575"/>
        <c:axId val="1638950479"/>
      </c:lineChart>
      <c:catAx>
        <c:axId val="1863134575"/>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r>
                  <a:rPr lang="en-US"/>
                  <a:t>Time</a:t>
                </a:r>
              </a:p>
            </c:rich>
          </c:tx>
          <c:layout>
            <c:manualLayout>
              <c:xMode val="edge"/>
              <c:yMode val="edge"/>
              <c:x val="0.43801651373651318"/>
              <c:y val="0.92661503113243004"/>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638950479"/>
        <c:crosses val="autoZero"/>
        <c:auto val="1"/>
        <c:lblAlgn val="ctr"/>
        <c:lblOffset val="100"/>
        <c:noMultiLvlLbl val="0"/>
      </c:catAx>
      <c:valAx>
        <c:axId val="1638950479"/>
        <c:scaling>
          <c:orientation val="minMax"/>
          <c:max val="65"/>
          <c:min val="4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r>
                  <a:rPr lang="en-US"/>
                  <a:t>Price</a:t>
                </a:r>
              </a:p>
            </c:rich>
          </c:tx>
          <c:layout>
            <c:manualLayout>
              <c:xMode val="edge"/>
              <c:yMode val="edge"/>
              <c:x val="1.167055011113672E-2"/>
              <c:y val="0.34830857214047639"/>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8631345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D755_7A2A085D.xml><?xml version="1.0" encoding="utf-8"?>
<p188:cmLst xmlns:a="http://schemas.openxmlformats.org/drawingml/2006/main" xmlns:r="http://schemas.openxmlformats.org/officeDocument/2006/relationships" xmlns:p188="http://schemas.microsoft.com/office/powerpoint/2018/8/main">
  <p188:cm id="{1F441079-26B6-4764-8DD3-D705D8F752A9}" authorId="{A0DF08E9-3F02-A089-D532-25A45EBF6C50}" status="resolved" created="2024-07-25T14:00:16.610" complete="100000">
    <pc:sldMkLst xmlns:pc="http://schemas.microsoft.com/office/powerpoint/2013/main/command">
      <pc:docMk/>
      <pc:sldMk cId="2049575005" sldId="2147473237"/>
    </pc:sldMkLst>
    <p188:txBody>
      <a:bodyPr/>
      <a:lstStyle/>
      <a:p>
        <a:r>
          <a:rPr lang="en-CA"/>
          <a:t>Update</a:t>
        </a:r>
      </a:p>
    </p188:txBody>
  </p188:cm>
  <p188:cm id="{38382A20-8FB7-4EBF-BD6D-D1110D52C69F}" authorId="{385E124F-774A-4A3C-C790-AB0F34BDC6DF}" created="2024-07-25T17:43:53.655">
    <pc:sldMkLst xmlns:pc="http://schemas.microsoft.com/office/powerpoint/2013/main/command">
      <pc:docMk/>
      <pc:sldMk cId="2049575005" sldId="2147473237"/>
    </pc:sldMkLst>
    <p188:txBody>
      <a:bodyPr/>
      <a:lstStyle/>
      <a:p>
        <a:r>
          <a:rPr lang="en-CA"/>
          <a:t>Check excel in shared folder</a:t>
        </a:r>
      </a:p>
    </p188:txBody>
  </p188:cm>
</p188:cmLst>
</file>

<file path=ppt/comments/modernComment_7FFFD75A_3CC06447.xml><?xml version="1.0" encoding="utf-8"?>
<p188:cmLst xmlns:a="http://schemas.openxmlformats.org/drawingml/2006/main" xmlns:r="http://schemas.openxmlformats.org/officeDocument/2006/relationships" xmlns:p188="http://schemas.microsoft.com/office/powerpoint/2018/8/main">
  <p188:cm id="{2DA69C40-A488-4EA2-8A1F-99BEC688DE2F}" authorId="{A0DF08E9-3F02-A089-D532-25A45EBF6C50}" status="resolved" created="2024-07-25T14:00:24.363" complete="100000">
    <pc:sldMkLst xmlns:pc="http://schemas.microsoft.com/office/powerpoint/2013/main/command">
      <pc:docMk/>
      <pc:sldMk cId="1019241543" sldId="2147473242"/>
    </pc:sldMkLst>
    <p188:txBody>
      <a:bodyPr/>
      <a:lstStyle/>
      <a:p>
        <a:r>
          <a:rPr lang="en-CA"/>
          <a:t>Update</a:t>
        </a:r>
      </a:p>
    </p188:txBody>
  </p188:cm>
  <p188:cm id="{4BEDBE6E-EDC5-4239-8CB4-44D2BE92E62D}" authorId="{385E124F-774A-4A3C-C790-AB0F34BDC6DF}" created="2024-07-25T17:10:24.876">
    <pc:sldMkLst xmlns:pc="http://schemas.microsoft.com/office/powerpoint/2013/main/command">
      <pc:docMk/>
      <pc:sldMk cId="1019241543" sldId="2147473242"/>
    </pc:sldMkLst>
    <p188:replyLst>
      <p188:reply id="{B1474142-40BD-D243-85FE-43B992882EE4}" authorId="{056228F9-823F-3CED-B86A-620A384CF41B}" created="2024-07-25T17:13:14.944">
        <p188:txBody>
          <a:bodyPr/>
          <a:lstStyle/>
          <a:p>
            <a:r>
              <a:rPr lang="en-US"/>
              <a:t>Are we using opening prices for all or closing? I think it would be fine if we did closing price for Monday-wednesday, and then opening price for today</a:t>
            </a:r>
          </a:p>
        </p188:txBody>
      </p188:reply>
      <p188:reply id="{FBD27CED-C367-40FE-9BD6-A6684FAECEDB}" authorId="{385E124F-774A-4A3C-C790-AB0F34BDC6DF}" created="2024-07-25T17:15:50.301">
        <p188:txBody>
          <a:bodyPr/>
          <a:lstStyle/>
          <a:p>
            <a:r>
              <a:rPr lang="en-CA"/>
              <a:t>Ya that's fair we can do that. Just clarify that's what the Thursday point it</a:t>
            </a:r>
          </a:p>
        </p188:txBody>
      </p188:reply>
    </p188:replyLst>
    <p188:txBody>
      <a:bodyPr/>
      <a:lstStyle/>
      <a:p>
        <a:r>
          <a:rPr lang="en-CA"/>
          <a:t>Please check EL price (stayed same between Tuesday and Wednesday?</a:t>
        </a:r>
      </a:p>
    </p188:txBody>
  </p188:cm>
</p188:cmLst>
</file>

<file path=ppt/comments/modernComment_7FFFD763_645E2F2D.xml><?xml version="1.0" encoding="utf-8"?>
<p188:cmLst xmlns:a="http://schemas.openxmlformats.org/drawingml/2006/main" xmlns:r="http://schemas.openxmlformats.org/officeDocument/2006/relationships" xmlns:p188="http://schemas.microsoft.com/office/powerpoint/2018/8/main">
  <p188:cm id="{CBA1BFB4-CBB3-FF41-9F3C-B01426D62233}" authorId="{A0DF08E9-3F02-A089-D532-25A45EBF6C50}" created="2024-07-24T17:02:36.774">
    <pc:sldMkLst xmlns:pc="http://schemas.microsoft.com/office/powerpoint/2013/main/command">
      <pc:docMk/>
      <pc:sldMk cId="3686999811" sldId="2147473244"/>
    </pc:sldMkLst>
    <p188:replyLst>
      <p188:reply id="{0974B1EE-EC4F-4245-B0CD-0FE52B7425D9}" authorId="{056228F9-823F-3CED-B86A-620A384CF41B}" created="2024-07-24T21:09:23.894">
        <p188:txBody>
          <a:bodyPr/>
          <a:lstStyle/>
          <a:p>
            <a:r>
              <a:rPr lang="en-US"/>
              <a:t>If you look at slide 19 this section is already added, but it should be here instead</a:t>
            </a:r>
          </a:p>
        </p188:txBody>
      </p188:reply>
    </p188:replyLst>
    <p188:txBody>
      <a:bodyPr/>
      <a:lstStyle/>
      <a:p>
        <a:r>
          <a:rPr lang="en-CA"/>
          <a:t>Do we need another slide in this section</a:t>
        </a:r>
      </a:p>
    </p188:txBody>
  </p188:cm>
</p188:cmLst>
</file>

<file path=ppt/comments/modernComment_7FFFD767_51EB4D2E.xml><?xml version="1.0" encoding="utf-8"?>
<p188:cmLst xmlns:a="http://schemas.openxmlformats.org/drawingml/2006/main" xmlns:r="http://schemas.openxmlformats.org/officeDocument/2006/relationships" xmlns:p188="http://schemas.microsoft.com/office/powerpoint/2018/8/main">
  <p188:cm id="{AA2437CA-B64F-4169-996C-7FDE7C8B000D}" authorId="{385E124F-774A-4A3C-C790-AB0F34BDC6DF}" created="2024-07-25T14:46:05.027">
    <ac:txMkLst xmlns:ac="http://schemas.microsoft.com/office/drawing/2013/main/command">
      <pc:docMk xmlns:pc="http://schemas.microsoft.com/office/powerpoint/2013/main/command"/>
      <pc:sldMk xmlns:pc="http://schemas.microsoft.com/office/powerpoint/2013/main/command" cId="1374375214" sldId="2147473255"/>
      <ac:graphicFrameMk id="4" creationId="{878955A9-CBF7-9AE8-026E-6A1BBC35C28A}"/>
      <ac:tblMk/>
      <ac:tcMk rowId="1573479561" colId="4134210389"/>
      <ac:txMk cp="0" len="6">
        <ac:context len="7" hash="1985669031"/>
      </ac:txMk>
    </ac:txMkLst>
    <p188:pos x="8492623" y="4502292"/>
    <p188:txBody>
      <a:bodyPr/>
      <a:lstStyle/>
      <a:p>
        <a:r>
          <a:rPr lang="en-CA"/>
          <a:t>Is this +9.21%? = 5.59*0.336 + 11.04*0.664</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AB71CD-96BB-406B-B8F9-6B8DB8EE6D4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24B57FC-F9FC-411E-981C-F6A9D3C7C2FC}">
      <dgm:prSet phldrT="[Text]" custT="1"/>
      <dgm:spPr/>
      <dgm:t>
        <a:bodyPr/>
        <a:lstStyle/>
        <a:p>
          <a:r>
            <a:rPr lang="en-US" sz="2400">
              <a:latin typeface="Verdana" panose="020B0604030504040204" pitchFamily="34" charset="0"/>
              <a:ea typeface="Verdana" panose="020B0604030504040204" pitchFamily="34" charset="0"/>
            </a:rPr>
            <a:t>Trend</a:t>
          </a:r>
        </a:p>
      </dgm:t>
    </dgm:pt>
    <dgm:pt modelId="{D994A612-8C72-414A-BE4B-C54EDC1389BF}" type="parTrans" cxnId="{2FF18D12-740E-4B70-A24B-A1FE8E8384DB}">
      <dgm:prSet/>
      <dgm:spPr/>
      <dgm:t>
        <a:bodyPr/>
        <a:lstStyle/>
        <a:p>
          <a:endParaRPr lang="en-US"/>
        </a:p>
      </dgm:t>
    </dgm:pt>
    <dgm:pt modelId="{7E1396E0-07FB-4C70-8E5D-47DDF3BF85EC}" type="sibTrans" cxnId="{2FF18D12-740E-4B70-A24B-A1FE8E8384DB}">
      <dgm:prSet/>
      <dgm:spPr/>
      <dgm:t>
        <a:bodyPr/>
        <a:lstStyle/>
        <a:p>
          <a:endParaRPr lang="en-US"/>
        </a:p>
      </dgm:t>
    </dgm:pt>
    <dgm:pt modelId="{62EEA231-1D3E-4C75-9BAB-2B334D0661EB}">
      <dgm:prSet phldrT="[Text]" custT="1"/>
      <dgm:spPr/>
      <dgm:t>
        <a:bodyPr/>
        <a:lstStyle/>
        <a:p>
          <a:r>
            <a:rPr lang="en-US" sz="1400" dirty="0">
              <a:latin typeface="Verdana" panose="020B0604030504040204" pitchFamily="34" charset="0"/>
              <a:ea typeface="Verdana" panose="020B0604030504040204" pitchFamily="34" charset="0"/>
            </a:rPr>
            <a:t>  Long-term movement, displays overall direction of the data over time</a:t>
          </a:r>
        </a:p>
      </dgm:t>
    </dgm:pt>
    <dgm:pt modelId="{C9BCE95E-E77E-4F03-AF99-7F2CABBC1975}" type="parTrans" cxnId="{035C371E-1D4F-4D99-9FB1-E36EFAA976E3}">
      <dgm:prSet/>
      <dgm:spPr/>
      <dgm:t>
        <a:bodyPr/>
        <a:lstStyle/>
        <a:p>
          <a:endParaRPr lang="en-US"/>
        </a:p>
      </dgm:t>
    </dgm:pt>
    <dgm:pt modelId="{A6FD248F-8AA2-42CC-8468-5BECEA22E8F0}" type="sibTrans" cxnId="{035C371E-1D4F-4D99-9FB1-E36EFAA976E3}">
      <dgm:prSet/>
      <dgm:spPr/>
      <dgm:t>
        <a:bodyPr/>
        <a:lstStyle/>
        <a:p>
          <a:endParaRPr lang="en-US"/>
        </a:p>
      </dgm:t>
    </dgm:pt>
    <dgm:pt modelId="{3548E7E4-8AEA-4C7E-A6F5-C31EFDA4CDA1}">
      <dgm:prSet phldrT="[Text]" custT="1"/>
      <dgm:spPr/>
      <dgm:t>
        <a:bodyPr/>
        <a:lstStyle/>
        <a:p>
          <a:r>
            <a:rPr lang="en-US" sz="1400">
              <a:latin typeface="Verdana" panose="020B0604030504040204" pitchFamily="34" charset="0"/>
              <a:ea typeface="Verdana" panose="020B0604030504040204" pitchFamily="34" charset="0"/>
            </a:rPr>
            <a:t>  General direction of their data</a:t>
          </a:r>
        </a:p>
      </dgm:t>
    </dgm:pt>
    <dgm:pt modelId="{FF656E24-7F5D-4F5D-91B1-F04952828E04}" type="parTrans" cxnId="{17594C0F-765D-49CA-8E98-7AF76F0E7320}">
      <dgm:prSet/>
      <dgm:spPr/>
      <dgm:t>
        <a:bodyPr/>
        <a:lstStyle/>
        <a:p>
          <a:endParaRPr lang="en-US"/>
        </a:p>
      </dgm:t>
    </dgm:pt>
    <dgm:pt modelId="{840AAA1F-D227-4D8A-986E-8FAFA0700631}" type="sibTrans" cxnId="{17594C0F-765D-49CA-8E98-7AF76F0E7320}">
      <dgm:prSet/>
      <dgm:spPr/>
      <dgm:t>
        <a:bodyPr/>
        <a:lstStyle/>
        <a:p>
          <a:endParaRPr lang="en-US"/>
        </a:p>
      </dgm:t>
    </dgm:pt>
    <dgm:pt modelId="{3C4690A3-C877-4C37-BCD6-6C957944EBA5}">
      <dgm:prSet phldrT="[Text]" custT="1"/>
      <dgm:spPr/>
      <dgm:t>
        <a:bodyPr/>
        <a:lstStyle/>
        <a:p>
          <a:r>
            <a:rPr lang="en-US" sz="1400">
              <a:latin typeface="Verdana" panose="020B0604030504040204" pitchFamily="34" charset="0"/>
              <a:ea typeface="Verdana" panose="020B0604030504040204" pitchFamily="34" charset="0"/>
            </a:rPr>
            <a:t>  Repeating short-term cycles in the time series at regular intervals</a:t>
          </a:r>
        </a:p>
      </dgm:t>
    </dgm:pt>
    <dgm:pt modelId="{CFC04E0B-708E-44FF-BC88-F49812C5D4E2}" type="parTrans" cxnId="{AA7746B4-D35A-4911-B1FB-6DCBFE1D41F2}">
      <dgm:prSet/>
      <dgm:spPr/>
      <dgm:t>
        <a:bodyPr/>
        <a:lstStyle/>
        <a:p>
          <a:endParaRPr lang="en-US"/>
        </a:p>
      </dgm:t>
    </dgm:pt>
    <dgm:pt modelId="{AF13726D-C941-465D-839E-2778FC062BBB}" type="sibTrans" cxnId="{AA7746B4-D35A-4911-B1FB-6DCBFE1D41F2}">
      <dgm:prSet/>
      <dgm:spPr/>
      <dgm:t>
        <a:bodyPr/>
        <a:lstStyle/>
        <a:p>
          <a:endParaRPr lang="en-US"/>
        </a:p>
      </dgm:t>
    </dgm:pt>
    <dgm:pt modelId="{1E97ADF2-0038-4261-8D73-5FF6356C3C54}">
      <dgm:prSet phldrT="[Text]" custT="1"/>
      <dgm:spPr/>
      <dgm:t>
        <a:bodyPr/>
        <a:lstStyle/>
        <a:p>
          <a:r>
            <a:rPr lang="en-US" sz="1400">
              <a:latin typeface="Verdana" panose="020B0604030504040204" pitchFamily="34" charset="0"/>
              <a:ea typeface="Verdana" panose="020B0604030504040204" pitchFamily="34" charset="0"/>
            </a:rPr>
            <a:t>  Seasonal analysis is useful for businesses with cyclical patterns</a:t>
          </a:r>
        </a:p>
      </dgm:t>
    </dgm:pt>
    <dgm:pt modelId="{3B449C2C-C32F-4CFD-A665-C232ED627247}" type="parTrans" cxnId="{79C67E56-C3A2-4EED-8C9F-EAD4D8A54C38}">
      <dgm:prSet/>
      <dgm:spPr/>
      <dgm:t>
        <a:bodyPr/>
        <a:lstStyle/>
        <a:p>
          <a:endParaRPr lang="en-US"/>
        </a:p>
      </dgm:t>
    </dgm:pt>
    <dgm:pt modelId="{A95D5AF7-3691-4B78-B51A-7DD305115ED9}" type="sibTrans" cxnId="{79C67E56-C3A2-4EED-8C9F-EAD4D8A54C38}">
      <dgm:prSet/>
      <dgm:spPr/>
      <dgm:t>
        <a:bodyPr/>
        <a:lstStyle/>
        <a:p>
          <a:endParaRPr lang="en-US"/>
        </a:p>
      </dgm:t>
    </dgm:pt>
    <dgm:pt modelId="{713E1EE7-35D2-4CDE-AF3B-1F7128EE4598}">
      <dgm:prSet phldrT="[Text]" custT="1"/>
      <dgm:spPr/>
      <dgm:t>
        <a:bodyPr/>
        <a:lstStyle/>
        <a:p>
          <a:r>
            <a:rPr lang="en-US" sz="2400">
              <a:latin typeface="Verdana" panose="020B0604030504040204" pitchFamily="34" charset="0"/>
              <a:ea typeface="Verdana" panose="020B0604030504040204" pitchFamily="34" charset="0"/>
            </a:rPr>
            <a:t>Residual</a:t>
          </a:r>
        </a:p>
      </dgm:t>
    </dgm:pt>
    <dgm:pt modelId="{E054D87E-4DC7-45E2-A1A7-7FD60AF3AB4C}" type="parTrans" cxnId="{B444E1C2-3AF6-4B90-92D4-5EB95977E907}">
      <dgm:prSet/>
      <dgm:spPr/>
      <dgm:t>
        <a:bodyPr/>
        <a:lstStyle/>
        <a:p>
          <a:endParaRPr lang="en-US"/>
        </a:p>
      </dgm:t>
    </dgm:pt>
    <dgm:pt modelId="{A05914B8-3455-4E31-A2D0-4D76090362C8}" type="sibTrans" cxnId="{B444E1C2-3AF6-4B90-92D4-5EB95977E907}">
      <dgm:prSet/>
      <dgm:spPr/>
      <dgm:t>
        <a:bodyPr/>
        <a:lstStyle/>
        <a:p>
          <a:endParaRPr lang="en-US"/>
        </a:p>
      </dgm:t>
    </dgm:pt>
    <dgm:pt modelId="{5B63DBF8-7E52-4133-902B-9D3679241D8C}">
      <dgm:prSet phldrT="[Text]" custT="1"/>
      <dgm:spPr/>
      <dgm:t>
        <a:bodyPr/>
        <a:lstStyle/>
        <a:p>
          <a:r>
            <a:rPr lang="en-US" sz="1400">
              <a:latin typeface="Verdana" panose="020B0604030504040204" pitchFamily="34" charset="0"/>
              <a:ea typeface="Verdana" panose="020B0604030504040204" pitchFamily="34" charset="0"/>
            </a:rPr>
            <a:t>  The random noise or irregular fluctuations</a:t>
          </a:r>
        </a:p>
      </dgm:t>
    </dgm:pt>
    <dgm:pt modelId="{B6FC572B-3875-4227-856F-D4E3170E9562}" type="parTrans" cxnId="{E86C6942-62A8-4AD9-B249-2F176700F114}">
      <dgm:prSet/>
      <dgm:spPr/>
      <dgm:t>
        <a:bodyPr/>
        <a:lstStyle/>
        <a:p>
          <a:endParaRPr lang="en-US"/>
        </a:p>
      </dgm:t>
    </dgm:pt>
    <dgm:pt modelId="{54ECECA3-7CBA-4DDD-BA84-713B41138373}" type="sibTrans" cxnId="{E86C6942-62A8-4AD9-B249-2F176700F114}">
      <dgm:prSet/>
      <dgm:spPr/>
      <dgm:t>
        <a:bodyPr/>
        <a:lstStyle/>
        <a:p>
          <a:endParaRPr lang="en-US"/>
        </a:p>
      </dgm:t>
    </dgm:pt>
    <dgm:pt modelId="{4B71EF26-4D2D-4E65-80E3-D8CB57CC2397}">
      <dgm:prSet phldrT="[Text]" custT="1"/>
      <dgm:spPr/>
      <dgm:t>
        <a:bodyPr/>
        <a:lstStyle/>
        <a:p>
          <a:r>
            <a:rPr lang="en-US" sz="2400">
              <a:latin typeface="Verdana" panose="020B0604030504040204" pitchFamily="34" charset="0"/>
              <a:ea typeface="Verdana" panose="020B0604030504040204" pitchFamily="34" charset="0"/>
            </a:rPr>
            <a:t>Seasonal</a:t>
          </a:r>
        </a:p>
      </dgm:t>
    </dgm:pt>
    <dgm:pt modelId="{966FDBCF-3C61-4D84-8B92-5106B2D9658B}" type="sibTrans" cxnId="{2E27AA64-9375-49A7-8784-3860C9B0C45D}">
      <dgm:prSet/>
      <dgm:spPr/>
      <dgm:t>
        <a:bodyPr/>
        <a:lstStyle/>
        <a:p>
          <a:endParaRPr lang="en-US"/>
        </a:p>
      </dgm:t>
    </dgm:pt>
    <dgm:pt modelId="{E1D1F615-152A-4448-B4AD-743EEE3E7170}" type="parTrans" cxnId="{2E27AA64-9375-49A7-8784-3860C9B0C45D}">
      <dgm:prSet/>
      <dgm:spPr/>
      <dgm:t>
        <a:bodyPr/>
        <a:lstStyle/>
        <a:p>
          <a:endParaRPr lang="en-US"/>
        </a:p>
      </dgm:t>
    </dgm:pt>
    <dgm:pt modelId="{5D5651C9-1300-4E12-8CC2-911F42A4490D}">
      <dgm:prSet phldrT="[Text]" custT="1"/>
      <dgm:spPr/>
      <dgm:t>
        <a:bodyPr/>
        <a:lstStyle/>
        <a:p>
          <a:r>
            <a:rPr lang="en-US" sz="1400">
              <a:latin typeface="Verdana" panose="020B0604030504040204" pitchFamily="34" charset="0"/>
              <a:ea typeface="Verdana" panose="020B0604030504040204" pitchFamily="34" charset="0"/>
            </a:rPr>
            <a:t>  Identify unusual or unexpected variations in the data</a:t>
          </a:r>
        </a:p>
      </dgm:t>
    </dgm:pt>
    <dgm:pt modelId="{65BE601F-5831-47AD-ACDF-556DD0738B91}" type="parTrans" cxnId="{B4C78008-BFFD-4A98-916D-143C6F28EDB1}">
      <dgm:prSet/>
      <dgm:spPr/>
      <dgm:t>
        <a:bodyPr/>
        <a:lstStyle/>
        <a:p>
          <a:endParaRPr lang="en-US"/>
        </a:p>
      </dgm:t>
    </dgm:pt>
    <dgm:pt modelId="{84E8DBF8-4496-444A-A026-EB3A5D271522}" type="sibTrans" cxnId="{B4C78008-BFFD-4A98-916D-143C6F28EDB1}">
      <dgm:prSet/>
      <dgm:spPr/>
      <dgm:t>
        <a:bodyPr/>
        <a:lstStyle/>
        <a:p>
          <a:endParaRPr lang="en-US"/>
        </a:p>
      </dgm:t>
    </dgm:pt>
    <dgm:pt modelId="{9BB4BEA9-4BF3-45B8-94E9-81058D078D9E}" type="pres">
      <dgm:prSet presAssocID="{E8AB71CD-96BB-406B-B8F9-6B8DB8EE6D41}" presName="Name0" presStyleCnt="0">
        <dgm:presLayoutVars>
          <dgm:dir/>
          <dgm:animLvl val="lvl"/>
          <dgm:resizeHandles val="exact"/>
        </dgm:presLayoutVars>
      </dgm:prSet>
      <dgm:spPr/>
    </dgm:pt>
    <dgm:pt modelId="{9080C747-CE8E-4570-8F25-4991868EDE96}" type="pres">
      <dgm:prSet presAssocID="{E24B57FC-F9FC-411E-981C-F6A9D3C7C2FC}" presName="linNode" presStyleCnt="0"/>
      <dgm:spPr/>
    </dgm:pt>
    <dgm:pt modelId="{B36431C6-4EF8-4B3B-94A0-0DB782ADE65F}" type="pres">
      <dgm:prSet presAssocID="{E24B57FC-F9FC-411E-981C-F6A9D3C7C2FC}" presName="parentText" presStyleLbl="node1" presStyleIdx="0" presStyleCnt="3" custScaleX="77441">
        <dgm:presLayoutVars>
          <dgm:chMax val="1"/>
          <dgm:bulletEnabled val="1"/>
        </dgm:presLayoutVars>
      </dgm:prSet>
      <dgm:spPr/>
    </dgm:pt>
    <dgm:pt modelId="{C887E4BB-7E99-4309-BAE1-87BADA8AD333}" type="pres">
      <dgm:prSet presAssocID="{E24B57FC-F9FC-411E-981C-F6A9D3C7C2FC}" presName="descendantText" presStyleLbl="alignAccFollowNode1" presStyleIdx="0" presStyleCnt="3">
        <dgm:presLayoutVars>
          <dgm:bulletEnabled val="1"/>
        </dgm:presLayoutVars>
      </dgm:prSet>
      <dgm:spPr/>
    </dgm:pt>
    <dgm:pt modelId="{701EE35A-0023-4E95-AE20-84ADCE0697D5}" type="pres">
      <dgm:prSet presAssocID="{7E1396E0-07FB-4C70-8E5D-47DDF3BF85EC}" presName="sp" presStyleCnt="0"/>
      <dgm:spPr/>
    </dgm:pt>
    <dgm:pt modelId="{7550D658-5D40-4BF9-AE13-B68576FE358F}" type="pres">
      <dgm:prSet presAssocID="{4B71EF26-4D2D-4E65-80E3-D8CB57CC2397}" presName="linNode" presStyleCnt="0"/>
      <dgm:spPr/>
    </dgm:pt>
    <dgm:pt modelId="{3BCD155D-89E4-498D-BF05-7043E83A4479}" type="pres">
      <dgm:prSet presAssocID="{4B71EF26-4D2D-4E65-80E3-D8CB57CC2397}" presName="parentText" presStyleLbl="node1" presStyleIdx="1" presStyleCnt="3" custScaleX="77441">
        <dgm:presLayoutVars>
          <dgm:chMax val="1"/>
          <dgm:bulletEnabled val="1"/>
        </dgm:presLayoutVars>
      </dgm:prSet>
      <dgm:spPr/>
    </dgm:pt>
    <dgm:pt modelId="{6B8E264B-91CB-4895-90C6-D0F9A0F94BFE}" type="pres">
      <dgm:prSet presAssocID="{4B71EF26-4D2D-4E65-80E3-D8CB57CC2397}" presName="descendantText" presStyleLbl="alignAccFollowNode1" presStyleIdx="1" presStyleCnt="3">
        <dgm:presLayoutVars>
          <dgm:bulletEnabled val="1"/>
        </dgm:presLayoutVars>
      </dgm:prSet>
      <dgm:spPr/>
    </dgm:pt>
    <dgm:pt modelId="{A9573262-ACAD-4DB6-A4CA-B99615059637}" type="pres">
      <dgm:prSet presAssocID="{966FDBCF-3C61-4D84-8B92-5106B2D9658B}" presName="sp" presStyleCnt="0"/>
      <dgm:spPr/>
    </dgm:pt>
    <dgm:pt modelId="{1828A67A-3DDA-4A24-9D2F-22E1A7B380CC}" type="pres">
      <dgm:prSet presAssocID="{713E1EE7-35D2-4CDE-AF3B-1F7128EE4598}" presName="linNode" presStyleCnt="0"/>
      <dgm:spPr/>
    </dgm:pt>
    <dgm:pt modelId="{1BADDF3F-8B2A-46C5-B0C2-D3E78AEB22E9}" type="pres">
      <dgm:prSet presAssocID="{713E1EE7-35D2-4CDE-AF3B-1F7128EE4598}" presName="parentText" presStyleLbl="node1" presStyleIdx="2" presStyleCnt="3" custScaleX="77441">
        <dgm:presLayoutVars>
          <dgm:chMax val="1"/>
          <dgm:bulletEnabled val="1"/>
        </dgm:presLayoutVars>
      </dgm:prSet>
      <dgm:spPr/>
    </dgm:pt>
    <dgm:pt modelId="{C8EFFCDE-B0A9-4E5B-B648-2C442F231AB0}" type="pres">
      <dgm:prSet presAssocID="{713E1EE7-35D2-4CDE-AF3B-1F7128EE4598}" presName="descendantText" presStyleLbl="alignAccFollowNode1" presStyleIdx="2" presStyleCnt="3">
        <dgm:presLayoutVars>
          <dgm:bulletEnabled val="1"/>
        </dgm:presLayoutVars>
      </dgm:prSet>
      <dgm:spPr/>
    </dgm:pt>
  </dgm:ptLst>
  <dgm:cxnLst>
    <dgm:cxn modelId="{B4C78008-BFFD-4A98-916D-143C6F28EDB1}" srcId="{713E1EE7-35D2-4CDE-AF3B-1F7128EE4598}" destId="{5D5651C9-1300-4E12-8CC2-911F42A4490D}" srcOrd="1" destOrd="0" parTransId="{65BE601F-5831-47AD-ACDF-556DD0738B91}" sibTransId="{84E8DBF8-4496-444A-A026-EB3A5D271522}"/>
    <dgm:cxn modelId="{17594C0F-765D-49CA-8E98-7AF76F0E7320}" srcId="{E24B57FC-F9FC-411E-981C-F6A9D3C7C2FC}" destId="{3548E7E4-8AEA-4C7E-A6F5-C31EFDA4CDA1}" srcOrd="1" destOrd="0" parTransId="{FF656E24-7F5D-4F5D-91B1-F04952828E04}" sibTransId="{840AAA1F-D227-4D8A-986E-8FAFA0700631}"/>
    <dgm:cxn modelId="{2FF18D12-740E-4B70-A24B-A1FE8E8384DB}" srcId="{E8AB71CD-96BB-406B-B8F9-6B8DB8EE6D41}" destId="{E24B57FC-F9FC-411E-981C-F6A9D3C7C2FC}" srcOrd="0" destOrd="0" parTransId="{D994A612-8C72-414A-BE4B-C54EDC1389BF}" sibTransId="{7E1396E0-07FB-4C70-8E5D-47DDF3BF85EC}"/>
    <dgm:cxn modelId="{6014A218-0067-430F-BC1F-14075A5023C0}" type="presOf" srcId="{E24B57FC-F9FC-411E-981C-F6A9D3C7C2FC}" destId="{B36431C6-4EF8-4B3B-94A0-0DB782ADE65F}" srcOrd="0" destOrd="0" presId="urn:microsoft.com/office/officeart/2005/8/layout/vList5"/>
    <dgm:cxn modelId="{035C371E-1D4F-4D99-9FB1-E36EFAA976E3}" srcId="{E24B57FC-F9FC-411E-981C-F6A9D3C7C2FC}" destId="{62EEA231-1D3E-4C75-9BAB-2B334D0661EB}" srcOrd="0" destOrd="0" parTransId="{C9BCE95E-E77E-4F03-AF99-7F2CABBC1975}" sibTransId="{A6FD248F-8AA2-42CC-8468-5BECEA22E8F0}"/>
    <dgm:cxn modelId="{F1491E26-8A68-4C38-8278-1F1434335E2B}" type="presOf" srcId="{62EEA231-1D3E-4C75-9BAB-2B334D0661EB}" destId="{C887E4BB-7E99-4309-BAE1-87BADA8AD333}" srcOrd="0" destOrd="0" presId="urn:microsoft.com/office/officeart/2005/8/layout/vList5"/>
    <dgm:cxn modelId="{20300C2E-6E18-404C-9B15-C17EC37AE550}" type="presOf" srcId="{713E1EE7-35D2-4CDE-AF3B-1F7128EE4598}" destId="{1BADDF3F-8B2A-46C5-B0C2-D3E78AEB22E9}" srcOrd="0" destOrd="0" presId="urn:microsoft.com/office/officeart/2005/8/layout/vList5"/>
    <dgm:cxn modelId="{A7D7F336-92F1-4723-BFE3-0566951456B5}" type="presOf" srcId="{5B63DBF8-7E52-4133-902B-9D3679241D8C}" destId="{C8EFFCDE-B0A9-4E5B-B648-2C442F231AB0}" srcOrd="0" destOrd="0" presId="urn:microsoft.com/office/officeart/2005/8/layout/vList5"/>
    <dgm:cxn modelId="{E86C6942-62A8-4AD9-B249-2F176700F114}" srcId="{713E1EE7-35D2-4CDE-AF3B-1F7128EE4598}" destId="{5B63DBF8-7E52-4133-902B-9D3679241D8C}" srcOrd="0" destOrd="0" parTransId="{B6FC572B-3875-4227-856F-D4E3170E9562}" sibTransId="{54ECECA3-7CBA-4DDD-BA84-713B41138373}"/>
    <dgm:cxn modelId="{2E27AA64-9375-49A7-8784-3860C9B0C45D}" srcId="{E8AB71CD-96BB-406B-B8F9-6B8DB8EE6D41}" destId="{4B71EF26-4D2D-4E65-80E3-D8CB57CC2397}" srcOrd="1" destOrd="0" parTransId="{E1D1F615-152A-4448-B4AD-743EEE3E7170}" sibTransId="{966FDBCF-3C61-4D84-8B92-5106B2D9658B}"/>
    <dgm:cxn modelId="{1ED54272-2151-4275-955E-6CD2F72E7EC6}" type="presOf" srcId="{1E97ADF2-0038-4261-8D73-5FF6356C3C54}" destId="{6B8E264B-91CB-4895-90C6-D0F9A0F94BFE}" srcOrd="0" destOrd="1" presId="urn:microsoft.com/office/officeart/2005/8/layout/vList5"/>
    <dgm:cxn modelId="{79C67E56-C3A2-4EED-8C9F-EAD4D8A54C38}" srcId="{4B71EF26-4D2D-4E65-80E3-D8CB57CC2397}" destId="{1E97ADF2-0038-4261-8D73-5FF6356C3C54}" srcOrd="1" destOrd="0" parTransId="{3B449C2C-C32F-4CFD-A665-C232ED627247}" sibTransId="{A95D5AF7-3691-4B78-B51A-7DD305115ED9}"/>
    <dgm:cxn modelId="{5E7F6FA4-9D39-4686-95FF-188127FAE9B5}" type="presOf" srcId="{E8AB71CD-96BB-406B-B8F9-6B8DB8EE6D41}" destId="{9BB4BEA9-4BF3-45B8-94E9-81058D078D9E}" srcOrd="0" destOrd="0" presId="urn:microsoft.com/office/officeart/2005/8/layout/vList5"/>
    <dgm:cxn modelId="{AA7746B4-D35A-4911-B1FB-6DCBFE1D41F2}" srcId="{4B71EF26-4D2D-4E65-80E3-D8CB57CC2397}" destId="{3C4690A3-C877-4C37-BCD6-6C957944EBA5}" srcOrd="0" destOrd="0" parTransId="{CFC04E0B-708E-44FF-BC88-F49812C5D4E2}" sibTransId="{AF13726D-C941-465D-839E-2778FC062BBB}"/>
    <dgm:cxn modelId="{5D25F9BA-876B-4E4E-981C-86799F75847F}" type="presOf" srcId="{3548E7E4-8AEA-4C7E-A6F5-C31EFDA4CDA1}" destId="{C887E4BB-7E99-4309-BAE1-87BADA8AD333}" srcOrd="0" destOrd="1" presId="urn:microsoft.com/office/officeart/2005/8/layout/vList5"/>
    <dgm:cxn modelId="{B444E1C2-3AF6-4B90-92D4-5EB95977E907}" srcId="{E8AB71CD-96BB-406B-B8F9-6B8DB8EE6D41}" destId="{713E1EE7-35D2-4CDE-AF3B-1F7128EE4598}" srcOrd="2" destOrd="0" parTransId="{E054D87E-4DC7-45E2-A1A7-7FD60AF3AB4C}" sibTransId="{A05914B8-3455-4E31-A2D0-4D76090362C8}"/>
    <dgm:cxn modelId="{DE31DDD7-D95B-46E9-8EB9-8673AA46C4D3}" type="presOf" srcId="{3C4690A3-C877-4C37-BCD6-6C957944EBA5}" destId="{6B8E264B-91CB-4895-90C6-D0F9A0F94BFE}" srcOrd="0" destOrd="0" presId="urn:microsoft.com/office/officeart/2005/8/layout/vList5"/>
    <dgm:cxn modelId="{FC321BE9-3AB0-4B89-9E75-44DD50E0AD36}" type="presOf" srcId="{5D5651C9-1300-4E12-8CC2-911F42A4490D}" destId="{C8EFFCDE-B0A9-4E5B-B648-2C442F231AB0}" srcOrd="0" destOrd="1" presId="urn:microsoft.com/office/officeart/2005/8/layout/vList5"/>
    <dgm:cxn modelId="{3629C2F6-B2E3-400C-B8CA-C3659A431122}" type="presOf" srcId="{4B71EF26-4D2D-4E65-80E3-D8CB57CC2397}" destId="{3BCD155D-89E4-498D-BF05-7043E83A4479}" srcOrd="0" destOrd="0" presId="urn:microsoft.com/office/officeart/2005/8/layout/vList5"/>
    <dgm:cxn modelId="{40B469A7-7C39-437C-A7B9-4940A600C646}" type="presParOf" srcId="{9BB4BEA9-4BF3-45B8-94E9-81058D078D9E}" destId="{9080C747-CE8E-4570-8F25-4991868EDE96}" srcOrd="0" destOrd="0" presId="urn:microsoft.com/office/officeart/2005/8/layout/vList5"/>
    <dgm:cxn modelId="{6D7AF0F4-CFBC-4DFF-8782-236813075074}" type="presParOf" srcId="{9080C747-CE8E-4570-8F25-4991868EDE96}" destId="{B36431C6-4EF8-4B3B-94A0-0DB782ADE65F}" srcOrd="0" destOrd="0" presId="urn:microsoft.com/office/officeart/2005/8/layout/vList5"/>
    <dgm:cxn modelId="{CA8BC127-1FFF-43AA-A1DE-384A1D43CA42}" type="presParOf" srcId="{9080C747-CE8E-4570-8F25-4991868EDE96}" destId="{C887E4BB-7E99-4309-BAE1-87BADA8AD333}" srcOrd="1" destOrd="0" presId="urn:microsoft.com/office/officeart/2005/8/layout/vList5"/>
    <dgm:cxn modelId="{58E81525-B98A-4566-BAD3-197459C27007}" type="presParOf" srcId="{9BB4BEA9-4BF3-45B8-94E9-81058D078D9E}" destId="{701EE35A-0023-4E95-AE20-84ADCE0697D5}" srcOrd="1" destOrd="0" presId="urn:microsoft.com/office/officeart/2005/8/layout/vList5"/>
    <dgm:cxn modelId="{05114E89-7FD2-4B1A-BE58-B58803AA8CAE}" type="presParOf" srcId="{9BB4BEA9-4BF3-45B8-94E9-81058D078D9E}" destId="{7550D658-5D40-4BF9-AE13-B68576FE358F}" srcOrd="2" destOrd="0" presId="urn:microsoft.com/office/officeart/2005/8/layout/vList5"/>
    <dgm:cxn modelId="{2D0CCF0A-5E77-4237-82E7-73DAFF293DA2}" type="presParOf" srcId="{7550D658-5D40-4BF9-AE13-B68576FE358F}" destId="{3BCD155D-89E4-498D-BF05-7043E83A4479}" srcOrd="0" destOrd="0" presId="urn:microsoft.com/office/officeart/2005/8/layout/vList5"/>
    <dgm:cxn modelId="{96D398E7-6447-42EF-91AA-431E2BB21C85}" type="presParOf" srcId="{7550D658-5D40-4BF9-AE13-B68576FE358F}" destId="{6B8E264B-91CB-4895-90C6-D0F9A0F94BFE}" srcOrd="1" destOrd="0" presId="urn:microsoft.com/office/officeart/2005/8/layout/vList5"/>
    <dgm:cxn modelId="{A73A8024-90D7-4FC0-B017-AFCF5DB8B701}" type="presParOf" srcId="{9BB4BEA9-4BF3-45B8-94E9-81058D078D9E}" destId="{A9573262-ACAD-4DB6-A4CA-B99615059637}" srcOrd="3" destOrd="0" presId="urn:microsoft.com/office/officeart/2005/8/layout/vList5"/>
    <dgm:cxn modelId="{1673F1C0-F2A8-4F50-AF56-624FA819EBBA}" type="presParOf" srcId="{9BB4BEA9-4BF3-45B8-94E9-81058D078D9E}" destId="{1828A67A-3DDA-4A24-9D2F-22E1A7B380CC}" srcOrd="4" destOrd="0" presId="urn:microsoft.com/office/officeart/2005/8/layout/vList5"/>
    <dgm:cxn modelId="{9286ED60-A75A-4C35-8277-30D45C4E9FF8}" type="presParOf" srcId="{1828A67A-3DDA-4A24-9D2F-22E1A7B380CC}" destId="{1BADDF3F-8B2A-46C5-B0C2-D3E78AEB22E9}" srcOrd="0" destOrd="0" presId="urn:microsoft.com/office/officeart/2005/8/layout/vList5"/>
    <dgm:cxn modelId="{778E0ED2-FA26-43EB-BD0C-C8B6CF1F638F}" type="presParOf" srcId="{1828A67A-3DDA-4A24-9D2F-22E1A7B380CC}" destId="{C8EFFCDE-B0A9-4E5B-B648-2C442F231AB0}"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7E4BB-7E99-4309-BAE1-87BADA8AD333}">
      <dsp:nvSpPr>
        <dsp:cNvPr id="0" name=""/>
        <dsp:cNvSpPr/>
      </dsp:nvSpPr>
      <dsp:spPr>
        <a:xfrm rot="5400000">
          <a:off x="3712599" y="-1450654"/>
          <a:ext cx="1081636" cy="425745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Verdana" panose="020B0604030504040204" pitchFamily="34" charset="0"/>
              <a:ea typeface="Verdana" panose="020B0604030504040204" pitchFamily="34" charset="0"/>
            </a:rPr>
            <a:t>  Long-term movement, displays overall direction of the data over time</a:t>
          </a:r>
        </a:p>
        <a:p>
          <a:pPr marL="114300" lvl="1" indent="-114300" algn="l" defTabSz="622300">
            <a:lnSpc>
              <a:spcPct val="90000"/>
            </a:lnSpc>
            <a:spcBef>
              <a:spcPct val="0"/>
            </a:spcBef>
            <a:spcAft>
              <a:spcPct val="15000"/>
            </a:spcAft>
            <a:buChar char="•"/>
          </a:pPr>
          <a:r>
            <a:rPr lang="en-US" sz="1400" kern="1200">
              <a:latin typeface="Verdana" panose="020B0604030504040204" pitchFamily="34" charset="0"/>
              <a:ea typeface="Verdana" panose="020B0604030504040204" pitchFamily="34" charset="0"/>
            </a:rPr>
            <a:t>  General direction of their data</a:t>
          </a:r>
        </a:p>
      </dsp:txBody>
      <dsp:txXfrm rot="-5400000">
        <a:off x="2124693" y="190053"/>
        <a:ext cx="4204649" cy="976034"/>
      </dsp:txXfrm>
    </dsp:sp>
    <dsp:sp modelId="{B36431C6-4EF8-4B3B-94A0-0DB782ADE65F}">
      <dsp:nvSpPr>
        <dsp:cNvPr id="0" name=""/>
        <dsp:cNvSpPr/>
      </dsp:nvSpPr>
      <dsp:spPr>
        <a:xfrm>
          <a:off x="270123" y="2048"/>
          <a:ext cx="1854569" cy="13520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latin typeface="Verdana" panose="020B0604030504040204" pitchFamily="34" charset="0"/>
              <a:ea typeface="Verdana" panose="020B0604030504040204" pitchFamily="34" charset="0"/>
            </a:rPr>
            <a:t>Trend</a:t>
          </a:r>
        </a:p>
      </dsp:txBody>
      <dsp:txXfrm>
        <a:off x="336124" y="68049"/>
        <a:ext cx="1722567" cy="1220043"/>
      </dsp:txXfrm>
    </dsp:sp>
    <dsp:sp modelId="{6B8E264B-91CB-4895-90C6-D0F9A0F94BFE}">
      <dsp:nvSpPr>
        <dsp:cNvPr id="0" name=""/>
        <dsp:cNvSpPr/>
      </dsp:nvSpPr>
      <dsp:spPr>
        <a:xfrm rot="5400000">
          <a:off x="3712599" y="-31005"/>
          <a:ext cx="1081636" cy="425745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a:latin typeface="Verdana" panose="020B0604030504040204" pitchFamily="34" charset="0"/>
              <a:ea typeface="Verdana" panose="020B0604030504040204" pitchFamily="34" charset="0"/>
            </a:rPr>
            <a:t>  Repeating short-term cycles in the time series at regular intervals</a:t>
          </a:r>
        </a:p>
        <a:p>
          <a:pPr marL="114300" lvl="1" indent="-114300" algn="l" defTabSz="622300">
            <a:lnSpc>
              <a:spcPct val="90000"/>
            </a:lnSpc>
            <a:spcBef>
              <a:spcPct val="0"/>
            </a:spcBef>
            <a:spcAft>
              <a:spcPct val="15000"/>
            </a:spcAft>
            <a:buChar char="•"/>
          </a:pPr>
          <a:r>
            <a:rPr lang="en-US" sz="1400" kern="1200">
              <a:latin typeface="Verdana" panose="020B0604030504040204" pitchFamily="34" charset="0"/>
              <a:ea typeface="Verdana" panose="020B0604030504040204" pitchFamily="34" charset="0"/>
            </a:rPr>
            <a:t>  Seasonal analysis is useful for businesses with cyclical patterns</a:t>
          </a:r>
        </a:p>
      </dsp:txBody>
      <dsp:txXfrm rot="-5400000">
        <a:off x="2124693" y="1609702"/>
        <a:ext cx="4204649" cy="976034"/>
      </dsp:txXfrm>
    </dsp:sp>
    <dsp:sp modelId="{3BCD155D-89E4-498D-BF05-7043E83A4479}">
      <dsp:nvSpPr>
        <dsp:cNvPr id="0" name=""/>
        <dsp:cNvSpPr/>
      </dsp:nvSpPr>
      <dsp:spPr>
        <a:xfrm>
          <a:off x="270123" y="1421696"/>
          <a:ext cx="1854569" cy="13520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latin typeface="Verdana" panose="020B0604030504040204" pitchFamily="34" charset="0"/>
              <a:ea typeface="Verdana" panose="020B0604030504040204" pitchFamily="34" charset="0"/>
            </a:rPr>
            <a:t>Seasonal</a:t>
          </a:r>
        </a:p>
      </dsp:txBody>
      <dsp:txXfrm>
        <a:off x="336124" y="1487697"/>
        <a:ext cx="1722567" cy="1220043"/>
      </dsp:txXfrm>
    </dsp:sp>
    <dsp:sp modelId="{C8EFFCDE-B0A9-4E5B-B648-2C442F231AB0}">
      <dsp:nvSpPr>
        <dsp:cNvPr id="0" name=""/>
        <dsp:cNvSpPr/>
      </dsp:nvSpPr>
      <dsp:spPr>
        <a:xfrm rot="5400000">
          <a:off x="3712599" y="1388642"/>
          <a:ext cx="1081636" cy="425745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a:latin typeface="Verdana" panose="020B0604030504040204" pitchFamily="34" charset="0"/>
              <a:ea typeface="Verdana" panose="020B0604030504040204" pitchFamily="34" charset="0"/>
            </a:rPr>
            <a:t>  The random noise or irregular fluctuations</a:t>
          </a:r>
        </a:p>
        <a:p>
          <a:pPr marL="114300" lvl="1" indent="-114300" algn="l" defTabSz="622300">
            <a:lnSpc>
              <a:spcPct val="90000"/>
            </a:lnSpc>
            <a:spcBef>
              <a:spcPct val="0"/>
            </a:spcBef>
            <a:spcAft>
              <a:spcPct val="15000"/>
            </a:spcAft>
            <a:buChar char="•"/>
          </a:pPr>
          <a:r>
            <a:rPr lang="en-US" sz="1400" kern="1200">
              <a:latin typeface="Verdana" panose="020B0604030504040204" pitchFamily="34" charset="0"/>
              <a:ea typeface="Verdana" panose="020B0604030504040204" pitchFamily="34" charset="0"/>
            </a:rPr>
            <a:t>  Identify unusual or unexpected variations in the data</a:t>
          </a:r>
        </a:p>
      </dsp:txBody>
      <dsp:txXfrm rot="-5400000">
        <a:off x="2124693" y="3029350"/>
        <a:ext cx="4204649" cy="976034"/>
      </dsp:txXfrm>
    </dsp:sp>
    <dsp:sp modelId="{1BADDF3F-8B2A-46C5-B0C2-D3E78AEB22E9}">
      <dsp:nvSpPr>
        <dsp:cNvPr id="0" name=""/>
        <dsp:cNvSpPr/>
      </dsp:nvSpPr>
      <dsp:spPr>
        <a:xfrm>
          <a:off x="270123" y="2841344"/>
          <a:ext cx="1854569" cy="13520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latin typeface="Verdana" panose="020B0604030504040204" pitchFamily="34" charset="0"/>
              <a:ea typeface="Verdana" panose="020B0604030504040204" pitchFamily="34" charset="0"/>
            </a:rPr>
            <a:t>Residual</a:t>
          </a:r>
        </a:p>
      </dsp:txBody>
      <dsp:txXfrm>
        <a:off x="336124" y="2907345"/>
        <a:ext cx="1722567" cy="122004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Franklin Gothic Medium" panose="020B06030201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Franklin Gothic Medium" panose="020B0603020102020204" pitchFamily="34" charset="0"/>
              </a:rPr>
              <a:t>7/25/2024</a:t>
            </a:fld>
            <a:endParaRPr lang="en-US">
              <a:latin typeface="Franklin Gothic Medium" panose="020B06030201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Franklin Gothic Medium" panose="020B06030201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7/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a:p>
        </p:txBody>
      </p:sp>
    </p:spTree>
    <p:extLst>
      <p:ext uri="{BB962C8B-B14F-4D97-AF65-F5344CB8AC3E}">
        <p14:creationId xmlns:p14="http://schemas.microsoft.com/office/powerpoint/2010/main" val="3777564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Lagged Moving Averages </a:t>
            </a:r>
          </a:p>
          <a:p>
            <a:pPr marL="171450" indent="-171450">
              <a:buFont typeface="Arial" panose="020B0604020202020204" pitchFamily="34" charset="0"/>
              <a:buChar char="•"/>
            </a:pPr>
            <a:r>
              <a:rPr lang="en-CA"/>
              <a:t>Use past data points to smooth our short-term fluctuations and highlight longer-term trends in the stock prices. </a:t>
            </a:r>
          </a:p>
          <a:p>
            <a:pPr marL="171450" indent="-171450">
              <a:buFont typeface="Arial" panose="020B0604020202020204" pitchFamily="34" charset="0"/>
              <a:buChar char="•"/>
            </a:pPr>
            <a:r>
              <a:rPr lang="en-CA"/>
              <a:t>Essential tools for trends analysis, volatility smoothing, signal generation, and identifying support and resistance levels.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Primary Goal </a:t>
            </a:r>
          </a:p>
          <a:p>
            <a:pPr marL="171450" indent="-171450">
              <a:buFont typeface="Arial" panose="020B0604020202020204" pitchFamily="34" charset="0"/>
              <a:buChar char="•"/>
            </a:pPr>
            <a:r>
              <a:rPr lang="en-CA"/>
              <a:t>Identify the overall direction of the stock price movement. Identifying a uptrend, downtrend, or if the security is moving sideways. </a:t>
            </a:r>
          </a:p>
          <a:p>
            <a:pPr marL="171450" indent="-171450">
              <a:buFont typeface="Arial" panose="020B0604020202020204" pitchFamily="34" charset="0"/>
              <a:buChar char="•"/>
            </a:pPr>
            <a:r>
              <a:rPr lang="en-CA"/>
              <a:t>Incorporating these variables enhances the model ability to capture market dynamics and improve prediction accuracy.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Use in Model </a:t>
            </a:r>
          </a:p>
          <a:p>
            <a:pPr marL="171450" indent="-171450">
              <a:buFont typeface="Arial" panose="020B0604020202020204" pitchFamily="34" charset="0"/>
              <a:buChar char="•"/>
            </a:pPr>
            <a:r>
              <a:rPr lang="en-CA"/>
              <a:t>Identifying crossover points can be crucial indicators for making trading decisions. </a:t>
            </a:r>
          </a:p>
          <a:p>
            <a:pPr marL="171450" indent="-171450">
              <a:buFont typeface="Arial" panose="020B0604020202020204" pitchFamily="34" charset="0"/>
              <a:buChar char="•"/>
            </a:pPr>
            <a:r>
              <a:rPr lang="en-CA"/>
              <a:t>Insights into short-long and long-term trends, making our predictions more robust and reliable </a:t>
            </a:r>
          </a:p>
          <a:p>
            <a:pPr marL="171450" indent="-171450">
              <a:buFont typeface="Arial" panose="020B0604020202020204" pitchFamily="34" charset="0"/>
              <a:buChar char="•"/>
            </a:pPr>
            <a:endParaRPr lang="en-CA"/>
          </a:p>
        </p:txBody>
      </p:sp>
      <p:sp>
        <p:nvSpPr>
          <p:cNvPr id="4" name="Slide Number Placeholder 3"/>
          <p:cNvSpPr>
            <a:spLocks noGrp="1"/>
          </p:cNvSpPr>
          <p:nvPr>
            <p:ph type="sldNum" sz="quarter" idx="5"/>
          </p:nvPr>
        </p:nvSpPr>
        <p:spPr/>
        <p:txBody>
          <a:bodyPr/>
          <a:lstStyle/>
          <a:p>
            <a:fld id="{AC157E0A-F321-48DC-AF94-681D4DCF344D}" type="slidenum">
              <a:rPr lang="en-US" smtClean="0"/>
              <a:pPr/>
              <a:t>16</a:t>
            </a:fld>
            <a:endParaRPr lang="en-US"/>
          </a:p>
        </p:txBody>
      </p:sp>
    </p:spTree>
    <p:extLst>
      <p:ext uri="{BB962C8B-B14F-4D97-AF65-F5344CB8AC3E}">
        <p14:creationId xmlns:p14="http://schemas.microsoft.com/office/powerpoint/2010/main" val="2905977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The Fourier Transform is a mathematical technique that transforms time series data into constituent frequencies. </a:t>
            </a:r>
          </a:p>
          <a:p>
            <a:endParaRPr lang="en-CA"/>
          </a:p>
          <a:p>
            <a:r>
              <a:rPr lang="en-CA"/>
              <a:t>Meaning of Results </a:t>
            </a:r>
          </a:p>
          <a:p>
            <a:pPr marL="171450" indent="-171450">
              <a:buFont typeface="Arial" panose="020B0604020202020204" pitchFamily="34" charset="0"/>
              <a:buChar char="•"/>
            </a:pPr>
            <a:r>
              <a:rPr lang="en-CA"/>
              <a:t>Low Frequency – Longer Term Trends </a:t>
            </a:r>
          </a:p>
          <a:p>
            <a:pPr marL="171450" indent="-171450">
              <a:buFont typeface="Arial" panose="020B0604020202020204" pitchFamily="34" charset="0"/>
              <a:buChar char="•"/>
            </a:pPr>
            <a:r>
              <a:rPr lang="en-CA"/>
              <a:t>High Frequency – Short-Term Fluctuations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Use Cases for Fourier Transform </a:t>
            </a:r>
          </a:p>
          <a:p>
            <a:pPr marL="171450" indent="-171450">
              <a:buFont typeface="Arial" panose="020B0604020202020204" pitchFamily="34" charset="0"/>
              <a:buChar char="•"/>
            </a:pPr>
            <a:r>
              <a:rPr lang="en-CA"/>
              <a:t>Risk Management </a:t>
            </a:r>
          </a:p>
          <a:p>
            <a:pPr marL="628650" lvl="1" indent="-171450">
              <a:buFont typeface="Arial" panose="020B0604020202020204" pitchFamily="34" charset="0"/>
              <a:buChar char="•"/>
            </a:pPr>
            <a:r>
              <a:rPr lang="en-CA"/>
              <a:t>Anticipate potential fluctuations and manage risk more effectively. A high-frequency component indicating increased volatility might promote an investors to hedge their investment. </a:t>
            </a:r>
          </a:p>
          <a:p>
            <a:pPr marL="457200" lvl="1" indent="0">
              <a:buFont typeface="Arial" panose="020B0604020202020204" pitchFamily="34" charset="0"/>
              <a:buNone/>
            </a:pPr>
            <a:endParaRPr lang="en-CA"/>
          </a:p>
          <a:p>
            <a:pPr marL="171450" indent="-171450">
              <a:buFont typeface="Arial" panose="020B0604020202020204" pitchFamily="34" charset="0"/>
              <a:buChar char="•"/>
            </a:pPr>
            <a:r>
              <a:rPr lang="en-CA"/>
              <a:t>Entry and Exit Points </a:t>
            </a:r>
          </a:p>
          <a:p>
            <a:pPr marL="628650" lvl="1" indent="-171450">
              <a:buFont typeface="Arial" panose="020B0604020202020204" pitchFamily="34" charset="0"/>
              <a:buChar char="•"/>
            </a:pPr>
            <a:r>
              <a:rPr lang="en-CA"/>
              <a:t>Identifying cycles and trends that are not immediately obvious in the time-domain data.</a:t>
            </a:r>
          </a:p>
          <a:p>
            <a:pPr marL="628650" lvl="1" indent="-171450">
              <a:buFont typeface="Arial" panose="020B0604020202020204" pitchFamily="34" charset="0"/>
              <a:buChar char="•"/>
            </a:pPr>
            <a:r>
              <a:rPr lang="en-CA"/>
              <a:t>Identifying cycles to time their trades better, buying at low points and selling at high points in the cycle. </a:t>
            </a:r>
          </a:p>
          <a:p>
            <a:endParaRPr lang="en-CA"/>
          </a:p>
        </p:txBody>
      </p:sp>
      <p:sp>
        <p:nvSpPr>
          <p:cNvPr id="4" name="Slide Number Placeholder 3"/>
          <p:cNvSpPr>
            <a:spLocks noGrp="1"/>
          </p:cNvSpPr>
          <p:nvPr>
            <p:ph type="sldNum" sz="quarter" idx="5"/>
          </p:nvPr>
        </p:nvSpPr>
        <p:spPr/>
        <p:txBody>
          <a:bodyPr/>
          <a:lstStyle/>
          <a:p>
            <a:fld id="{AC157E0A-F321-48DC-AF94-681D4DCF344D}" type="slidenum">
              <a:rPr lang="en-US" smtClean="0"/>
              <a:pPr/>
              <a:t>17</a:t>
            </a:fld>
            <a:endParaRPr lang="en-US"/>
          </a:p>
        </p:txBody>
      </p:sp>
    </p:spTree>
    <p:extLst>
      <p:ext uri="{BB962C8B-B14F-4D97-AF65-F5344CB8AC3E}">
        <p14:creationId xmlns:p14="http://schemas.microsoft.com/office/powerpoint/2010/main" val="36854110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Technical indicators are used to help understand market sentiment and make informed trading decisions.</a:t>
            </a:r>
          </a:p>
          <a:p>
            <a:endParaRPr lang="en-CA"/>
          </a:p>
          <a:p>
            <a:r>
              <a:rPr lang="en-CA"/>
              <a:t>Technical indicators help to identify: </a:t>
            </a:r>
          </a:p>
          <a:p>
            <a:endParaRPr lang="en-CA"/>
          </a:p>
          <a:p>
            <a:pPr marL="0" indent="0">
              <a:buFont typeface="Arial" panose="020B0604020202020204" pitchFamily="34" charset="0"/>
              <a:buNone/>
            </a:pPr>
            <a:r>
              <a:rPr lang="en-CA"/>
              <a:t>Trend Identification </a:t>
            </a:r>
          </a:p>
          <a:p>
            <a:pPr marL="171450" indent="-171450">
              <a:buFont typeface="Arial" panose="020B0604020202020204" pitchFamily="34" charset="0"/>
              <a:buChar char="•"/>
            </a:pPr>
            <a:r>
              <a:rPr lang="en-CA"/>
              <a:t>MACD and SMA can be used in recognizing the direction of the trends</a:t>
            </a:r>
          </a:p>
          <a:p>
            <a:pPr marL="0" indent="0">
              <a:buFont typeface="Arial" panose="020B0604020202020204" pitchFamily="34" charset="0"/>
              <a:buNone/>
            </a:pPr>
            <a:endParaRPr lang="en-CA"/>
          </a:p>
          <a:p>
            <a:pPr marL="0" indent="0">
              <a:buFont typeface="Arial" panose="020B0604020202020204" pitchFamily="34" charset="0"/>
              <a:buNone/>
            </a:pPr>
            <a:r>
              <a:rPr lang="en-CA"/>
              <a:t>Volatility Measurement</a:t>
            </a:r>
          </a:p>
          <a:p>
            <a:pPr marL="171450" indent="-171450">
              <a:buFont typeface="Arial" panose="020B0604020202020204" pitchFamily="34" charset="0"/>
              <a:buChar char="•"/>
            </a:pPr>
            <a:r>
              <a:rPr lang="en-CA"/>
              <a:t>Bollinger Bands are used to gauge market volatility and help traders adjust strategies accordingly.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Strength of Trend </a:t>
            </a:r>
          </a:p>
          <a:p>
            <a:pPr marL="171450" indent="-171450">
              <a:buFont typeface="Arial" panose="020B0604020202020204" pitchFamily="34" charset="0"/>
              <a:buChar char="•"/>
            </a:pPr>
            <a:r>
              <a:rPr lang="en-CA"/>
              <a:t>ADX can be used to quantify the strength of the current</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Overbought / Oversold Conditions</a:t>
            </a:r>
          </a:p>
          <a:p>
            <a:pPr marL="171450" indent="-171450">
              <a:buFont typeface="Arial" panose="020B0604020202020204" pitchFamily="34" charset="0"/>
              <a:buChar char="•"/>
            </a:pPr>
            <a:r>
              <a:rPr lang="en-CA"/>
              <a:t>RSI is used to detect overbought or oversold conditions to signal potential entry or exit points.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Using technical indicators traders can make informed decisions, manage risk more effectively, and optimize trading strategies. </a:t>
            </a:r>
          </a:p>
        </p:txBody>
      </p:sp>
      <p:sp>
        <p:nvSpPr>
          <p:cNvPr id="4" name="Slide Number Placeholder 3"/>
          <p:cNvSpPr>
            <a:spLocks noGrp="1"/>
          </p:cNvSpPr>
          <p:nvPr>
            <p:ph type="sldNum" sz="quarter" idx="5"/>
          </p:nvPr>
        </p:nvSpPr>
        <p:spPr/>
        <p:txBody>
          <a:bodyPr/>
          <a:lstStyle/>
          <a:p>
            <a:fld id="{AC157E0A-F321-48DC-AF94-681D4DCF344D}" type="slidenum">
              <a:rPr lang="en-US" smtClean="0"/>
              <a:pPr/>
              <a:t>18</a:t>
            </a:fld>
            <a:endParaRPr lang="en-US"/>
          </a:p>
        </p:txBody>
      </p:sp>
    </p:spTree>
    <p:extLst>
      <p:ext uri="{BB962C8B-B14F-4D97-AF65-F5344CB8AC3E}">
        <p14:creationId xmlns:p14="http://schemas.microsoft.com/office/powerpoint/2010/main" val="12034738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Interaction features help in understanding how different aspects of the market interact with each other, providing deeper insights and improving the predictive power of the model. </a:t>
            </a:r>
          </a:p>
          <a:p>
            <a:endParaRPr lang="en-CA"/>
          </a:p>
          <a:p>
            <a:r>
              <a:rPr lang="en-CA"/>
              <a:t>These aspects capture overbought / oversold conditions, features suggesting strong investor interest and confidence, and the changes in trend strength and momentum </a:t>
            </a:r>
          </a:p>
          <a:p>
            <a:endParaRPr lang="en-CA"/>
          </a:p>
          <a:p>
            <a:r>
              <a:rPr lang="en-CA"/>
              <a:t>The features help in detecting critical points where market conditions are likely to change, providing valuable insights for trading strategies. </a:t>
            </a:r>
          </a:p>
        </p:txBody>
      </p:sp>
      <p:sp>
        <p:nvSpPr>
          <p:cNvPr id="4" name="Slide Number Placeholder 3"/>
          <p:cNvSpPr>
            <a:spLocks noGrp="1"/>
          </p:cNvSpPr>
          <p:nvPr>
            <p:ph type="sldNum" sz="quarter" idx="5"/>
          </p:nvPr>
        </p:nvSpPr>
        <p:spPr/>
        <p:txBody>
          <a:bodyPr/>
          <a:lstStyle/>
          <a:p>
            <a:fld id="{AC157E0A-F321-48DC-AF94-681D4DCF344D}" type="slidenum">
              <a:rPr lang="en-US" smtClean="0"/>
              <a:pPr/>
              <a:t>19</a:t>
            </a:fld>
            <a:endParaRPr lang="en-US"/>
          </a:p>
        </p:txBody>
      </p:sp>
    </p:spTree>
    <p:extLst>
      <p:ext uri="{BB962C8B-B14F-4D97-AF65-F5344CB8AC3E}">
        <p14:creationId xmlns:p14="http://schemas.microsoft.com/office/powerpoint/2010/main" val="15767126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These features analyze trading volume data in conjunction with price movements. Proving insights into the strength and direction of price movements. </a:t>
            </a:r>
          </a:p>
          <a:p>
            <a:endParaRPr lang="en-CA"/>
          </a:p>
          <a:p>
            <a:r>
              <a:rPr lang="en-CA"/>
              <a:t>Use of Volume-Based Features </a:t>
            </a:r>
          </a:p>
          <a:p>
            <a:endParaRPr lang="en-CA"/>
          </a:p>
          <a:p>
            <a:r>
              <a:rPr lang="en-CA"/>
              <a:t>Validation of Price Trends </a:t>
            </a:r>
          </a:p>
          <a:p>
            <a:pPr marL="171450" indent="-171450">
              <a:buFont typeface="Arial" panose="020B0604020202020204" pitchFamily="34" charset="0"/>
              <a:buChar char="•"/>
            </a:pPr>
            <a:r>
              <a:rPr lang="en-CA"/>
              <a:t>VPT and OBV help in confirming whether a price trend is backed by sufficient trading volume.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Identifying Buying and Selling Pressures </a:t>
            </a:r>
          </a:p>
          <a:p>
            <a:pPr marL="171450" indent="-171450">
              <a:buFont typeface="Arial" panose="020B0604020202020204" pitchFamily="34" charset="0"/>
              <a:buChar char="•"/>
            </a:pPr>
            <a:r>
              <a:rPr lang="en-CA"/>
              <a:t>Features like OBV and CMF provide insight into underlying market sentiment, identifying if the market is dominated by buyers or sellers </a:t>
            </a:r>
          </a:p>
          <a:p>
            <a:pPr marL="0" indent="0">
              <a:buFont typeface="Arial" panose="020B0604020202020204" pitchFamily="34" charset="0"/>
              <a:buNone/>
            </a:pPr>
            <a:endParaRPr lang="en-CA"/>
          </a:p>
          <a:p>
            <a:pPr marL="0" indent="0">
              <a:buFont typeface="Arial" panose="020B0604020202020204" pitchFamily="34" charset="0"/>
              <a:buNone/>
            </a:pPr>
            <a:r>
              <a:rPr lang="en-CA"/>
              <a:t>Supply and Demand Analysis </a:t>
            </a:r>
          </a:p>
          <a:p>
            <a:pPr marL="171450" indent="-171450">
              <a:buFont typeface="Arial" panose="020B0604020202020204" pitchFamily="34" charset="0"/>
              <a:buChar char="•"/>
            </a:pPr>
            <a:r>
              <a:rPr lang="en-CA"/>
              <a:t>ADI helps identifying periods of accumulation and distribution providing insight into potential future movements. </a:t>
            </a:r>
          </a:p>
          <a:p>
            <a:pPr marL="0" indent="0">
              <a:buFont typeface="Arial" panose="020B0604020202020204" pitchFamily="34" charset="0"/>
              <a:buNone/>
            </a:pPr>
            <a:endParaRPr lang="en-CA"/>
          </a:p>
          <a:p>
            <a:pPr marL="0" indent="0">
              <a:buFont typeface="Arial" panose="020B0604020202020204" pitchFamily="34" charset="0"/>
              <a:buNone/>
            </a:pPr>
            <a:r>
              <a:rPr lang="en-CA"/>
              <a:t>Measuring Market Momentum </a:t>
            </a:r>
          </a:p>
          <a:p>
            <a:pPr marL="171450" indent="-171450">
              <a:buFont typeface="Arial" panose="020B0604020202020204" pitchFamily="34" charset="0"/>
              <a:buChar char="•"/>
            </a:pPr>
            <a:r>
              <a:rPr lang="en-CA"/>
              <a:t>FI helps to quantifying the force of price changes considering both price and volume to indicate the strength of market momentum.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These features help in detecting critical points where volume supports or contradicts price movements. </a:t>
            </a:r>
          </a:p>
        </p:txBody>
      </p:sp>
      <p:sp>
        <p:nvSpPr>
          <p:cNvPr id="4" name="Slide Number Placeholder 3"/>
          <p:cNvSpPr>
            <a:spLocks noGrp="1"/>
          </p:cNvSpPr>
          <p:nvPr>
            <p:ph type="sldNum" sz="quarter" idx="5"/>
          </p:nvPr>
        </p:nvSpPr>
        <p:spPr/>
        <p:txBody>
          <a:bodyPr/>
          <a:lstStyle/>
          <a:p>
            <a:fld id="{AC157E0A-F321-48DC-AF94-681D4DCF344D}" type="slidenum">
              <a:rPr lang="en-US" smtClean="0"/>
              <a:pPr/>
              <a:t>20</a:t>
            </a:fld>
            <a:endParaRPr lang="en-US"/>
          </a:p>
        </p:txBody>
      </p:sp>
    </p:spTree>
    <p:extLst>
      <p:ext uri="{BB962C8B-B14F-4D97-AF65-F5344CB8AC3E}">
        <p14:creationId xmlns:p14="http://schemas.microsoft.com/office/powerpoint/2010/main" val="21417301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1</a:t>
            </a:fld>
            <a:endParaRPr lang="en-US"/>
          </a:p>
        </p:txBody>
      </p:sp>
    </p:spTree>
    <p:extLst>
      <p:ext uri="{BB962C8B-B14F-4D97-AF65-F5344CB8AC3E}">
        <p14:creationId xmlns:p14="http://schemas.microsoft.com/office/powerpoint/2010/main" val="15220312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chemeClr val="tx1"/>
                </a:solidFill>
              </a:rPr>
              <a:t>We forecasted stock prices 21 trading days ahead using a forward lag variable and the most influential predictors. Our model, based on the latest five days of data, provided detailed forecasts for the week of July 22, 2024, to July 26, 2024. These forecasts offer valuable insights into market trends, aiding in portfolio allocation.</a:t>
            </a:r>
          </a:p>
          <a:p>
            <a:endParaRPr lang="en-CA"/>
          </a:p>
        </p:txBody>
      </p:sp>
      <p:sp>
        <p:nvSpPr>
          <p:cNvPr id="4" name="Slide Number Placeholder 3"/>
          <p:cNvSpPr>
            <a:spLocks noGrp="1"/>
          </p:cNvSpPr>
          <p:nvPr>
            <p:ph type="sldNum" sz="quarter" idx="5"/>
          </p:nvPr>
        </p:nvSpPr>
        <p:spPr/>
        <p:txBody>
          <a:bodyPr/>
          <a:lstStyle/>
          <a:p>
            <a:fld id="{AC157E0A-F321-48DC-AF94-681D4DCF344D}" type="slidenum">
              <a:rPr lang="en-US" smtClean="0"/>
              <a:pPr/>
              <a:t>25</a:t>
            </a:fld>
            <a:endParaRPr lang="en-US"/>
          </a:p>
        </p:txBody>
      </p:sp>
    </p:spTree>
    <p:extLst>
      <p:ext uri="{BB962C8B-B14F-4D97-AF65-F5344CB8AC3E}">
        <p14:creationId xmlns:p14="http://schemas.microsoft.com/office/powerpoint/2010/main" val="1298988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We forecasted stock prices 21 trading days ahead using a forward lag variable and the most influential predictors. Our model, based on the latest five days of data, provided detailed forecasts for the week of July 22, 2024, to July 26, 2024. These forecasts offer valuable insights into market trends, aiding in portfolio allocation.</a:t>
            </a:r>
          </a:p>
          <a:p>
            <a:endParaRPr lang="en-CA"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26</a:t>
            </a:fld>
            <a:endParaRPr lang="en-US" dirty="0"/>
          </a:p>
        </p:txBody>
      </p:sp>
    </p:spTree>
    <p:extLst>
      <p:ext uri="{BB962C8B-B14F-4D97-AF65-F5344CB8AC3E}">
        <p14:creationId xmlns:p14="http://schemas.microsoft.com/office/powerpoint/2010/main" val="1455094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The final model started with key features to help identify the trend and momentum of the stock prices using KNN with a 5-day rolling window approach. The method uses the past 5 days of data to make predictions for the 6th-Day and creates a 5-Day Forward prediction. </a:t>
            </a:r>
          </a:p>
          <a:p>
            <a:endParaRPr lang="en-CA"/>
          </a:p>
          <a:p>
            <a:r>
              <a:rPr lang="en-CA"/>
              <a:t>The model performed very well when using the last 5 days to predict the 6</a:t>
            </a:r>
            <a:r>
              <a:rPr lang="en-CA" baseline="30000"/>
              <a:t>th</a:t>
            </a:r>
            <a:r>
              <a:rPr lang="en-CA"/>
              <a:t> day with an MSE below 1 and an R-Squared of 99%. </a:t>
            </a:r>
          </a:p>
          <a:p>
            <a:endParaRPr lang="en-CA"/>
          </a:p>
          <a:p>
            <a:r>
              <a:rPr lang="en-CA"/>
              <a:t>When predicting the 5-Day forward price, the model still performed quite well with a MSE of ~1.3 and an R-Squared of ~97%. </a:t>
            </a:r>
          </a:p>
          <a:p>
            <a:endParaRPr lang="en-CA"/>
          </a:p>
          <a:p>
            <a:endParaRPr lang="en-CA"/>
          </a:p>
        </p:txBody>
      </p:sp>
      <p:sp>
        <p:nvSpPr>
          <p:cNvPr id="4" name="Slide Number Placeholder 3"/>
          <p:cNvSpPr>
            <a:spLocks noGrp="1"/>
          </p:cNvSpPr>
          <p:nvPr>
            <p:ph type="sldNum" sz="quarter" idx="5"/>
          </p:nvPr>
        </p:nvSpPr>
        <p:spPr/>
        <p:txBody>
          <a:bodyPr/>
          <a:lstStyle/>
          <a:p>
            <a:fld id="{AC157E0A-F321-48DC-AF94-681D4DCF344D}" type="slidenum">
              <a:rPr lang="en-US" smtClean="0"/>
              <a:pPr/>
              <a:t>27</a:t>
            </a:fld>
            <a:endParaRPr lang="en-US"/>
          </a:p>
        </p:txBody>
      </p:sp>
    </p:spTree>
    <p:extLst>
      <p:ext uri="{BB962C8B-B14F-4D97-AF65-F5344CB8AC3E}">
        <p14:creationId xmlns:p14="http://schemas.microsoft.com/office/powerpoint/2010/main" val="16753993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We further refined the model to enhance the prediction accuracy by expanding feature selection and utilizing a more sophisticated model, by incorporating </a:t>
            </a:r>
            <a:r>
              <a:rPr lang="en-CA" err="1"/>
              <a:t>RandomForestRegressor</a:t>
            </a:r>
            <a:r>
              <a:rPr lang="en-CA"/>
              <a:t> optimized with </a:t>
            </a:r>
            <a:r>
              <a:rPr lang="en-CA" err="1"/>
              <a:t>GridSearchCV</a:t>
            </a:r>
            <a:r>
              <a:rPr lang="en-CA"/>
              <a:t> to provide insights into the importance of different features in making predictions. </a:t>
            </a:r>
          </a:p>
          <a:p>
            <a:endParaRPr lang="en-CA"/>
          </a:p>
          <a:p>
            <a:r>
              <a:rPr lang="en-CA"/>
              <a:t>The expanded features capture various aspects including momentum, trend strength, volatility, and volume, providing a comprehensive view for the model. Despite some deviations, the model demonstrates strong performance, making it suitable for practical stock price predictions and potential trading strategy development. </a:t>
            </a:r>
          </a:p>
          <a:p>
            <a:endParaRPr lang="en-CA"/>
          </a:p>
          <a:p>
            <a:endParaRPr lang="en-CA"/>
          </a:p>
        </p:txBody>
      </p:sp>
      <p:sp>
        <p:nvSpPr>
          <p:cNvPr id="4" name="Slide Number Placeholder 3"/>
          <p:cNvSpPr>
            <a:spLocks noGrp="1"/>
          </p:cNvSpPr>
          <p:nvPr>
            <p:ph type="sldNum" sz="quarter" idx="5"/>
          </p:nvPr>
        </p:nvSpPr>
        <p:spPr/>
        <p:txBody>
          <a:bodyPr/>
          <a:lstStyle/>
          <a:p>
            <a:fld id="{AC157E0A-F321-48DC-AF94-681D4DCF344D}" type="slidenum">
              <a:rPr lang="en-US" smtClean="0"/>
              <a:pPr/>
              <a:t>28</a:t>
            </a:fld>
            <a:endParaRPr lang="en-US"/>
          </a:p>
        </p:txBody>
      </p:sp>
    </p:spTree>
    <p:extLst>
      <p:ext uri="{BB962C8B-B14F-4D97-AF65-F5344CB8AC3E}">
        <p14:creationId xmlns:p14="http://schemas.microsoft.com/office/powerpoint/2010/main" val="3943220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a:t>
            </a:fld>
            <a:endParaRPr lang="en-US"/>
          </a:p>
        </p:txBody>
      </p:sp>
    </p:spTree>
    <p:extLst>
      <p:ext uri="{BB962C8B-B14F-4D97-AF65-F5344CB8AC3E}">
        <p14:creationId xmlns:p14="http://schemas.microsoft.com/office/powerpoint/2010/main" val="7778455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9</a:t>
            </a:fld>
            <a:endParaRPr lang="en-US"/>
          </a:p>
        </p:txBody>
      </p:sp>
    </p:spTree>
    <p:extLst>
      <p:ext uri="{BB962C8B-B14F-4D97-AF65-F5344CB8AC3E}">
        <p14:creationId xmlns:p14="http://schemas.microsoft.com/office/powerpoint/2010/main" val="27809517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7</a:t>
            </a:fld>
            <a:endParaRPr lang="en-US"/>
          </a:p>
        </p:txBody>
      </p:sp>
    </p:spTree>
    <p:extLst>
      <p:ext uri="{BB962C8B-B14F-4D97-AF65-F5344CB8AC3E}">
        <p14:creationId xmlns:p14="http://schemas.microsoft.com/office/powerpoint/2010/main" val="9372837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sym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322452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a:t>
            </a:fld>
            <a:endParaRPr lang="en-US"/>
          </a:p>
        </p:txBody>
      </p:sp>
    </p:spTree>
    <p:extLst>
      <p:ext uri="{BB962C8B-B14F-4D97-AF65-F5344CB8AC3E}">
        <p14:creationId xmlns:p14="http://schemas.microsoft.com/office/powerpoint/2010/main" val="15098336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sym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505810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a:t>
            </a:fld>
            <a:endParaRPr lang="en-US"/>
          </a:p>
        </p:txBody>
      </p:sp>
    </p:spTree>
    <p:extLst>
      <p:ext uri="{BB962C8B-B14F-4D97-AF65-F5344CB8AC3E}">
        <p14:creationId xmlns:p14="http://schemas.microsoft.com/office/powerpoint/2010/main" val="3158020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3</a:t>
            </a:fld>
            <a:endParaRPr lang="en-US"/>
          </a:p>
        </p:txBody>
      </p:sp>
    </p:spTree>
    <p:extLst>
      <p:ext uri="{BB962C8B-B14F-4D97-AF65-F5344CB8AC3E}">
        <p14:creationId xmlns:p14="http://schemas.microsoft.com/office/powerpoint/2010/main" val="3423687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These longer-term moving averages help to identify the strength and direction of a trend. </a:t>
            </a:r>
          </a:p>
          <a:p>
            <a:endParaRPr lang="en-CA"/>
          </a:p>
          <a:p>
            <a:r>
              <a:rPr lang="en-CA"/>
              <a:t>Used in:</a:t>
            </a:r>
          </a:p>
          <a:p>
            <a:endParaRPr lang="en-CA"/>
          </a:p>
          <a:p>
            <a:r>
              <a:rPr lang="en-CA"/>
              <a:t>Trend Direction Identification</a:t>
            </a:r>
          </a:p>
          <a:p>
            <a:pPr marL="171450" indent="-171450">
              <a:buFont typeface="Arial" panose="020B0604020202020204" pitchFamily="34" charset="0"/>
              <a:buChar char="•"/>
            </a:pPr>
            <a:r>
              <a:rPr lang="en-CA"/>
              <a:t>Identifying market is in a uptrend, downtrend, or moving sideways.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Support and Resistance Levels</a:t>
            </a:r>
          </a:p>
          <a:p>
            <a:pPr marL="171450" indent="-171450">
              <a:buFont typeface="Arial" panose="020B0604020202020204" pitchFamily="34" charset="0"/>
              <a:buChar char="•"/>
            </a:pPr>
            <a:r>
              <a:rPr lang="en-CA"/>
              <a:t>Can act as dynamic support and resistance levels, proving entry and exit points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Trend Strength Measurement </a:t>
            </a:r>
          </a:p>
          <a:p>
            <a:pPr marL="171450" indent="-171450">
              <a:buFont typeface="Arial" panose="020B0604020202020204" pitchFamily="34" charset="0"/>
              <a:buChar char="•"/>
            </a:pPr>
            <a:r>
              <a:rPr lang="en-CA"/>
              <a:t>Whether a trend is likely to </a:t>
            </a:r>
            <a:r>
              <a:rPr lang="en-CA" err="1"/>
              <a:t>contiune</a:t>
            </a:r>
            <a:r>
              <a:rPr lang="en-CA"/>
              <a:t> or reverse.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Volatility Adjustment </a:t>
            </a:r>
          </a:p>
          <a:p>
            <a:pPr marL="171450" indent="-171450">
              <a:buFont typeface="Arial" panose="020B0604020202020204" pitchFamily="34" charset="0"/>
              <a:buChar char="•"/>
            </a:pPr>
            <a:r>
              <a:rPr lang="en-CA"/>
              <a:t>Features like EMA are useful in more volatile markets.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Help in detecting critical points where the trend might change, providing valuable insights for trading strategies. </a:t>
            </a:r>
          </a:p>
          <a:p>
            <a:endParaRPr lang="en-CA"/>
          </a:p>
        </p:txBody>
      </p:sp>
      <p:sp>
        <p:nvSpPr>
          <p:cNvPr id="4" name="Slide Number Placeholder 3"/>
          <p:cNvSpPr>
            <a:spLocks noGrp="1"/>
          </p:cNvSpPr>
          <p:nvPr>
            <p:ph type="sldNum" sz="quarter" idx="5"/>
          </p:nvPr>
        </p:nvSpPr>
        <p:spPr/>
        <p:txBody>
          <a:bodyPr/>
          <a:lstStyle/>
          <a:p>
            <a:fld id="{AC157E0A-F321-48DC-AF94-681D4DCF344D}" type="slidenum">
              <a:rPr lang="en-US" smtClean="0"/>
              <a:pPr/>
              <a:t>14</a:t>
            </a:fld>
            <a:endParaRPr lang="en-US"/>
          </a:p>
        </p:txBody>
      </p:sp>
    </p:spTree>
    <p:extLst>
      <p:ext uri="{BB962C8B-B14F-4D97-AF65-F5344CB8AC3E}">
        <p14:creationId xmlns:p14="http://schemas.microsoft.com/office/powerpoint/2010/main" val="3698518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Used to breakdown a timeseries into constituent components, including trend, seasonal, and residual components. Understanding these seasonal cycles, investors can make informed decisions about resource allocation, marketing strategies, and investment opportunities. </a:t>
            </a:r>
          </a:p>
          <a:p>
            <a:endParaRPr lang="en-CA"/>
          </a:p>
          <a:p>
            <a:r>
              <a:rPr lang="en-CA"/>
              <a:t>Trend</a:t>
            </a:r>
          </a:p>
          <a:p>
            <a:pPr marL="171450" indent="-171450">
              <a:buFont typeface="Arial" panose="020B0604020202020204" pitchFamily="34" charset="0"/>
              <a:buChar char="•"/>
            </a:pPr>
            <a:r>
              <a:rPr lang="en-CA"/>
              <a:t>Provides insights into general direction in which the data is moving to identify long-term growth or decline.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Seasonal </a:t>
            </a:r>
          </a:p>
          <a:p>
            <a:pPr marL="171450" indent="-171450">
              <a:buFont typeface="Arial" panose="020B0604020202020204" pitchFamily="34" charset="0"/>
              <a:buChar char="•"/>
            </a:pPr>
            <a:r>
              <a:rPr lang="en-CA"/>
              <a:t>Helps identify patterns that occur at regular intervals – quarterly reports, seasonal sales trends, or other periodic factors. </a:t>
            </a:r>
          </a:p>
          <a:p>
            <a:pPr marL="171450" indent="-171450">
              <a:buFont typeface="Arial" panose="020B0604020202020204" pitchFamily="34" charset="0"/>
              <a:buChar char="•"/>
            </a:pPr>
            <a:endParaRPr lang="en-CA"/>
          </a:p>
          <a:p>
            <a:pPr marL="0" indent="0">
              <a:buFont typeface="Arial" panose="020B0604020202020204" pitchFamily="34" charset="0"/>
              <a:buNone/>
            </a:pPr>
            <a:r>
              <a:rPr lang="en-CA"/>
              <a:t>Residual </a:t>
            </a:r>
          </a:p>
          <a:p>
            <a:pPr marL="171450" indent="-171450">
              <a:buFont typeface="Arial" panose="020B0604020202020204" pitchFamily="34" charset="0"/>
              <a:buChar char="•"/>
            </a:pPr>
            <a:r>
              <a:rPr lang="en-CA"/>
              <a:t>Identifying unusual or expected variations that cannot be explained by the trend or seasonal components. </a:t>
            </a:r>
          </a:p>
        </p:txBody>
      </p:sp>
      <p:sp>
        <p:nvSpPr>
          <p:cNvPr id="4" name="Slide Number Placeholder 3"/>
          <p:cNvSpPr>
            <a:spLocks noGrp="1"/>
          </p:cNvSpPr>
          <p:nvPr>
            <p:ph type="sldNum" sz="quarter" idx="5"/>
          </p:nvPr>
        </p:nvSpPr>
        <p:spPr/>
        <p:txBody>
          <a:bodyPr/>
          <a:lstStyle/>
          <a:p>
            <a:fld id="{AC157E0A-F321-48DC-AF94-681D4DCF344D}" type="slidenum">
              <a:rPr lang="en-US" smtClean="0"/>
              <a:pPr/>
              <a:t>15</a:t>
            </a:fld>
            <a:endParaRPr lang="en-US"/>
          </a:p>
        </p:txBody>
      </p:sp>
    </p:spTree>
    <p:extLst>
      <p:ext uri="{BB962C8B-B14F-4D97-AF65-F5344CB8AC3E}">
        <p14:creationId xmlns:p14="http://schemas.microsoft.com/office/powerpoint/2010/main" val="31422135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3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3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40.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41.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7.xml"/><Relationship Id="rId1" Type="http://schemas.openxmlformats.org/officeDocument/2006/relationships/tags" Target="../tags/tag43.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7.xml"/><Relationship Id="rId1" Type="http://schemas.openxmlformats.org/officeDocument/2006/relationships/tags" Target="../tags/tag4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7.xml"/><Relationship Id="rId1" Type="http://schemas.openxmlformats.org/officeDocument/2006/relationships/tags" Target="../tags/tag4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7.xml"/><Relationship Id="rId1" Type="http://schemas.openxmlformats.org/officeDocument/2006/relationships/tags" Target="../tags/tag4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7.xml"/><Relationship Id="rId1" Type="http://schemas.openxmlformats.org/officeDocument/2006/relationships/tags" Target="../tags/tag4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7.xml"/><Relationship Id="rId1" Type="http://schemas.openxmlformats.org/officeDocument/2006/relationships/tags" Target="../tags/tag48.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7.xml"/><Relationship Id="rId1" Type="http://schemas.openxmlformats.org/officeDocument/2006/relationships/tags" Target="../tags/tag4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8.xml"/><Relationship Id="rId1" Type="http://schemas.openxmlformats.org/officeDocument/2006/relationships/tags" Target="../tags/tag50.xml"/><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8.xml"/><Relationship Id="rId1" Type="http://schemas.openxmlformats.org/officeDocument/2006/relationships/tags" Target="../tags/tag51.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8.xml"/><Relationship Id="rId1" Type="http://schemas.openxmlformats.org/officeDocument/2006/relationships/tags" Target="../tags/tag52.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8.xml"/><Relationship Id="rId1" Type="http://schemas.openxmlformats.org/officeDocument/2006/relationships/tags" Target="../tags/tag53.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8.xml"/><Relationship Id="rId1" Type="http://schemas.openxmlformats.org/officeDocument/2006/relationships/tags" Target="../tags/tag54.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5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Tree>
    <p:extLst>
      <p:ext uri="{BB962C8B-B14F-4D97-AF65-F5344CB8AC3E}">
        <p14:creationId xmlns:p14="http://schemas.microsoft.com/office/powerpoint/2010/main" val="4243718782"/>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964120866"/>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271058265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364442303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93581991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Tree>
    <p:extLst>
      <p:ext uri="{BB962C8B-B14F-4D97-AF65-F5344CB8AC3E}">
        <p14:creationId xmlns:p14="http://schemas.microsoft.com/office/powerpoint/2010/main" val="3729529023"/>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346673089"/>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297898824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76263"/>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0"/>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7626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80291"/>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805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Application</a:t>
            </a:r>
          </a:p>
        </p:txBody>
      </p:sp>
      <p:sp>
        <p:nvSpPr>
          <p:cNvPr id="24" name="Footer Placeholder 5">
            <a:extLst>
              <a:ext uri="{FF2B5EF4-FFF2-40B4-BE49-F238E27FC236}">
                <a16:creationId xmlns:a16="http://schemas.microsoft.com/office/drawing/2014/main" id="{34765EEC-B451-0A1E-0D1B-F8C701B6069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844118546"/>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9" name="TextBox 8">
            <a:extLst>
              <a:ext uri="{FF2B5EF4-FFF2-40B4-BE49-F238E27FC236}">
                <a16:creationId xmlns:a16="http://schemas.microsoft.com/office/drawing/2014/main" id="{FAB07795-2FF5-56AA-0106-E7591702D28C}"/>
              </a:ext>
            </a:extLst>
          </p:cNvPr>
          <p:cNvSpPr txBox="1"/>
          <p:nvPr userDrawn="1"/>
        </p:nvSpPr>
        <p:spPr>
          <a:xfrm>
            <a:off x="1058779" y="6641432"/>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1" name="TextBox 10">
            <a:extLst>
              <a:ext uri="{FF2B5EF4-FFF2-40B4-BE49-F238E27FC236}">
                <a16:creationId xmlns:a16="http://schemas.microsoft.com/office/drawing/2014/main" id="{0CEDCA57-2639-3EF3-4B72-5A995CB0489C}"/>
              </a:ext>
            </a:extLst>
          </p:cNvPr>
          <p:cNvSpPr txBox="1"/>
          <p:nvPr userDrawn="1"/>
        </p:nvSpPr>
        <p:spPr>
          <a:xfrm>
            <a:off x="1379621" y="660934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4014094112"/>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p>
        </p:txBody>
      </p:sp>
      <p:sp>
        <p:nvSpPr>
          <p:cNvPr id="2" name="Rectángulo 3">
            <a:extLst>
              <a:ext uri="{FF2B5EF4-FFF2-40B4-BE49-F238E27FC236}">
                <a16:creationId xmlns:a16="http://schemas.microsoft.com/office/drawing/2014/main" id="{5D3F3007-73A3-58EA-9AF5-F4733620EF8F}"/>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99295193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4" name="Rectángulo 3">
            <a:extLst>
              <a:ext uri="{FF2B5EF4-FFF2-40B4-BE49-F238E27FC236}">
                <a16:creationId xmlns:a16="http://schemas.microsoft.com/office/drawing/2014/main" id="{B822DFBA-5DF6-4A6B-CFEA-E177E759768F}"/>
              </a:ext>
            </a:extLst>
          </p:cNvPr>
          <p:cNvSpPr/>
          <p:nvPr userDrawn="1"/>
        </p:nvSpPr>
        <p:spPr>
          <a:xfrm>
            <a:off x="381001" y="6448425"/>
            <a:ext cx="1016793" cy="303439"/>
          </a:xfrm>
          <a:prstGeom prst="rect">
            <a:avLst/>
          </a:prstGeom>
          <a:solidFill>
            <a:srgbClr val="121E6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4066646512"/>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753597770"/>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406213804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76263"/>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0"/>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7626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80291"/>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805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Application</a:t>
            </a:r>
          </a:p>
        </p:txBody>
      </p:sp>
      <p:sp>
        <p:nvSpPr>
          <p:cNvPr id="24" name="Footer Placeholder 5">
            <a:extLst>
              <a:ext uri="{FF2B5EF4-FFF2-40B4-BE49-F238E27FC236}">
                <a16:creationId xmlns:a16="http://schemas.microsoft.com/office/drawing/2014/main" id="{34765EEC-B451-0A1E-0D1B-F8C701B6069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539195595"/>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9" name="TextBox 8">
            <a:extLst>
              <a:ext uri="{FF2B5EF4-FFF2-40B4-BE49-F238E27FC236}">
                <a16:creationId xmlns:a16="http://schemas.microsoft.com/office/drawing/2014/main" id="{FAB07795-2FF5-56AA-0106-E7591702D28C}"/>
              </a:ext>
            </a:extLst>
          </p:cNvPr>
          <p:cNvSpPr txBox="1"/>
          <p:nvPr userDrawn="1"/>
        </p:nvSpPr>
        <p:spPr>
          <a:xfrm>
            <a:off x="1058779" y="6641432"/>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1" name="TextBox 10">
            <a:extLst>
              <a:ext uri="{FF2B5EF4-FFF2-40B4-BE49-F238E27FC236}">
                <a16:creationId xmlns:a16="http://schemas.microsoft.com/office/drawing/2014/main" id="{0CEDCA57-2639-3EF3-4B72-5A995CB0489C}"/>
              </a:ext>
            </a:extLst>
          </p:cNvPr>
          <p:cNvSpPr txBox="1"/>
          <p:nvPr userDrawn="1"/>
        </p:nvSpPr>
        <p:spPr>
          <a:xfrm>
            <a:off x="1379621" y="660934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71350875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pic>
        <p:nvPicPr>
          <p:cNvPr id="9" name="Picture 2" descr="Umbrex Consulting: Independent Management Consultants">
            <a:extLst>
              <a:ext uri="{FF2B5EF4-FFF2-40B4-BE49-F238E27FC236}">
                <a16:creationId xmlns:a16="http://schemas.microsoft.com/office/drawing/2014/main" id="{9F8C4C24-CBAB-25CB-D287-91B9D9AA27E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71475" y="6467475"/>
            <a:ext cx="1008505" cy="28501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3947629"/>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4" name="Rectángulo 3">
            <a:extLst>
              <a:ext uri="{FF2B5EF4-FFF2-40B4-BE49-F238E27FC236}">
                <a16:creationId xmlns:a16="http://schemas.microsoft.com/office/drawing/2014/main" id="{B822DFBA-5DF6-4A6B-CFEA-E177E759768F}"/>
              </a:ext>
            </a:extLst>
          </p:cNvPr>
          <p:cNvSpPr/>
          <p:nvPr userDrawn="1"/>
        </p:nvSpPr>
        <p:spPr>
          <a:xfrm>
            <a:off x="381001" y="6448425"/>
            <a:ext cx="1016793" cy="303439"/>
          </a:xfrm>
          <a:prstGeom prst="rect">
            <a:avLst/>
          </a:prstGeom>
          <a:solidFill>
            <a:srgbClr val="121E6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pic>
        <p:nvPicPr>
          <p:cNvPr id="7" name="Picture 2" descr="Umbrex Consulting: Independent Management Consultants">
            <a:extLst>
              <a:ext uri="{FF2B5EF4-FFF2-40B4-BE49-F238E27FC236}">
                <a16:creationId xmlns:a16="http://schemas.microsoft.com/office/drawing/2014/main" id="{728EF91A-88AB-A4F3-4E3B-11123CB487A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71475" y="6467475"/>
            <a:ext cx="1008505" cy="28501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3192716"/>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391840454"/>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35587348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p>
        </p:txBody>
      </p:sp>
      <p:sp>
        <p:nvSpPr>
          <p:cNvPr id="2" name="Rectángulo 3">
            <a:extLst>
              <a:ext uri="{FF2B5EF4-FFF2-40B4-BE49-F238E27FC236}">
                <a16:creationId xmlns:a16="http://schemas.microsoft.com/office/drawing/2014/main" id="{0C81E44E-DB84-EF73-B52E-B607FBE691FA}"/>
              </a:ext>
            </a:extLst>
          </p:cNvPr>
          <p:cNvSpPr/>
          <p:nvPr userDrawn="1"/>
        </p:nvSpPr>
        <p:spPr>
          <a:xfrm>
            <a:off x="371475" y="6451600"/>
            <a:ext cx="1645584" cy="249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338554"/>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709946"/>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709946"/>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3385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602008"/>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21155"/>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Application</a:t>
            </a:r>
          </a:p>
        </p:txBody>
      </p:sp>
    </p:spTree>
    <p:extLst>
      <p:ext uri="{BB962C8B-B14F-4D97-AF65-F5344CB8AC3E}">
        <p14:creationId xmlns:p14="http://schemas.microsoft.com/office/powerpoint/2010/main" val="140791247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07831"/>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1"/>
            <a:ext cx="9613857" cy="224214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87023"/>
            <a:ext cx="9613857" cy="202170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245343"/>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0783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91013"/>
            <a:ext cx="0" cy="201771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46074"/>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789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Application</a:t>
            </a:r>
          </a:p>
        </p:txBody>
      </p:sp>
    </p:spTree>
    <p:extLst>
      <p:ext uri="{BB962C8B-B14F-4D97-AF65-F5344CB8AC3E}">
        <p14:creationId xmlns:p14="http://schemas.microsoft.com/office/powerpoint/2010/main" val="2466913372"/>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9" name="TextBox 8">
            <a:extLst>
              <a:ext uri="{FF2B5EF4-FFF2-40B4-BE49-F238E27FC236}">
                <a16:creationId xmlns:a16="http://schemas.microsoft.com/office/drawing/2014/main" id="{FAB07795-2FF5-56AA-0106-E7591702D28C}"/>
              </a:ext>
            </a:extLst>
          </p:cNvPr>
          <p:cNvSpPr txBox="1"/>
          <p:nvPr userDrawn="1"/>
        </p:nvSpPr>
        <p:spPr>
          <a:xfrm>
            <a:off x="1058779" y="6641432"/>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1" name="TextBox 10">
            <a:extLst>
              <a:ext uri="{FF2B5EF4-FFF2-40B4-BE49-F238E27FC236}">
                <a16:creationId xmlns:a16="http://schemas.microsoft.com/office/drawing/2014/main" id="{0CEDCA57-2639-3EF3-4B72-5A995CB0489C}"/>
              </a:ext>
            </a:extLst>
          </p:cNvPr>
          <p:cNvSpPr txBox="1"/>
          <p:nvPr userDrawn="1"/>
        </p:nvSpPr>
        <p:spPr>
          <a:xfrm>
            <a:off x="1379621" y="660934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488613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32281307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4" name="Rectángulo 3">
            <a:extLst>
              <a:ext uri="{FF2B5EF4-FFF2-40B4-BE49-F238E27FC236}">
                <a16:creationId xmlns:a16="http://schemas.microsoft.com/office/drawing/2014/main" id="{B822DFBA-5DF6-4A6B-CFEA-E177E759768F}"/>
              </a:ext>
            </a:extLst>
          </p:cNvPr>
          <p:cNvSpPr/>
          <p:nvPr userDrawn="1"/>
        </p:nvSpPr>
        <p:spPr>
          <a:xfrm>
            <a:off x="381001" y="6448425"/>
            <a:ext cx="1016793" cy="303439"/>
          </a:xfrm>
          <a:prstGeom prst="rect">
            <a:avLst/>
          </a:prstGeom>
          <a:solidFill>
            <a:srgbClr val="121E6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392463500"/>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163148712"/>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2" name="Footer Placeholder 5">
            <a:extLst>
              <a:ext uri="{FF2B5EF4-FFF2-40B4-BE49-F238E27FC236}">
                <a16:creationId xmlns:a16="http://schemas.microsoft.com/office/drawing/2014/main" id="{0AE24EED-ECF9-F8B6-E75D-D641EDC0DA15}"/>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2592693362"/>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338554"/>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709946"/>
            <a:ext cx="9613857" cy="230327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29093"/>
            <a:ext cx="9613857" cy="207963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709946"/>
            <a:ext cx="0" cy="230327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3385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29093"/>
            <a:ext cx="0" cy="207963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602008"/>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21155"/>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Application</a:t>
            </a:r>
          </a:p>
        </p:txBody>
      </p:sp>
    </p:spTree>
    <p:extLst>
      <p:ext uri="{BB962C8B-B14F-4D97-AF65-F5344CB8AC3E}">
        <p14:creationId xmlns:p14="http://schemas.microsoft.com/office/powerpoint/2010/main" val="92848446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OK_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46626900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19" name="Marcador de texto 6">
            <a:extLst>
              <a:ext uri="{FF2B5EF4-FFF2-40B4-BE49-F238E27FC236}">
                <a16:creationId xmlns:a16="http://schemas.microsoft.com/office/drawing/2014/main" id="{62B3CFBF-B477-C879-85F6-43142EC5078F}"/>
              </a:ext>
            </a:extLst>
          </p:cNvPr>
          <p:cNvSpPr>
            <a:spLocks noGrp="1"/>
          </p:cNvSpPr>
          <p:nvPr>
            <p:ph type="body" sz="quarter" idx="18"/>
          </p:nvPr>
        </p:nvSpPr>
        <p:spPr>
          <a:xfrm>
            <a:off x="2206668" y="1155517"/>
            <a:ext cx="9613857" cy="507831"/>
          </a:xfrm>
          <a:noFill/>
        </p:spPr>
        <p:txBody>
          <a:bodyPr anchor="t">
            <a:noAutofit/>
          </a:bodyPr>
          <a:lstStyle>
            <a:lvl1pPr marL="177800" indent="-177800" rtl="0">
              <a:lnSpc>
                <a:spcPct val="100000"/>
              </a:lnSpc>
              <a:spcBef>
                <a:spcPts val="3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0" name="Marcador de texto 6">
            <a:extLst>
              <a:ext uri="{FF2B5EF4-FFF2-40B4-BE49-F238E27FC236}">
                <a16:creationId xmlns:a16="http://schemas.microsoft.com/office/drawing/2014/main" id="{345760BB-AE6A-F937-F9DE-DC9B2817D30F}"/>
              </a:ext>
            </a:extLst>
          </p:cNvPr>
          <p:cNvSpPr>
            <a:spLocks noGrp="1"/>
          </p:cNvSpPr>
          <p:nvPr>
            <p:ph type="body" sz="quarter" idx="19"/>
          </p:nvPr>
        </p:nvSpPr>
        <p:spPr>
          <a:xfrm>
            <a:off x="2206668" y="1828801"/>
            <a:ext cx="9613857" cy="2242143"/>
          </a:xfrm>
          <a:noFill/>
        </p:spPr>
        <p:txBody>
          <a:bodyPr anchor="t">
            <a:noAutofit/>
          </a:bodyPr>
          <a:lstStyle>
            <a:lvl1pPr marL="177800" indent="-177800" rtl="0">
              <a:lnSpc>
                <a:spcPct val="100000"/>
              </a:lnSpc>
              <a:spcBef>
                <a:spcPts val="400"/>
              </a:spcBef>
              <a:spcAft>
                <a:spcPts val="0"/>
              </a:spcAft>
              <a:buFont typeface="Arial" panose="020B0604020202020204" pitchFamily="34" charset="0"/>
              <a:buChar char="•"/>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sp>
        <p:nvSpPr>
          <p:cNvPr id="21" name="Marcador de texto 6">
            <a:extLst>
              <a:ext uri="{FF2B5EF4-FFF2-40B4-BE49-F238E27FC236}">
                <a16:creationId xmlns:a16="http://schemas.microsoft.com/office/drawing/2014/main" id="{AEC3F4F3-98C1-FF87-F1A5-C0B0D17FA25C}"/>
              </a:ext>
            </a:extLst>
          </p:cNvPr>
          <p:cNvSpPr>
            <a:spLocks noGrp="1"/>
          </p:cNvSpPr>
          <p:nvPr>
            <p:ph type="body" sz="quarter" idx="20"/>
          </p:nvPr>
        </p:nvSpPr>
        <p:spPr>
          <a:xfrm>
            <a:off x="2206668" y="4287023"/>
            <a:ext cx="9613857" cy="2021703"/>
          </a:xfrm>
          <a:noFill/>
        </p:spPr>
        <p:txBody>
          <a:bodyPr anchor="t">
            <a:noAutofit/>
          </a:bodyPr>
          <a:lstStyle>
            <a:lvl1pPr marL="228600" indent="-228600" rtl="0">
              <a:lnSpc>
                <a:spcPct val="100000"/>
              </a:lnSpc>
              <a:spcBef>
                <a:spcPts val="400"/>
              </a:spcBef>
              <a:spcAft>
                <a:spcPts val="0"/>
              </a:spcAft>
              <a:buFont typeface="+mj-lt"/>
              <a:buAutoNum type="arabicPeriod"/>
              <a:defRPr sz="11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endParaRPr lang="en-US" noProof="0"/>
          </a:p>
        </p:txBody>
      </p:sp>
      <p:cxnSp>
        <p:nvCxnSpPr>
          <p:cNvPr id="29" name="Conector recto 28">
            <a:extLst>
              <a:ext uri="{FF2B5EF4-FFF2-40B4-BE49-F238E27FC236}">
                <a16:creationId xmlns:a16="http://schemas.microsoft.com/office/drawing/2014/main" id="{69B569BB-D93E-8F15-6289-B701708214ED}"/>
              </a:ext>
            </a:extLst>
          </p:cNvPr>
          <p:cNvCxnSpPr>
            <a:cxnSpLocks/>
          </p:cNvCxnSpPr>
          <p:nvPr userDrawn="1"/>
        </p:nvCxnSpPr>
        <p:spPr>
          <a:xfrm>
            <a:off x="2076866" y="1828801"/>
            <a:ext cx="0" cy="2245343"/>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0725077-4B52-A681-D149-28C5E4F94642}"/>
              </a:ext>
            </a:extLst>
          </p:cNvPr>
          <p:cNvCxnSpPr>
            <a:cxnSpLocks/>
          </p:cNvCxnSpPr>
          <p:nvPr userDrawn="1"/>
        </p:nvCxnSpPr>
        <p:spPr>
          <a:xfrm>
            <a:off x="2076866" y="1155517"/>
            <a:ext cx="0" cy="50783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6399A42A-92BD-B986-0200-8F47A675AA53}"/>
              </a:ext>
            </a:extLst>
          </p:cNvPr>
          <p:cNvCxnSpPr>
            <a:cxnSpLocks/>
          </p:cNvCxnSpPr>
          <p:nvPr userDrawn="1"/>
        </p:nvCxnSpPr>
        <p:spPr>
          <a:xfrm>
            <a:off x="2076866" y="4291013"/>
            <a:ext cx="0" cy="2017712"/>
          </a:xfrm>
          <a:prstGeom prst="line">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4">
            <a:extLst>
              <a:ext uri="{FF2B5EF4-FFF2-40B4-BE49-F238E27FC236}">
                <a16:creationId xmlns:a16="http://schemas.microsoft.com/office/drawing/2014/main" id="{07CD13FB-D375-1568-F3D3-03A729ADB40F}"/>
              </a:ext>
            </a:extLst>
          </p:cNvPr>
          <p:cNvCxnSpPr>
            <a:cxnSpLocks/>
          </p:cNvCxnSpPr>
          <p:nvPr userDrawn="1"/>
        </p:nvCxnSpPr>
        <p:spPr>
          <a:xfrm>
            <a:off x="2190792" y="1746074"/>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id="{E4D939DB-C39C-EA41-B6B7-B1AC3902997A}"/>
              </a:ext>
            </a:extLst>
          </p:cNvPr>
          <p:cNvCxnSpPr>
            <a:cxnSpLocks/>
          </p:cNvCxnSpPr>
          <p:nvPr userDrawn="1"/>
        </p:nvCxnSpPr>
        <p:spPr>
          <a:xfrm>
            <a:off x="2190792" y="4178983"/>
            <a:ext cx="961385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B2D9DE78-F741-787A-49F3-BF22745466FA}"/>
              </a:ext>
            </a:extLst>
          </p:cNvPr>
          <p:cNvSpPr txBox="1">
            <a:spLocks/>
          </p:cNvSpPr>
          <p:nvPr userDrawn="1"/>
        </p:nvSpPr>
        <p:spPr>
          <a:xfrm>
            <a:off x="384174" y="1155517"/>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Source</a:t>
            </a:r>
          </a:p>
        </p:txBody>
      </p:sp>
      <p:sp>
        <p:nvSpPr>
          <p:cNvPr id="10" name="Marcador de texto 5">
            <a:extLst>
              <a:ext uri="{FF2B5EF4-FFF2-40B4-BE49-F238E27FC236}">
                <a16:creationId xmlns:a16="http://schemas.microsoft.com/office/drawing/2014/main" id="{B6BE5206-1BCC-6773-0F2E-38F809D3E89F}"/>
              </a:ext>
            </a:extLst>
          </p:cNvPr>
          <p:cNvSpPr txBox="1">
            <a:spLocks/>
          </p:cNvSpPr>
          <p:nvPr userDrawn="1"/>
        </p:nvSpPr>
        <p:spPr>
          <a:xfrm>
            <a:off x="384174" y="1828801"/>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Description</a:t>
            </a:r>
          </a:p>
        </p:txBody>
      </p:sp>
      <p:sp>
        <p:nvSpPr>
          <p:cNvPr id="11" name="Marcador de texto 6">
            <a:extLst>
              <a:ext uri="{FF2B5EF4-FFF2-40B4-BE49-F238E27FC236}">
                <a16:creationId xmlns:a16="http://schemas.microsoft.com/office/drawing/2014/main" id="{4A133DFF-FE4F-E1F0-64DA-9D495A8D0937}"/>
              </a:ext>
            </a:extLst>
          </p:cNvPr>
          <p:cNvSpPr txBox="1">
            <a:spLocks/>
          </p:cNvSpPr>
          <p:nvPr userDrawn="1"/>
        </p:nvSpPr>
        <p:spPr>
          <a:xfrm>
            <a:off x="384174" y="4229093"/>
            <a:ext cx="1668515" cy="276999"/>
          </a:xfrm>
          <a:prstGeom prst="rect">
            <a:avLst/>
          </a:prstGeom>
          <a:noFill/>
        </p:spPr>
        <p:txBody>
          <a:bodyPr vert="horz" lIns="0" tIns="0" rIns="0" bIns="0" rtlCol="0">
            <a:sp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a:solidFill>
                  <a:schemeClr val="tx2"/>
                </a:solidFill>
              </a:rPr>
              <a:t>Application</a:t>
            </a:r>
          </a:p>
        </p:txBody>
      </p:sp>
    </p:spTree>
    <p:extLst>
      <p:ext uri="{BB962C8B-B14F-4D97-AF65-F5344CB8AC3E}">
        <p14:creationId xmlns:p14="http://schemas.microsoft.com/office/powerpoint/2010/main" val="376683154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Footer Placeholder 5">
            <a:extLst>
              <a:ext uri="{FF2B5EF4-FFF2-40B4-BE49-F238E27FC236}">
                <a16:creationId xmlns:a16="http://schemas.microsoft.com/office/drawing/2014/main" id="{792876C3-6BF8-879A-73D9-3D7064466168}"/>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115599776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037250294"/>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3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4" name="Rectángulo 3">
            <a:extLst>
              <a:ext uri="{FF2B5EF4-FFF2-40B4-BE49-F238E27FC236}">
                <a16:creationId xmlns:a16="http://schemas.microsoft.com/office/drawing/2014/main" id="{B822DFBA-5DF6-4A6B-CFEA-E177E759768F}"/>
              </a:ext>
            </a:extLst>
          </p:cNvPr>
          <p:cNvSpPr/>
          <p:nvPr userDrawn="1"/>
        </p:nvSpPr>
        <p:spPr>
          <a:xfrm>
            <a:off x="381001" y="6448425"/>
            <a:ext cx="1016793" cy="303439"/>
          </a:xfrm>
          <a:prstGeom prst="rect">
            <a:avLst/>
          </a:prstGeom>
          <a:solidFill>
            <a:srgbClr val="121E69"/>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3588300715"/>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smtClean="0"/>
              <a:t>7/25/2024</a:t>
            </a:fld>
            <a:endParaRPr lang="en-US"/>
          </a:p>
        </p:txBody>
      </p:sp>
      <p:sp>
        <p:nvSpPr>
          <p:cNvPr id="5" name="Footer Placeholder 4"/>
          <p:cNvSpPr>
            <a:spLocks noGrp="1"/>
          </p:cNvSpPr>
          <p:nvPr>
            <p:ph type="ftr" sz="quarter" idx="11"/>
          </p:nvPr>
        </p:nvSpPr>
        <p:spPr/>
        <p:txBody>
          <a:bodyPr/>
          <a:lstStyle/>
          <a:p>
            <a:r>
              <a:rPr lang="en-US"/>
              <a:t>Source:_______</a:t>
            </a:r>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665244880"/>
      </p:ext>
    </p:extLst>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7/25/2024</a:t>
            </a:fld>
            <a:endParaRPr lang="en-US"/>
          </a:p>
        </p:txBody>
      </p:sp>
      <p:sp>
        <p:nvSpPr>
          <p:cNvPr id="5" name="Footer Placeholder 4"/>
          <p:cNvSpPr>
            <a:spLocks noGrp="1"/>
          </p:cNvSpPr>
          <p:nvPr>
            <p:ph type="ftr" sz="quarter" idx="11"/>
          </p:nvPr>
        </p:nvSpPr>
        <p:spPr/>
        <p:txBody>
          <a:bodyPr/>
          <a:lstStyle/>
          <a:p>
            <a:r>
              <a:rPr lang="en-US"/>
              <a:t>Source:_______</a:t>
            </a:r>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3855382207"/>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smtClean="0"/>
              <a:t>7/25/2024</a:t>
            </a:fld>
            <a:endParaRPr lang="en-US"/>
          </a:p>
        </p:txBody>
      </p:sp>
      <p:sp>
        <p:nvSpPr>
          <p:cNvPr id="5" name="Footer Placeholder 4"/>
          <p:cNvSpPr>
            <a:spLocks noGrp="1"/>
          </p:cNvSpPr>
          <p:nvPr>
            <p:ph type="ftr" sz="quarter" idx="11"/>
          </p:nvPr>
        </p:nvSpPr>
        <p:spPr/>
        <p:txBody>
          <a:bodyPr/>
          <a:lstStyle/>
          <a:p>
            <a:r>
              <a:rPr lang="en-US"/>
              <a:t>Source:_______</a:t>
            </a:r>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539528535"/>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smtClean="0"/>
              <a:t>7/25/2024</a:t>
            </a:fld>
            <a:endParaRPr lang="en-US"/>
          </a:p>
        </p:txBody>
      </p:sp>
      <p:sp>
        <p:nvSpPr>
          <p:cNvPr id="6" name="Footer Placeholder 5"/>
          <p:cNvSpPr>
            <a:spLocks noGrp="1"/>
          </p:cNvSpPr>
          <p:nvPr>
            <p:ph type="ftr" sz="quarter" idx="11"/>
          </p:nvPr>
        </p:nvSpPr>
        <p:spPr/>
        <p:txBody>
          <a:bodyPr/>
          <a:lstStyle/>
          <a:p>
            <a:r>
              <a:rPr lang="en-US"/>
              <a:t>Source:_______</a:t>
            </a:r>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3498852955"/>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smtClean="0"/>
              <a:t>7/25/2024</a:t>
            </a:fld>
            <a:endParaRPr lang="en-US"/>
          </a:p>
        </p:txBody>
      </p:sp>
      <p:sp>
        <p:nvSpPr>
          <p:cNvPr id="8" name="Footer Placeholder 7"/>
          <p:cNvSpPr>
            <a:spLocks noGrp="1"/>
          </p:cNvSpPr>
          <p:nvPr>
            <p:ph type="ftr" sz="quarter" idx="11"/>
          </p:nvPr>
        </p:nvSpPr>
        <p:spPr/>
        <p:txBody>
          <a:bodyPr/>
          <a:lstStyle/>
          <a:p>
            <a:r>
              <a:rPr lang="en-US"/>
              <a:t>Source:_______</a:t>
            </a:r>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213617938"/>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smtClean="0"/>
              <a:t>7/25/2024</a:t>
            </a:fld>
            <a:endParaRPr lang="en-US"/>
          </a:p>
        </p:txBody>
      </p:sp>
      <p:sp>
        <p:nvSpPr>
          <p:cNvPr id="4" name="Footer Placeholder 3"/>
          <p:cNvSpPr>
            <a:spLocks noGrp="1"/>
          </p:cNvSpPr>
          <p:nvPr>
            <p:ph type="ftr" sz="quarter" idx="11"/>
          </p:nvPr>
        </p:nvSpPr>
        <p:spPr/>
        <p:txBody>
          <a:bodyPr/>
          <a:lstStyle/>
          <a:p>
            <a:r>
              <a:rPr lang="en-US"/>
              <a:t>Source:_______</a:t>
            </a:r>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928748110"/>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7/25/2024</a:t>
            </a:fld>
            <a:endParaRPr lang="en-US"/>
          </a:p>
        </p:txBody>
      </p:sp>
      <p:sp>
        <p:nvSpPr>
          <p:cNvPr id="3" name="Footer Placeholder 2"/>
          <p:cNvSpPr>
            <a:spLocks noGrp="1"/>
          </p:cNvSpPr>
          <p:nvPr>
            <p:ph type="ftr" sz="quarter" idx="11"/>
          </p:nvPr>
        </p:nvSpPr>
        <p:spPr/>
        <p:txBody>
          <a:bodyPr/>
          <a:lstStyle/>
          <a:p>
            <a:r>
              <a:rPr lang="en-US"/>
              <a:t>Source:_______</a:t>
            </a:r>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3922603110"/>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7/25/2024</a:t>
            </a:fld>
            <a:endParaRPr lang="en-US"/>
          </a:p>
        </p:txBody>
      </p:sp>
      <p:sp>
        <p:nvSpPr>
          <p:cNvPr id="6" name="Footer Placeholder 5"/>
          <p:cNvSpPr>
            <a:spLocks noGrp="1"/>
          </p:cNvSpPr>
          <p:nvPr>
            <p:ph type="ftr" sz="quarter" idx="11"/>
          </p:nvPr>
        </p:nvSpPr>
        <p:spPr/>
        <p:txBody>
          <a:bodyPr/>
          <a:lstStyle/>
          <a:p>
            <a:r>
              <a:rPr lang="en-US"/>
              <a:t>Source:_______</a:t>
            </a:r>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132409053"/>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4" name="TextBox 3">
            <a:extLst>
              <a:ext uri="{FF2B5EF4-FFF2-40B4-BE49-F238E27FC236}">
                <a16:creationId xmlns:a16="http://schemas.microsoft.com/office/drawing/2014/main" id="{43DCA443-41D9-A110-FF4D-63F397473777}"/>
              </a:ext>
            </a:extLst>
          </p:cNvPr>
          <p:cNvSpPr txBox="1"/>
          <p:nvPr userDrawn="1"/>
        </p:nvSpPr>
        <p:spPr>
          <a:xfrm>
            <a:off x="1014153" y="6658495"/>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extBox 6">
            <a:extLst>
              <a:ext uri="{FF2B5EF4-FFF2-40B4-BE49-F238E27FC236}">
                <a16:creationId xmlns:a16="http://schemas.microsoft.com/office/drawing/2014/main" id="{C7BC3487-3CF4-97B3-21C1-3A6AC9585F10}"/>
              </a:ext>
            </a:extLst>
          </p:cNvPr>
          <p:cNvSpPr txBox="1"/>
          <p:nvPr userDrawn="1"/>
        </p:nvSpPr>
        <p:spPr>
          <a:xfrm>
            <a:off x="1587731" y="648392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8" name="TextBox 7">
            <a:extLst>
              <a:ext uri="{FF2B5EF4-FFF2-40B4-BE49-F238E27FC236}">
                <a16:creationId xmlns:a16="http://schemas.microsoft.com/office/drawing/2014/main" id="{7AA76C5F-6561-A67F-DC56-81BA526FB4CB}"/>
              </a:ext>
            </a:extLst>
          </p:cNvPr>
          <p:cNvSpPr txBox="1"/>
          <p:nvPr userDrawn="1"/>
        </p:nvSpPr>
        <p:spPr>
          <a:xfrm>
            <a:off x="1463040" y="6600305"/>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7/25/2024</a:t>
            </a:fld>
            <a:endParaRPr lang="en-US"/>
          </a:p>
        </p:txBody>
      </p:sp>
      <p:sp>
        <p:nvSpPr>
          <p:cNvPr id="6" name="Footer Placeholder 5"/>
          <p:cNvSpPr>
            <a:spLocks noGrp="1"/>
          </p:cNvSpPr>
          <p:nvPr>
            <p:ph type="ftr" sz="quarter" idx="11"/>
          </p:nvPr>
        </p:nvSpPr>
        <p:spPr/>
        <p:txBody>
          <a:bodyPr/>
          <a:lstStyle/>
          <a:p>
            <a:r>
              <a:rPr lang="en-US"/>
              <a:t>Source:_______</a:t>
            </a:r>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3776146451"/>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7/25/2024</a:t>
            </a:fld>
            <a:endParaRPr lang="en-US"/>
          </a:p>
        </p:txBody>
      </p:sp>
      <p:sp>
        <p:nvSpPr>
          <p:cNvPr id="5" name="Footer Placeholder 4"/>
          <p:cNvSpPr>
            <a:spLocks noGrp="1"/>
          </p:cNvSpPr>
          <p:nvPr>
            <p:ph type="ftr" sz="quarter" idx="11"/>
          </p:nvPr>
        </p:nvSpPr>
        <p:spPr/>
        <p:txBody>
          <a:bodyPr/>
          <a:lstStyle/>
          <a:p>
            <a:r>
              <a:rPr lang="en-US"/>
              <a:t>Source:_______</a:t>
            </a:r>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073756633"/>
      </p:ext>
    </p:extLst>
  </p:cSld>
  <p:clrMapOvr>
    <a:masterClrMapping/>
  </p:clrMapOvr>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7/25/2024</a:t>
            </a:fld>
            <a:endParaRPr lang="en-US"/>
          </a:p>
        </p:txBody>
      </p:sp>
      <p:sp>
        <p:nvSpPr>
          <p:cNvPr id="5" name="Footer Placeholder 4"/>
          <p:cNvSpPr>
            <a:spLocks noGrp="1"/>
          </p:cNvSpPr>
          <p:nvPr>
            <p:ph type="ftr" sz="quarter" idx="11"/>
          </p:nvPr>
        </p:nvSpPr>
        <p:spPr/>
        <p:txBody>
          <a:bodyPr/>
          <a:lstStyle/>
          <a:p>
            <a:r>
              <a:rPr lang="en-US"/>
              <a:t>Source:_______</a:t>
            </a:r>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155571839"/>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507653620"/>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Tree>
    <p:extLst>
      <p:ext uri="{BB962C8B-B14F-4D97-AF65-F5344CB8AC3E}">
        <p14:creationId xmlns:p14="http://schemas.microsoft.com/office/powerpoint/2010/main" val="2783725489"/>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Tree>
    <p:extLst>
      <p:ext uri="{BB962C8B-B14F-4D97-AF65-F5344CB8AC3E}">
        <p14:creationId xmlns:p14="http://schemas.microsoft.com/office/powerpoint/2010/main" val="1648217207"/>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Tree>
    <p:extLst>
      <p:ext uri="{BB962C8B-B14F-4D97-AF65-F5344CB8AC3E}">
        <p14:creationId xmlns:p14="http://schemas.microsoft.com/office/powerpoint/2010/main" val="163260558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Tree>
    <p:extLst>
      <p:ext uri="{BB962C8B-B14F-4D97-AF65-F5344CB8AC3E}">
        <p14:creationId xmlns:p14="http://schemas.microsoft.com/office/powerpoint/2010/main" val="271499979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4" name="TextBox 3">
            <a:extLst>
              <a:ext uri="{FF2B5EF4-FFF2-40B4-BE49-F238E27FC236}">
                <a16:creationId xmlns:a16="http://schemas.microsoft.com/office/drawing/2014/main" id="{43DCA443-41D9-A110-FF4D-63F397473777}"/>
              </a:ext>
            </a:extLst>
          </p:cNvPr>
          <p:cNvSpPr txBox="1"/>
          <p:nvPr userDrawn="1"/>
        </p:nvSpPr>
        <p:spPr>
          <a:xfrm>
            <a:off x="1014153" y="6658495"/>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extBox 6">
            <a:extLst>
              <a:ext uri="{FF2B5EF4-FFF2-40B4-BE49-F238E27FC236}">
                <a16:creationId xmlns:a16="http://schemas.microsoft.com/office/drawing/2014/main" id="{C7BC3487-3CF4-97B3-21C1-3A6AC9585F10}"/>
              </a:ext>
            </a:extLst>
          </p:cNvPr>
          <p:cNvSpPr txBox="1"/>
          <p:nvPr userDrawn="1"/>
        </p:nvSpPr>
        <p:spPr>
          <a:xfrm>
            <a:off x="1587731" y="648392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8" name="TextBox 7">
            <a:extLst>
              <a:ext uri="{FF2B5EF4-FFF2-40B4-BE49-F238E27FC236}">
                <a16:creationId xmlns:a16="http://schemas.microsoft.com/office/drawing/2014/main" id="{7AA76C5F-6561-A67F-DC56-81BA526FB4CB}"/>
              </a:ext>
            </a:extLst>
          </p:cNvPr>
          <p:cNvSpPr txBox="1"/>
          <p:nvPr userDrawn="1"/>
        </p:nvSpPr>
        <p:spPr>
          <a:xfrm>
            <a:off x="1463040" y="6600305"/>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2509636638"/>
      </p:ext>
    </p:extLst>
  </p:cSld>
  <p:clrMapOvr>
    <a:masterClrMapping/>
  </p:clrMapOvr>
  <p:extLst>
    <p:ext uri="{DCECCB84-F9BA-43D5-87BE-67443E8EF086}">
      <p15:sldGuideLst xmlns:p15="http://schemas.microsoft.com/office/powerpoint/2012/main">
        <p15:guide id="1" pos="4112">
          <p15:clr>
            <a:srgbClr val="FBAE40"/>
          </p15:clr>
        </p15:guide>
        <p15:guide id="2" pos="44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58AAD7CE-DDD6-732E-B9F5-19087AF0D34E}"/>
              </a:ext>
            </a:extLst>
          </p:cNvPr>
          <p:cNvSpPr/>
          <p:nvPr userDrawn="1"/>
        </p:nvSpPr>
        <p:spPr>
          <a:xfrm>
            <a:off x="10406597" y="381000"/>
            <a:ext cx="1404402" cy="624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5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3821885991"/>
      </p:ext>
    </p:extLst>
  </p:cSld>
  <p:clrMapOvr>
    <a:masterClrMapping/>
  </p:clrMapOvr>
  <p:extLst>
    <p:ext uri="{DCECCB84-F9BA-43D5-87BE-67443E8EF086}">
      <p15:sldGuideLst xmlns:p15="http://schemas.microsoft.com/office/powerpoint/2012/main">
        <p15:guide id="1" pos="3386">
          <p15:clr>
            <a:srgbClr val="FBAE40"/>
          </p15:clr>
        </p15:guide>
        <p15:guide id="2" pos="3568">
          <p15:clr>
            <a:srgbClr val="FBAE40"/>
          </p15:clr>
        </p15:guide>
        <p15:guide id="3" pos="318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2609445056"/>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359741361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860379289"/>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8.xml"/><Relationship Id="rId7" Type="http://schemas.openxmlformats.org/officeDocument/2006/relationships/tags" Target="../tags/tag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slideLayout" Target="../slideLayouts/slideLayout13.xml"/><Relationship Id="rId7" Type="http://schemas.openxmlformats.org/officeDocument/2006/relationships/tags" Target="../tags/tag14.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slideLayout" Target="../slideLayouts/slideLayout18.xml"/><Relationship Id="rId7" Type="http://schemas.openxmlformats.org/officeDocument/2006/relationships/theme" Target="../theme/theme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10"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oleObject" Target="../embeddings/oleObject19.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slideLayout" Target="../slideLayouts/slideLayout24.xml"/><Relationship Id="rId7"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oleObject" Target="../embeddings/oleObject26.bin"/></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1.emf"/><Relationship Id="rId5" Type="http://schemas.openxmlformats.org/officeDocument/2006/relationships/slideLayout" Target="../slideLayouts/slideLayout32.xml"/><Relationship Id="rId10" Type="http://schemas.openxmlformats.org/officeDocument/2006/relationships/oleObject" Target="../embeddings/oleObject33.bin"/><Relationship Id="rId4" Type="http://schemas.openxmlformats.org/officeDocument/2006/relationships/slideLayout" Target="../slideLayouts/slideLayout31.xml"/><Relationship Id="rId9" Type="http://schemas.openxmlformats.org/officeDocument/2006/relationships/tags" Target="../tags/tag34.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image" Target="../media/image1.emf"/><Relationship Id="rId5" Type="http://schemas.openxmlformats.org/officeDocument/2006/relationships/slideLayout" Target="../slideLayouts/slideLayout39.xml"/><Relationship Id="rId10" Type="http://schemas.openxmlformats.org/officeDocument/2006/relationships/oleObject" Target="../embeddings/oleObject41.bin"/><Relationship Id="rId4" Type="http://schemas.openxmlformats.org/officeDocument/2006/relationships/slideLayout" Target="../slideLayouts/slideLayout38.xml"/><Relationship Id="rId9" Type="http://schemas.openxmlformats.org/officeDocument/2006/relationships/tags" Target="../tags/tag4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theme" Target="../theme/theme8.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p>
        </p:txBody>
      </p:sp>
      <p:sp>
        <p:nvSpPr>
          <p:cNvPr id="5" name="Rectangle 4">
            <a:extLst>
              <a:ext uri="{FF2B5EF4-FFF2-40B4-BE49-F238E27FC236}">
                <a16:creationId xmlns:a16="http://schemas.microsoft.com/office/drawing/2014/main" id="{28A20BA0-F44D-75DD-9D98-BA04ED5553B9}"/>
              </a:ext>
            </a:extLst>
          </p:cNvPr>
          <p:cNvSpPr/>
          <p:nvPr userDrawn="1"/>
        </p:nvSpPr>
        <p:spPr>
          <a:xfrm>
            <a:off x="-1758462" y="471555"/>
            <a:ext cx="1537398" cy="592853"/>
          </a:xfrm>
          <a:prstGeom prst="rect">
            <a:avLst/>
          </a:prstGeom>
          <a:solidFill>
            <a:srgbClr val="1D9A7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1D9A78</a:t>
            </a:r>
          </a:p>
        </p:txBody>
      </p:sp>
      <p:sp>
        <p:nvSpPr>
          <p:cNvPr id="7" name="Rectangle 6">
            <a:extLst>
              <a:ext uri="{FF2B5EF4-FFF2-40B4-BE49-F238E27FC236}">
                <a16:creationId xmlns:a16="http://schemas.microsoft.com/office/drawing/2014/main" id="{547862B6-C064-FBDB-108A-A8C9542C7E56}"/>
              </a:ext>
            </a:extLst>
          </p:cNvPr>
          <p:cNvSpPr/>
          <p:nvPr userDrawn="1"/>
        </p:nvSpPr>
        <p:spPr>
          <a:xfrm>
            <a:off x="-1758462" y="1535963"/>
            <a:ext cx="1537398" cy="592853"/>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347170</a:t>
            </a:r>
          </a:p>
        </p:txBody>
      </p:sp>
      <p:sp>
        <p:nvSpPr>
          <p:cNvPr id="8" name="Rectangle 7">
            <a:extLst>
              <a:ext uri="{FF2B5EF4-FFF2-40B4-BE49-F238E27FC236}">
                <a16:creationId xmlns:a16="http://schemas.microsoft.com/office/drawing/2014/main" id="{8A2518B3-9CEB-2C08-0C3A-65BC18A3D13C}"/>
              </a:ext>
            </a:extLst>
          </p:cNvPr>
          <p:cNvSpPr/>
          <p:nvPr userDrawn="1"/>
        </p:nvSpPr>
        <p:spPr>
          <a:xfrm>
            <a:off x="-1758462" y="2600371"/>
            <a:ext cx="1537398" cy="592853"/>
          </a:xfrm>
          <a:prstGeom prst="rect">
            <a:avLst/>
          </a:prstGeom>
          <a:solidFill>
            <a:srgbClr val="5AE0B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5AE0BB</a:t>
            </a:r>
          </a:p>
        </p:txBody>
      </p:sp>
      <p:sp>
        <p:nvSpPr>
          <p:cNvPr id="10" name="Rectangle 9">
            <a:extLst>
              <a:ext uri="{FF2B5EF4-FFF2-40B4-BE49-F238E27FC236}">
                <a16:creationId xmlns:a16="http://schemas.microsoft.com/office/drawing/2014/main" id="{63792BA8-EDBE-43EE-3173-682532A3CB07}"/>
              </a:ext>
            </a:extLst>
          </p:cNvPr>
          <p:cNvSpPr/>
          <p:nvPr userDrawn="1"/>
        </p:nvSpPr>
        <p:spPr>
          <a:xfrm>
            <a:off x="-1758462" y="3664779"/>
            <a:ext cx="1537398" cy="592853"/>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92D050</a:t>
            </a:r>
          </a:p>
        </p:txBody>
      </p:sp>
      <p:sp>
        <p:nvSpPr>
          <p:cNvPr id="11" name="Rectangle 10">
            <a:extLst>
              <a:ext uri="{FF2B5EF4-FFF2-40B4-BE49-F238E27FC236}">
                <a16:creationId xmlns:a16="http://schemas.microsoft.com/office/drawing/2014/main" id="{D6FD0E02-F00E-556D-00B7-5FE679CF4603}"/>
              </a:ext>
            </a:extLst>
          </p:cNvPr>
          <p:cNvSpPr/>
          <p:nvPr userDrawn="1"/>
        </p:nvSpPr>
        <p:spPr>
          <a:xfrm>
            <a:off x="-1756046" y="4729187"/>
            <a:ext cx="1537398" cy="592853"/>
          </a:xfrm>
          <a:prstGeom prst="rect">
            <a:avLst/>
          </a:prstGeom>
          <a:solidFill>
            <a:srgbClr val="ADB9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ADB9CA</a:t>
            </a:r>
          </a:p>
        </p:txBody>
      </p:sp>
      <p:sp>
        <p:nvSpPr>
          <p:cNvPr id="12" name="Rectangle 11">
            <a:extLst>
              <a:ext uri="{FF2B5EF4-FFF2-40B4-BE49-F238E27FC236}">
                <a16:creationId xmlns:a16="http://schemas.microsoft.com/office/drawing/2014/main" id="{582867A0-B9A8-27A6-10B5-A6DB8EA39F39}"/>
              </a:ext>
            </a:extLst>
          </p:cNvPr>
          <p:cNvSpPr/>
          <p:nvPr userDrawn="1"/>
        </p:nvSpPr>
        <p:spPr>
          <a:xfrm>
            <a:off x="-1758462" y="5793595"/>
            <a:ext cx="1537398" cy="592853"/>
          </a:xfrm>
          <a:prstGeom prst="rect">
            <a:avLst/>
          </a:prstGeom>
          <a:solidFill>
            <a:srgbClr val="F9D8A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F9D8A3</a:t>
            </a:r>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8" imgW="317" imgH="318" progId="TCLayout.ActiveDocument.1">
                  <p:embed/>
                </p:oleObj>
              </mc:Choice>
              <mc:Fallback>
                <p:oleObj name="Diapositiva de think-cell"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5" name="Rectangle 4">
            <a:extLst>
              <a:ext uri="{FF2B5EF4-FFF2-40B4-BE49-F238E27FC236}">
                <a16:creationId xmlns:a16="http://schemas.microsoft.com/office/drawing/2014/main" id="{E873B304-298C-8C24-9498-E682DAB0C49D}"/>
              </a:ext>
            </a:extLst>
          </p:cNvPr>
          <p:cNvSpPr/>
          <p:nvPr userDrawn="1"/>
        </p:nvSpPr>
        <p:spPr>
          <a:xfrm>
            <a:off x="-1758462" y="471555"/>
            <a:ext cx="1537398" cy="592853"/>
          </a:xfrm>
          <a:prstGeom prst="rect">
            <a:avLst/>
          </a:prstGeom>
          <a:solidFill>
            <a:srgbClr val="1D9A7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1D9A78</a:t>
            </a:r>
          </a:p>
        </p:txBody>
      </p:sp>
      <p:sp>
        <p:nvSpPr>
          <p:cNvPr id="7" name="Rectangle 6">
            <a:extLst>
              <a:ext uri="{FF2B5EF4-FFF2-40B4-BE49-F238E27FC236}">
                <a16:creationId xmlns:a16="http://schemas.microsoft.com/office/drawing/2014/main" id="{19641B16-3110-601B-CA54-F13232DC52C0}"/>
              </a:ext>
            </a:extLst>
          </p:cNvPr>
          <p:cNvSpPr/>
          <p:nvPr userDrawn="1"/>
        </p:nvSpPr>
        <p:spPr>
          <a:xfrm>
            <a:off x="-1758462" y="1535963"/>
            <a:ext cx="1537398" cy="592853"/>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347170</a:t>
            </a:r>
          </a:p>
        </p:txBody>
      </p:sp>
      <p:sp>
        <p:nvSpPr>
          <p:cNvPr id="8" name="Rectangle 7">
            <a:extLst>
              <a:ext uri="{FF2B5EF4-FFF2-40B4-BE49-F238E27FC236}">
                <a16:creationId xmlns:a16="http://schemas.microsoft.com/office/drawing/2014/main" id="{883B49F7-9DC1-00DD-4FF7-50C85C39452E}"/>
              </a:ext>
            </a:extLst>
          </p:cNvPr>
          <p:cNvSpPr/>
          <p:nvPr userDrawn="1"/>
        </p:nvSpPr>
        <p:spPr>
          <a:xfrm>
            <a:off x="-1758462" y="2600371"/>
            <a:ext cx="1537398" cy="592853"/>
          </a:xfrm>
          <a:prstGeom prst="rect">
            <a:avLst/>
          </a:prstGeom>
          <a:solidFill>
            <a:srgbClr val="5AE0B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5AE0BB</a:t>
            </a:r>
          </a:p>
        </p:txBody>
      </p:sp>
      <p:sp>
        <p:nvSpPr>
          <p:cNvPr id="10" name="Rectangle 9">
            <a:extLst>
              <a:ext uri="{FF2B5EF4-FFF2-40B4-BE49-F238E27FC236}">
                <a16:creationId xmlns:a16="http://schemas.microsoft.com/office/drawing/2014/main" id="{ACC1BE02-C54B-EEE2-A6B4-538BBB6974B2}"/>
              </a:ext>
            </a:extLst>
          </p:cNvPr>
          <p:cNvSpPr/>
          <p:nvPr userDrawn="1"/>
        </p:nvSpPr>
        <p:spPr>
          <a:xfrm>
            <a:off x="-1758462" y="3664779"/>
            <a:ext cx="1537398" cy="592853"/>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92D050</a:t>
            </a:r>
          </a:p>
        </p:txBody>
      </p:sp>
      <p:sp>
        <p:nvSpPr>
          <p:cNvPr id="11" name="Rectangle 10">
            <a:extLst>
              <a:ext uri="{FF2B5EF4-FFF2-40B4-BE49-F238E27FC236}">
                <a16:creationId xmlns:a16="http://schemas.microsoft.com/office/drawing/2014/main" id="{F3218F3B-6416-1A0E-3772-468BC081AD58}"/>
              </a:ext>
            </a:extLst>
          </p:cNvPr>
          <p:cNvSpPr/>
          <p:nvPr userDrawn="1"/>
        </p:nvSpPr>
        <p:spPr>
          <a:xfrm>
            <a:off x="-1756046" y="4729187"/>
            <a:ext cx="1537398" cy="592853"/>
          </a:xfrm>
          <a:prstGeom prst="rect">
            <a:avLst/>
          </a:prstGeom>
          <a:solidFill>
            <a:srgbClr val="ADB9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ADB9CA</a:t>
            </a:r>
          </a:p>
        </p:txBody>
      </p:sp>
      <p:sp>
        <p:nvSpPr>
          <p:cNvPr id="12" name="Rectangle 11">
            <a:extLst>
              <a:ext uri="{FF2B5EF4-FFF2-40B4-BE49-F238E27FC236}">
                <a16:creationId xmlns:a16="http://schemas.microsoft.com/office/drawing/2014/main" id="{10B9EAFE-99E8-BAA2-23AF-2F9E94C90D9D}"/>
              </a:ext>
            </a:extLst>
          </p:cNvPr>
          <p:cNvSpPr/>
          <p:nvPr userDrawn="1"/>
        </p:nvSpPr>
        <p:spPr>
          <a:xfrm>
            <a:off x="-1758462" y="5793595"/>
            <a:ext cx="1537398" cy="592853"/>
          </a:xfrm>
          <a:prstGeom prst="rect">
            <a:avLst/>
          </a:prstGeom>
          <a:solidFill>
            <a:srgbClr val="F9D8A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F9D8A3</a:t>
            </a:r>
          </a:p>
        </p:txBody>
      </p:sp>
    </p:spTree>
    <p:extLst>
      <p:ext uri="{BB962C8B-B14F-4D97-AF65-F5344CB8AC3E}">
        <p14:creationId xmlns:p14="http://schemas.microsoft.com/office/powerpoint/2010/main" val="307036420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4" name="Rectangle 3">
            <a:extLst>
              <a:ext uri="{FF2B5EF4-FFF2-40B4-BE49-F238E27FC236}">
                <a16:creationId xmlns:a16="http://schemas.microsoft.com/office/drawing/2014/main" id="{3BC6A38C-1303-39F2-4890-5541919CFD78}"/>
              </a:ext>
            </a:extLst>
          </p:cNvPr>
          <p:cNvSpPr/>
          <p:nvPr userDrawn="1"/>
        </p:nvSpPr>
        <p:spPr>
          <a:xfrm>
            <a:off x="-1758462" y="471555"/>
            <a:ext cx="1537398" cy="592853"/>
          </a:xfrm>
          <a:prstGeom prst="rect">
            <a:avLst/>
          </a:prstGeom>
          <a:solidFill>
            <a:srgbClr val="1D9A7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1D9A78</a:t>
            </a:r>
          </a:p>
        </p:txBody>
      </p:sp>
      <p:sp>
        <p:nvSpPr>
          <p:cNvPr id="7" name="Rectangle 6">
            <a:extLst>
              <a:ext uri="{FF2B5EF4-FFF2-40B4-BE49-F238E27FC236}">
                <a16:creationId xmlns:a16="http://schemas.microsoft.com/office/drawing/2014/main" id="{683E076A-4514-C883-0E03-2EE3650EBD14}"/>
              </a:ext>
            </a:extLst>
          </p:cNvPr>
          <p:cNvSpPr/>
          <p:nvPr userDrawn="1"/>
        </p:nvSpPr>
        <p:spPr>
          <a:xfrm>
            <a:off x="-1758462" y="1535963"/>
            <a:ext cx="1537398" cy="592853"/>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347170</a:t>
            </a:r>
          </a:p>
        </p:txBody>
      </p:sp>
      <p:sp>
        <p:nvSpPr>
          <p:cNvPr id="8" name="Rectangle 7">
            <a:extLst>
              <a:ext uri="{FF2B5EF4-FFF2-40B4-BE49-F238E27FC236}">
                <a16:creationId xmlns:a16="http://schemas.microsoft.com/office/drawing/2014/main" id="{AB00BFBC-6F26-A574-016E-855CDF38B96E}"/>
              </a:ext>
            </a:extLst>
          </p:cNvPr>
          <p:cNvSpPr/>
          <p:nvPr userDrawn="1"/>
        </p:nvSpPr>
        <p:spPr>
          <a:xfrm>
            <a:off x="-1758462" y="2600371"/>
            <a:ext cx="1537398" cy="592853"/>
          </a:xfrm>
          <a:prstGeom prst="rect">
            <a:avLst/>
          </a:prstGeom>
          <a:solidFill>
            <a:srgbClr val="5AE0B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5AE0BB</a:t>
            </a:r>
          </a:p>
        </p:txBody>
      </p:sp>
      <p:sp>
        <p:nvSpPr>
          <p:cNvPr id="10" name="Rectangle 9">
            <a:extLst>
              <a:ext uri="{FF2B5EF4-FFF2-40B4-BE49-F238E27FC236}">
                <a16:creationId xmlns:a16="http://schemas.microsoft.com/office/drawing/2014/main" id="{815E9A79-4BD4-644D-9D99-8440E079A872}"/>
              </a:ext>
            </a:extLst>
          </p:cNvPr>
          <p:cNvSpPr/>
          <p:nvPr userDrawn="1"/>
        </p:nvSpPr>
        <p:spPr>
          <a:xfrm>
            <a:off x="-1758462" y="3664779"/>
            <a:ext cx="1537398" cy="592853"/>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92D050</a:t>
            </a:r>
          </a:p>
        </p:txBody>
      </p:sp>
      <p:sp>
        <p:nvSpPr>
          <p:cNvPr id="11" name="Rectangle 10">
            <a:extLst>
              <a:ext uri="{FF2B5EF4-FFF2-40B4-BE49-F238E27FC236}">
                <a16:creationId xmlns:a16="http://schemas.microsoft.com/office/drawing/2014/main" id="{31BBB462-781B-302E-894F-66F9EE568A32}"/>
              </a:ext>
            </a:extLst>
          </p:cNvPr>
          <p:cNvSpPr/>
          <p:nvPr userDrawn="1"/>
        </p:nvSpPr>
        <p:spPr>
          <a:xfrm>
            <a:off x="-1756046" y="4729187"/>
            <a:ext cx="1537398" cy="592853"/>
          </a:xfrm>
          <a:prstGeom prst="rect">
            <a:avLst/>
          </a:prstGeom>
          <a:solidFill>
            <a:srgbClr val="ADB9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ADB9CA</a:t>
            </a:r>
          </a:p>
        </p:txBody>
      </p:sp>
      <p:sp>
        <p:nvSpPr>
          <p:cNvPr id="12" name="Rectangle 11">
            <a:extLst>
              <a:ext uri="{FF2B5EF4-FFF2-40B4-BE49-F238E27FC236}">
                <a16:creationId xmlns:a16="http://schemas.microsoft.com/office/drawing/2014/main" id="{6DB7933D-A33A-AC43-705A-5D56B2018196}"/>
              </a:ext>
            </a:extLst>
          </p:cNvPr>
          <p:cNvSpPr/>
          <p:nvPr userDrawn="1"/>
        </p:nvSpPr>
        <p:spPr>
          <a:xfrm>
            <a:off x="-1758462" y="5793595"/>
            <a:ext cx="1537398" cy="592853"/>
          </a:xfrm>
          <a:prstGeom prst="rect">
            <a:avLst/>
          </a:prstGeom>
          <a:solidFill>
            <a:srgbClr val="F9D8A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F9D8A3</a:t>
            </a:r>
          </a:p>
        </p:txBody>
      </p:sp>
    </p:spTree>
    <p:extLst>
      <p:ext uri="{BB962C8B-B14F-4D97-AF65-F5344CB8AC3E}">
        <p14:creationId xmlns:p14="http://schemas.microsoft.com/office/powerpoint/2010/main" val="1062126388"/>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8"/>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9" imgW="317" imgH="318" progId="TCLayout.ActiveDocument.1">
                  <p:embed/>
                </p:oleObj>
              </mc:Choice>
              <mc:Fallback>
                <p:oleObj name="Diapositiva de think-cell" r:id="rId9"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0"/>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6" name="Rectangle 5">
            <a:extLst>
              <a:ext uri="{FF2B5EF4-FFF2-40B4-BE49-F238E27FC236}">
                <a16:creationId xmlns:a16="http://schemas.microsoft.com/office/drawing/2014/main" id="{436D009D-35AF-1566-CF71-8857D1F93051}"/>
              </a:ext>
            </a:extLst>
          </p:cNvPr>
          <p:cNvSpPr/>
          <p:nvPr userDrawn="1"/>
        </p:nvSpPr>
        <p:spPr>
          <a:xfrm>
            <a:off x="-1758462" y="471555"/>
            <a:ext cx="1537398" cy="592853"/>
          </a:xfrm>
          <a:prstGeom prst="rect">
            <a:avLst/>
          </a:prstGeom>
          <a:solidFill>
            <a:srgbClr val="1D9A7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1D9A78</a:t>
            </a:r>
          </a:p>
        </p:txBody>
      </p:sp>
      <p:sp>
        <p:nvSpPr>
          <p:cNvPr id="7" name="Rectangle 6">
            <a:extLst>
              <a:ext uri="{FF2B5EF4-FFF2-40B4-BE49-F238E27FC236}">
                <a16:creationId xmlns:a16="http://schemas.microsoft.com/office/drawing/2014/main" id="{34AAE366-49C4-7DA4-9EFF-7DDD73F589A3}"/>
              </a:ext>
            </a:extLst>
          </p:cNvPr>
          <p:cNvSpPr/>
          <p:nvPr userDrawn="1"/>
        </p:nvSpPr>
        <p:spPr>
          <a:xfrm>
            <a:off x="-1758462" y="1535963"/>
            <a:ext cx="1537398" cy="592853"/>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347170</a:t>
            </a:r>
          </a:p>
        </p:txBody>
      </p:sp>
      <p:sp>
        <p:nvSpPr>
          <p:cNvPr id="8" name="Rectangle 7">
            <a:extLst>
              <a:ext uri="{FF2B5EF4-FFF2-40B4-BE49-F238E27FC236}">
                <a16:creationId xmlns:a16="http://schemas.microsoft.com/office/drawing/2014/main" id="{D817A02C-3DE8-959B-FC58-F8D3130EE85C}"/>
              </a:ext>
            </a:extLst>
          </p:cNvPr>
          <p:cNvSpPr/>
          <p:nvPr userDrawn="1"/>
        </p:nvSpPr>
        <p:spPr>
          <a:xfrm>
            <a:off x="-1758462" y="2600371"/>
            <a:ext cx="1537398" cy="592853"/>
          </a:xfrm>
          <a:prstGeom prst="rect">
            <a:avLst/>
          </a:prstGeom>
          <a:solidFill>
            <a:srgbClr val="5AE0B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5AE0BB</a:t>
            </a:r>
          </a:p>
        </p:txBody>
      </p:sp>
      <p:sp>
        <p:nvSpPr>
          <p:cNvPr id="10" name="Rectangle 9">
            <a:extLst>
              <a:ext uri="{FF2B5EF4-FFF2-40B4-BE49-F238E27FC236}">
                <a16:creationId xmlns:a16="http://schemas.microsoft.com/office/drawing/2014/main" id="{12FB1744-BDD4-5145-50FB-83E0614BC10D}"/>
              </a:ext>
            </a:extLst>
          </p:cNvPr>
          <p:cNvSpPr/>
          <p:nvPr userDrawn="1"/>
        </p:nvSpPr>
        <p:spPr>
          <a:xfrm>
            <a:off x="-1758462" y="3664779"/>
            <a:ext cx="1537398" cy="592853"/>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92D050</a:t>
            </a:r>
          </a:p>
        </p:txBody>
      </p:sp>
      <p:sp>
        <p:nvSpPr>
          <p:cNvPr id="11" name="Rectangle 10">
            <a:extLst>
              <a:ext uri="{FF2B5EF4-FFF2-40B4-BE49-F238E27FC236}">
                <a16:creationId xmlns:a16="http://schemas.microsoft.com/office/drawing/2014/main" id="{CB4D0FFD-F94A-879B-F284-C156A82D58EA}"/>
              </a:ext>
            </a:extLst>
          </p:cNvPr>
          <p:cNvSpPr/>
          <p:nvPr userDrawn="1"/>
        </p:nvSpPr>
        <p:spPr>
          <a:xfrm>
            <a:off x="-1756046" y="4729187"/>
            <a:ext cx="1537398" cy="592853"/>
          </a:xfrm>
          <a:prstGeom prst="rect">
            <a:avLst/>
          </a:prstGeom>
          <a:solidFill>
            <a:srgbClr val="ADB9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ADB9CA</a:t>
            </a:r>
          </a:p>
        </p:txBody>
      </p:sp>
      <p:sp>
        <p:nvSpPr>
          <p:cNvPr id="12" name="Rectangle 11">
            <a:extLst>
              <a:ext uri="{FF2B5EF4-FFF2-40B4-BE49-F238E27FC236}">
                <a16:creationId xmlns:a16="http://schemas.microsoft.com/office/drawing/2014/main" id="{1CC1BCA8-2545-D459-FD45-336A6CABCFA3}"/>
              </a:ext>
            </a:extLst>
          </p:cNvPr>
          <p:cNvSpPr/>
          <p:nvPr userDrawn="1"/>
        </p:nvSpPr>
        <p:spPr>
          <a:xfrm>
            <a:off x="-1758462" y="5793595"/>
            <a:ext cx="1537398" cy="592853"/>
          </a:xfrm>
          <a:prstGeom prst="rect">
            <a:avLst/>
          </a:prstGeom>
          <a:solidFill>
            <a:srgbClr val="F9D8A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F9D8A3</a:t>
            </a:r>
          </a:p>
        </p:txBody>
      </p:sp>
    </p:spTree>
    <p:extLst>
      <p:ext uri="{BB962C8B-B14F-4D97-AF65-F5344CB8AC3E}">
        <p14:creationId xmlns:p14="http://schemas.microsoft.com/office/powerpoint/2010/main" val="3605980566"/>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8"/>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9" imgW="317" imgH="318" progId="TCLayout.ActiveDocument.1">
                  <p:embed/>
                </p:oleObj>
              </mc:Choice>
              <mc:Fallback>
                <p:oleObj name="Diapositiva de think-cell" r:id="rId9"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0"/>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5" name="Rectangle 4">
            <a:extLst>
              <a:ext uri="{FF2B5EF4-FFF2-40B4-BE49-F238E27FC236}">
                <a16:creationId xmlns:a16="http://schemas.microsoft.com/office/drawing/2014/main" id="{E00894E4-F969-11E8-E1A2-5C411577DD40}"/>
              </a:ext>
            </a:extLst>
          </p:cNvPr>
          <p:cNvSpPr/>
          <p:nvPr userDrawn="1"/>
        </p:nvSpPr>
        <p:spPr>
          <a:xfrm>
            <a:off x="-1758462" y="471555"/>
            <a:ext cx="1537398" cy="592853"/>
          </a:xfrm>
          <a:prstGeom prst="rect">
            <a:avLst/>
          </a:prstGeom>
          <a:solidFill>
            <a:srgbClr val="1D9A7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1D9A78</a:t>
            </a:r>
          </a:p>
        </p:txBody>
      </p:sp>
      <p:sp>
        <p:nvSpPr>
          <p:cNvPr id="6" name="Rectangle 5">
            <a:extLst>
              <a:ext uri="{FF2B5EF4-FFF2-40B4-BE49-F238E27FC236}">
                <a16:creationId xmlns:a16="http://schemas.microsoft.com/office/drawing/2014/main" id="{F981E9E7-5597-B604-A43C-D4D2DCFACE65}"/>
              </a:ext>
            </a:extLst>
          </p:cNvPr>
          <p:cNvSpPr/>
          <p:nvPr userDrawn="1"/>
        </p:nvSpPr>
        <p:spPr>
          <a:xfrm>
            <a:off x="-1758462" y="1535963"/>
            <a:ext cx="1537398" cy="592853"/>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347170</a:t>
            </a:r>
          </a:p>
        </p:txBody>
      </p:sp>
      <p:sp>
        <p:nvSpPr>
          <p:cNvPr id="8" name="Rectangle 7">
            <a:extLst>
              <a:ext uri="{FF2B5EF4-FFF2-40B4-BE49-F238E27FC236}">
                <a16:creationId xmlns:a16="http://schemas.microsoft.com/office/drawing/2014/main" id="{76B9F787-62AE-87A8-0A62-17600E1260D4}"/>
              </a:ext>
            </a:extLst>
          </p:cNvPr>
          <p:cNvSpPr/>
          <p:nvPr userDrawn="1"/>
        </p:nvSpPr>
        <p:spPr>
          <a:xfrm>
            <a:off x="-1758462" y="2600371"/>
            <a:ext cx="1537398" cy="592853"/>
          </a:xfrm>
          <a:prstGeom prst="rect">
            <a:avLst/>
          </a:prstGeom>
          <a:solidFill>
            <a:srgbClr val="5AE0B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5AE0BB</a:t>
            </a:r>
          </a:p>
        </p:txBody>
      </p:sp>
      <p:sp>
        <p:nvSpPr>
          <p:cNvPr id="10" name="Rectangle 9">
            <a:extLst>
              <a:ext uri="{FF2B5EF4-FFF2-40B4-BE49-F238E27FC236}">
                <a16:creationId xmlns:a16="http://schemas.microsoft.com/office/drawing/2014/main" id="{F41405DB-4EEA-BB9A-42D1-3D68A039B7B9}"/>
              </a:ext>
            </a:extLst>
          </p:cNvPr>
          <p:cNvSpPr/>
          <p:nvPr userDrawn="1"/>
        </p:nvSpPr>
        <p:spPr>
          <a:xfrm>
            <a:off x="-1758462" y="3664779"/>
            <a:ext cx="1537398" cy="592853"/>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92D050</a:t>
            </a:r>
          </a:p>
        </p:txBody>
      </p:sp>
      <p:sp>
        <p:nvSpPr>
          <p:cNvPr id="11" name="Rectangle 10">
            <a:extLst>
              <a:ext uri="{FF2B5EF4-FFF2-40B4-BE49-F238E27FC236}">
                <a16:creationId xmlns:a16="http://schemas.microsoft.com/office/drawing/2014/main" id="{3298C808-383F-8764-5804-B1673E51BCAB}"/>
              </a:ext>
            </a:extLst>
          </p:cNvPr>
          <p:cNvSpPr/>
          <p:nvPr userDrawn="1"/>
        </p:nvSpPr>
        <p:spPr>
          <a:xfrm>
            <a:off x="-1756046" y="4729187"/>
            <a:ext cx="1537398" cy="592853"/>
          </a:xfrm>
          <a:prstGeom prst="rect">
            <a:avLst/>
          </a:prstGeom>
          <a:solidFill>
            <a:srgbClr val="ADB9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ADB9CA</a:t>
            </a:r>
          </a:p>
        </p:txBody>
      </p:sp>
      <p:sp>
        <p:nvSpPr>
          <p:cNvPr id="12" name="Rectangle 11">
            <a:extLst>
              <a:ext uri="{FF2B5EF4-FFF2-40B4-BE49-F238E27FC236}">
                <a16:creationId xmlns:a16="http://schemas.microsoft.com/office/drawing/2014/main" id="{E7F4E467-E377-BA3F-28B4-7E434B855033}"/>
              </a:ext>
            </a:extLst>
          </p:cNvPr>
          <p:cNvSpPr/>
          <p:nvPr userDrawn="1"/>
        </p:nvSpPr>
        <p:spPr>
          <a:xfrm>
            <a:off x="-1758462" y="5793595"/>
            <a:ext cx="1537398" cy="592853"/>
          </a:xfrm>
          <a:prstGeom prst="rect">
            <a:avLst/>
          </a:prstGeom>
          <a:solidFill>
            <a:srgbClr val="F9D8A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F9D8A3</a:t>
            </a:r>
          </a:p>
        </p:txBody>
      </p:sp>
    </p:spTree>
    <p:extLst>
      <p:ext uri="{BB962C8B-B14F-4D97-AF65-F5344CB8AC3E}">
        <p14:creationId xmlns:p14="http://schemas.microsoft.com/office/powerpoint/2010/main" val="2936819504"/>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9"/>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10" imgW="317" imgH="318" progId="TCLayout.ActiveDocument.1">
                  <p:embed/>
                </p:oleObj>
              </mc:Choice>
              <mc:Fallback>
                <p:oleObj name="Diapositiva de think-cell" r:id="rId10"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1"/>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6" name="Rectangle 5">
            <a:extLst>
              <a:ext uri="{FF2B5EF4-FFF2-40B4-BE49-F238E27FC236}">
                <a16:creationId xmlns:a16="http://schemas.microsoft.com/office/drawing/2014/main" id="{FC081ACC-AD8D-395A-AC5E-FB7B08861571}"/>
              </a:ext>
            </a:extLst>
          </p:cNvPr>
          <p:cNvSpPr/>
          <p:nvPr userDrawn="1"/>
        </p:nvSpPr>
        <p:spPr>
          <a:xfrm>
            <a:off x="-1758462" y="471555"/>
            <a:ext cx="1537398" cy="592853"/>
          </a:xfrm>
          <a:prstGeom prst="rect">
            <a:avLst/>
          </a:prstGeom>
          <a:solidFill>
            <a:srgbClr val="1D9A7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1D9A78</a:t>
            </a:r>
          </a:p>
        </p:txBody>
      </p:sp>
      <p:sp>
        <p:nvSpPr>
          <p:cNvPr id="7" name="Rectangle 6">
            <a:extLst>
              <a:ext uri="{FF2B5EF4-FFF2-40B4-BE49-F238E27FC236}">
                <a16:creationId xmlns:a16="http://schemas.microsoft.com/office/drawing/2014/main" id="{CE91A4F4-4588-2683-6A81-AD48430F401F}"/>
              </a:ext>
            </a:extLst>
          </p:cNvPr>
          <p:cNvSpPr/>
          <p:nvPr userDrawn="1"/>
        </p:nvSpPr>
        <p:spPr>
          <a:xfrm>
            <a:off x="-1758462" y="1535963"/>
            <a:ext cx="1537398" cy="592853"/>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347170</a:t>
            </a:r>
          </a:p>
        </p:txBody>
      </p:sp>
      <p:sp>
        <p:nvSpPr>
          <p:cNvPr id="8" name="Rectangle 7">
            <a:extLst>
              <a:ext uri="{FF2B5EF4-FFF2-40B4-BE49-F238E27FC236}">
                <a16:creationId xmlns:a16="http://schemas.microsoft.com/office/drawing/2014/main" id="{97C508EA-C28B-08C8-6235-D791C86139FE}"/>
              </a:ext>
            </a:extLst>
          </p:cNvPr>
          <p:cNvSpPr/>
          <p:nvPr userDrawn="1"/>
        </p:nvSpPr>
        <p:spPr>
          <a:xfrm>
            <a:off x="-1758462" y="2600371"/>
            <a:ext cx="1537398" cy="592853"/>
          </a:xfrm>
          <a:prstGeom prst="rect">
            <a:avLst/>
          </a:prstGeom>
          <a:solidFill>
            <a:srgbClr val="5AE0B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5AE0BB</a:t>
            </a:r>
          </a:p>
        </p:txBody>
      </p:sp>
      <p:sp>
        <p:nvSpPr>
          <p:cNvPr id="10" name="Rectangle 9">
            <a:extLst>
              <a:ext uri="{FF2B5EF4-FFF2-40B4-BE49-F238E27FC236}">
                <a16:creationId xmlns:a16="http://schemas.microsoft.com/office/drawing/2014/main" id="{F87F5073-6D61-F467-02D6-06AD255404EA}"/>
              </a:ext>
            </a:extLst>
          </p:cNvPr>
          <p:cNvSpPr/>
          <p:nvPr userDrawn="1"/>
        </p:nvSpPr>
        <p:spPr>
          <a:xfrm>
            <a:off x="-1758462" y="3664779"/>
            <a:ext cx="1537398" cy="592853"/>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92D050</a:t>
            </a:r>
          </a:p>
        </p:txBody>
      </p:sp>
      <p:sp>
        <p:nvSpPr>
          <p:cNvPr id="11" name="Rectangle 10">
            <a:extLst>
              <a:ext uri="{FF2B5EF4-FFF2-40B4-BE49-F238E27FC236}">
                <a16:creationId xmlns:a16="http://schemas.microsoft.com/office/drawing/2014/main" id="{B297136A-E5D5-C647-E33D-B376DFB9DE89}"/>
              </a:ext>
            </a:extLst>
          </p:cNvPr>
          <p:cNvSpPr/>
          <p:nvPr userDrawn="1"/>
        </p:nvSpPr>
        <p:spPr>
          <a:xfrm>
            <a:off x="-1756046" y="4729187"/>
            <a:ext cx="1537398" cy="592853"/>
          </a:xfrm>
          <a:prstGeom prst="rect">
            <a:avLst/>
          </a:prstGeom>
          <a:solidFill>
            <a:srgbClr val="ADB9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ADB9CA</a:t>
            </a:r>
          </a:p>
        </p:txBody>
      </p:sp>
      <p:sp>
        <p:nvSpPr>
          <p:cNvPr id="12" name="Rectangle 11">
            <a:extLst>
              <a:ext uri="{FF2B5EF4-FFF2-40B4-BE49-F238E27FC236}">
                <a16:creationId xmlns:a16="http://schemas.microsoft.com/office/drawing/2014/main" id="{840007E8-4178-3860-9518-1DFE2D6D7F81}"/>
              </a:ext>
            </a:extLst>
          </p:cNvPr>
          <p:cNvSpPr/>
          <p:nvPr userDrawn="1"/>
        </p:nvSpPr>
        <p:spPr>
          <a:xfrm>
            <a:off x="-1758462" y="5793595"/>
            <a:ext cx="1537398" cy="592853"/>
          </a:xfrm>
          <a:prstGeom prst="rect">
            <a:avLst/>
          </a:prstGeom>
          <a:solidFill>
            <a:srgbClr val="F9D8A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F9D8A3</a:t>
            </a:r>
          </a:p>
        </p:txBody>
      </p:sp>
    </p:spTree>
    <p:extLst>
      <p:ext uri="{BB962C8B-B14F-4D97-AF65-F5344CB8AC3E}">
        <p14:creationId xmlns:p14="http://schemas.microsoft.com/office/powerpoint/2010/main" val="2845666281"/>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9"/>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10" imgW="317" imgH="318" progId="TCLayout.ActiveDocument.1">
                  <p:embed/>
                </p:oleObj>
              </mc:Choice>
              <mc:Fallback>
                <p:oleObj name="Diapositiva de think-cell" r:id="rId10"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1"/>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6" name="Rectangle 5">
            <a:extLst>
              <a:ext uri="{FF2B5EF4-FFF2-40B4-BE49-F238E27FC236}">
                <a16:creationId xmlns:a16="http://schemas.microsoft.com/office/drawing/2014/main" id="{AFCF8D40-95B3-7D1E-9A9E-F0874C26AB85}"/>
              </a:ext>
            </a:extLst>
          </p:cNvPr>
          <p:cNvSpPr/>
          <p:nvPr userDrawn="1"/>
        </p:nvSpPr>
        <p:spPr>
          <a:xfrm>
            <a:off x="-1758462" y="471555"/>
            <a:ext cx="1537398" cy="592853"/>
          </a:xfrm>
          <a:prstGeom prst="rect">
            <a:avLst/>
          </a:prstGeom>
          <a:solidFill>
            <a:srgbClr val="1D9A7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1D9A78</a:t>
            </a:r>
          </a:p>
        </p:txBody>
      </p:sp>
      <p:sp>
        <p:nvSpPr>
          <p:cNvPr id="7" name="Rectangle 6">
            <a:extLst>
              <a:ext uri="{FF2B5EF4-FFF2-40B4-BE49-F238E27FC236}">
                <a16:creationId xmlns:a16="http://schemas.microsoft.com/office/drawing/2014/main" id="{227A2FE9-AC55-E57B-8B07-992363399387}"/>
              </a:ext>
            </a:extLst>
          </p:cNvPr>
          <p:cNvSpPr/>
          <p:nvPr userDrawn="1"/>
        </p:nvSpPr>
        <p:spPr>
          <a:xfrm>
            <a:off x="-1758462" y="1535963"/>
            <a:ext cx="1537398" cy="592853"/>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347170</a:t>
            </a:r>
          </a:p>
        </p:txBody>
      </p:sp>
      <p:sp>
        <p:nvSpPr>
          <p:cNvPr id="8" name="Rectangle 7">
            <a:extLst>
              <a:ext uri="{FF2B5EF4-FFF2-40B4-BE49-F238E27FC236}">
                <a16:creationId xmlns:a16="http://schemas.microsoft.com/office/drawing/2014/main" id="{2BEDA2F7-3DF5-43E5-0C5F-781FB155D4B9}"/>
              </a:ext>
            </a:extLst>
          </p:cNvPr>
          <p:cNvSpPr/>
          <p:nvPr userDrawn="1"/>
        </p:nvSpPr>
        <p:spPr>
          <a:xfrm>
            <a:off x="-1758462" y="2600371"/>
            <a:ext cx="1537398" cy="592853"/>
          </a:xfrm>
          <a:prstGeom prst="rect">
            <a:avLst/>
          </a:prstGeom>
          <a:solidFill>
            <a:srgbClr val="5AE0B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5AE0BB</a:t>
            </a:r>
          </a:p>
        </p:txBody>
      </p:sp>
      <p:sp>
        <p:nvSpPr>
          <p:cNvPr id="10" name="Rectangle 9">
            <a:extLst>
              <a:ext uri="{FF2B5EF4-FFF2-40B4-BE49-F238E27FC236}">
                <a16:creationId xmlns:a16="http://schemas.microsoft.com/office/drawing/2014/main" id="{A0791801-2F8B-7C69-0DBE-67B916E8C3DD}"/>
              </a:ext>
            </a:extLst>
          </p:cNvPr>
          <p:cNvSpPr/>
          <p:nvPr userDrawn="1"/>
        </p:nvSpPr>
        <p:spPr>
          <a:xfrm>
            <a:off x="-1758462" y="3664779"/>
            <a:ext cx="1537398" cy="592853"/>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92D050</a:t>
            </a:r>
          </a:p>
        </p:txBody>
      </p:sp>
      <p:sp>
        <p:nvSpPr>
          <p:cNvPr id="11" name="Rectangle 10">
            <a:extLst>
              <a:ext uri="{FF2B5EF4-FFF2-40B4-BE49-F238E27FC236}">
                <a16:creationId xmlns:a16="http://schemas.microsoft.com/office/drawing/2014/main" id="{638F8CA2-7D76-5F0F-474B-4B8AD489BC37}"/>
              </a:ext>
            </a:extLst>
          </p:cNvPr>
          <p:cNvSpPr/>
          <p:nvPr userDrawn="1"/>
        </p:nvSpPr>
        <p:spPr>
          <a:xfrm>
            <a:off x="-1756046" y="4729187"/>
            <a:ext cx="1537398" cy="592853"/>
          </a:xfrm>
          <a:prstGeom prst="rect">
            <a:avLst/>
          </a:prstGeom>
          <a:solidFill>
            <a:srgbClr val="ADB9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ADB9CA</a:t>
            </a:r>
          </a:p>
        </p:txBody>
      </p:sp>
      <p:sp>
        <p:nvSpPr>
          <p:cNvPr id="12" name="Rectangle 11">
            <a:extLst>
              <a:ext uri="{FF2B5EF4-FFF2-40B4-BE49-F238E27FC236}">
                <a16:creationId xmlns:a16="http://schemas.microsoft.com/office/drawing/2014/main" id="{AEE958BD-B2AA-4B3E-1BF9-ED514972413D}"/>
              </a:ext>
            </a:extLst>
          </p:cNvPr>
          <p:cNvSpPr/>
          <p:nvPr userDrawn="1"/>
        </p:nvSpPr>
        <p:spPr>
          <a:xfrm>
            <a:off x="-1758462" y="5793595"/>
            <a:ext cx="1537398" cy="592853"/>
          </a:xfrm>
          <a:prstGeom prst="rect">
            <a:avLst/>
          </a:prstGeom>
          <a:solidFill>
            <a:srgbClr val="F9D8A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F9D8A3</a:t>
            </a:r>
          </a:p>
        </p:txBody>
      </p:sp>
    </p:spTree>
    <p:extLst>
      <p:ext uri="{BB962C8B-B14F-4D97-AF65-F5344CB8AC3E}">
        <p14:creationId xmlns:p14="http://schemas.microsoft.com/office/powerpoint/2010/main" val="4233377527"/>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p15:clr>
            <a:srgbClr val="F26B43"/>
          </p15:clr>
        </p15:guide>
        <p15:guide id="15" pos="7446">
          <p15:clr>
            <a:srgbClr val="F26B43"/>
          </p15:clr>
        </p15:guide>
        <p15:guide id="16" orient="horz" pos="958">
          <p15:clr>
            <a:srgbClr val="F26B43"/>
          </p15:clr>
        </p15:guide>
        <p15:guide id="17" orient="horz" pos="232">
          <p15:clr>
            <a:srgbClr val="F26B43"/>
          </p15:clr>
        </p15:guide>
        <p15:guide id="19" orient="horz" pos="4156">
          <p15:clr>
            <a:srgbClr val="5ACBF0"/>
          </p15:clr>
        </p15:guide>
        <p15:guide id="20" pos="23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7/25/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Source:_______</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1153E9AD-B250-210A-AB00-04020093806C}"/>
              </a:ext>
            </a:extLst>
          </p:cNvPr>
          <p:cNvSpPr/>
          <p:nvPr userDrawn="1"/>
        </p:nvSpPr>
        <p:spPr>
          <a:xfrm>
            <a:off x="-1758462" y="471555"/>
            <a:ext cx="1537398" cy="592853"/>
          </a:xfrm>
          <a:prstGeom prst="rect">
            <a:avLst/>
          </a:prstGeom>
          <a:solidFill>
            <a:srgbClr val="1D9A7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1D9A78</a:t>
            </a:r>
          </a:p>
        </p:txBody>
      </p:sp>
      <p:sp>
        <p:nvSpPr>
          <p:cNvPr id="8" name="Rectangle 7">
            <a:extLst>
              <a:ext uri="{FF2B5EF4-FFF2-40B4-BE49-F238E27FC236}">
                <a16:creationId xmlns:a16="http://schemas.microsoft.com/office/drawing/2014/main" id="{A4D9C644-246A-1AA8-F470-CBDE55E7BBDD}"/>
              </a:ext>
            </a:extLst>
          </p:cNvPr>
          <p:cNvSpPr/>
          <p:nvPr userDrawn="1"/>
        </p:nvSpPr>
        <p:spPr>
          <a:xfrm>
            <a:off x="-1758462" y="1535963"/>
            <a:ext cx="1537398" cy="592853"/>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347170</a:t>
            </a:r>
          </a:p>
        </p:txBody>
      </p:sp>
      <p:sp>
        <p:nvSpPr>
          <p:cNvPr id="9" name="Rectangle 8">
            <a:extLst>
              <a:ext uri="{FF2B5EF4-FFF2-40B4-BE49-F238E27FC236}">
                <a16:creationId xmlns:a16="http://schemas.microsoft.com/office/drawing/2014/main" id="{7F0C5EBB-1CEB-4E95-91FA-9E26859D695E}"/>
              </a:ext>
            </a:extLst>
          </p:cNvPr>
          <p:cNvSpPr/>
          <p:nvPr userDrawn="1"/>
        </p:nvSpPr>
        <p:spPr>
          <a:xfrm>
            <a:off x="-1758462" y="2600371"/>
            <a:ext cx="1537398" cy="592853"/>
          </a:xfrm>
          <a:prstGeom prst="rect">
            <a:avLst/>
          </a:prstGeom>
          <a:solidFill>
            <a:srgbClr val="5AE0B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5AE0BB</a:t>
            </a:r>
          </a:p>
        </p:txBody>
      </p:sp>
      <p:sp>
        <p:nvSpPr>
          <p:cNvPr id="10" name="Rectangle 9">
            <a:extLst>
              <a:ext uri="{FF2B5EF4-FFF2-40B4-BE49-F238E27FC236}">
                <a16:creationId xmlns:a16="http://schemas.microsoft.com/office/drawing/2014/main" id="{F9CF1A59-E501-2193-CA73-87CECE3D71B3}"/>
              </a:ext>
            </a:extLst>
          </p:cNvPr>
          <p:cNvSpPr/>
          <p:nvPr userDrawn="1"/>
        </p:nvSpPr>
        <p:spPr>
          <a:xfrm>
            <a:off x="-1758462" y="3664779"/>
            <a:ext cx="1537398" cy="592853"/>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92D050</a:t>
            </a:r>
          </a:p>
        </p:txBody>
      </p:sp>
      <p:sp>
        <p:nvSpPr>
          <p:cNvPr id="11" name="Rectangle 10">
            <a:extLst>
              <a:ext uri="{FF2B5EF4-FFF2-40B4-BE49-F238E27FC236}">
                <a16:creationId xmlns:a16="http://schemas.microsoft.com/office/drawing/2014/main" id="{4674465C-ECBC-1A5C-EB2A-E4E991832E05}"/>
              </a:ext>
            </a:extLst>
          </p:cNvPr>
          <p:cNvSpPr/>
          <p:nvPr userDrawn="1"/>
        </p:nvSpPr>
        <p:spPr>
          <a:xfrm>
            <a:off x="-1756046" y="4729187"/>
            <a:ext cx="1537398" cy="592853"/>
          </a:xfrm>
          <a:prstGeom prst="rect">
            <a:avLst/>
          </a:prstGeom>
          <a:solidFill>
            <a:srgbClr val="ADB9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ADB9CA</a:t>
            </a:r>
          </a:p>
        </p:txBody>
      </p:sp>
      <p:sp>
        <p:nvSpPr>
          <p:cNvPr id="12" name="Rectangle 11">
            <a:extLst>
              <a:ext uri="{FF2B5EF4-FFF2-40B4-BE49-F238E27FC236}">
                <a16:creationId xmlns:a16="http://schemas.microsoft.com/office/drawing/2014/main" id="{D061B086-8CB4-39D3-AC96-20D104AB1C13}"/>
              </a:ext>
            </a:extLst>
          </p:cNvPr>
          <p:cNvSpPr/>
          <p:nvPr userDrawn="1"/>
        </p:nvSpPr>
        <p:spPr>
          <a:xfrm>
            <a:off x="-1758462" y="5793595"/>
            <a:ext cx="1537398" cy="592853"/>
          </a:xfrm>
          <a:prstGeom prst="rect">
            <a:avLst/>
          </a:prstGeom>
          <a:solidFill>
            <a:srgbClr val="F9D8A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t>#F9D8A3</a:t>
            </a:r>
          </a:p>
        </p:txBody>
      </p:sp>
    </p:spTree>
    <p:extLst>
      <p:ext uri="{BB962C8B-B14F-4D97-AF65-F5344CB8AC3E}">
        <p14:creationId xmlns:p14="http://schemas.microsoft.com/office/powerpoint/2010/main" val="106795379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68" r:id="rId16"/>
    <p:sldLayoutId id="2147484069" r:id="rId17"/>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3.xml"/><Relationship Id="rId1" Type="http://schemas.openxmlformats.org/officeDocument/2006/relationships/tags" Target="../tags/tag5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3.bin"/></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oleObject" Target="../embeddings/oleObject61.bin"/><Relationship Id="rId7" Type="http://schemas.openxmlformats.org/officeDocument/2006/relationships/image" Target="../media/image20.png"/><Relationship Id="rId2" Type="http://schemas.openxmlformats.org/officeDocument/2006/relationships/slideLayout" Target="../slideLayouts/slideLayout56.xml"/><Relationship Id="rId1" Type="http://schemas.openxmlformats.org/officeDocument/2006/relationships/tags" Target="../tags/tag64.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emf"/><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62.bin"/><Relationship Id="rId7" Type="http://schemas.openxmlformats.org/officeDocument/2006/relationships/image" Target="../media/image26.png"/><Relationship Id="rId2" Type="http://schemas.openxmlformats.org/officeDocument/2006/relationships/slideLayout" Target="../slideLayouts/slideLayout56.xml"/><Relationship Id="rId1" Type="http://schemas.openxmlformats.org/officeDocument/2006/relationships/tags" Target="../tags/tag65.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17.emf"/><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11.png"/><Relationship Id="rId3" Type="http://schemas.openxmlformats.org/officeDocument/2006/relationships/oleObject" Target="../embeddings/oleObject63.bin"/><Relationship Id="rId7" Type="http://schemas.openxmlformats.org/officeDocument/2006/relationships/image" Target="../media/image32.png"/><Relationship Id="rId12" Type="http://schemas.openxmlformats.org/officeDocument/2006/relationships/image" Target="../media/image10.png"/><Relationship Id="rId17" Type="http://schemas.openxmlformats.org/officeDocument/2006/relationships/hyperlink" Target="https://logos-world.net/estee-lauder-logo/" TargetMode="External"/><Relationship Id="rId2" Type="http://schemas.openxmlformats.org/officeDocument/2006/relationships/slideLayout" Target="../slideLayouts/slideLayout56.xml"/><Relationship Id="rId16" Type="http://schemas.openxmlformats.org/officeDocument/2006/relationships/image" Target="../media/image14.png"/><Relationship Id="rId1" Type="http://schemas.openxmlformats.org/officeDocument/2006/relationships/tags" Target="../tags/tag66.xml"/><Relationship Id="rId6" Type="http://schemas.openxmlformats.org/officeDocument/2006/relationships/image" Target="../media/image31.png"/><Relationship Id="rId11" Type="http://schemas.openxmlformats.org/officeDocument/2006/relationships/image" Target="../media/image9.png"/><Relationship Id="rId5" Type="http://schemas.openxmlformats.org/officeDocument/2006/relationships/image" Target="../media/image30.png"/><Relationship Id="rId15" Type="http://schemas.openxmlformats.org/officeDocument/2006/relationships/image" Target="../media/image13.png"/><Relationship Id="rId10" Type="http://schemas.openxmlformats.org/officeDocument/2006/relationships/image" Target="../media/image35.png"/><Relationship Id="rId4" Type="http://schemas.openxmlformats.org/officeDocument/2006/relationships/image" Target="../media/image7.emf"/><Relationship Id="rId9" Type="http://schemas.openxmlformats.org/officeDocument/2006/relationships/image" Target="../media/image34.png"/><Relationship Id="rId1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5.xml"/><Relationship Id="rId1" Type="http://schemas.openxmlformats.org/officeDocument/2006/relationships/tags" Target="../tags/tag67.xml"/><Relationship Id="rId5" Type="http://schemas.openxmlformats.org/officeDocument/2006/relationships/image" Target="../media/image8.emf"/><Relationship Id="rId4" Type="http://schemas.openxmlformats.org/officeDocument/2006/relationships/oleObject" Target="../embeddings/oleObject64.bin"/></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8.xml"/><Relationship Id="rId7" Type="http://schemas.openxmlformats.org/officeDocument/2006/relationships/hyperlink" Target="https://umbrex.com/resources/consulting-fees/" TargetMode="External"/><Relationship Id="rId2" Type="http://schemas.openxmlformats.org/officeDocument/2006/relationships/slideLayout" Target="../slideLayouts/slideLayout54.xml"/><Relationship Id="rId1" Type="http://schemas.openxmlformats.org/officeDocument/2006/relationships/tags" Target="../tags/tag68.xml"/><Relationship Id="rId6" Type="http://schemas.openxmlformats.org/officeDocument/2006/relationships/image" Target="../media/image36.png"/><Relationship Id="rId5" Type="http://schemas.openxmlformats.org/officeDocument/2006/relationships/image" Target="../media/image7.emf"/><Relationship Id="rId4" Type="http://schemas.openxmlformats.org/officeDocument/2006/relationships/oleObject" Target="../embeddings/oleObject65.bin"/><Relationship Id="rId9" Type="http://schemas.openxmlformats.org/officeDocument/2006/relationships/image" Target="../media/image38.png"/></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40.png"/><Relationship Id="rId3" Type="http://schemas.openxmlformats.org/officeDocument/2006/relationships/notesSlide" Target="../notesSlides/notesSlide9.xml"/><Relationship Id="rId7" Type="http://schemas.openxmlformats.org/officeDocument/2006/relationships/diagramData" Target="../diagrams/data1.xml"/><Relationship Id="rId12" Type="http://schemas.openxmlformats.org/officeDocument/2006/relationships/image" Target="../media/image39.png"/><Relationship Id="rId2" Type="http://schemas.openxmlformats.org/officeDocument/2006/relationships/slideLayout" Target="../slideLayouts/slideLayout54.xml"/><Relationship Id="rId1" Type="http://schemas.openxmlformats.org/officeDocument/2006/relationships/tags" Target="../tags/tag69.xml"/><Relationship Id="rId6" Type="http://schemas.openxmlformats.org/officeDocument/2006/relationships/image" Target="../media/image7.emf"/><Relationship Id="rId11" Type="http://schemas.microsoft.com/office/2007/relationships/diagramDrawing" Target="../diagrams/drawing1.xml"/><Relationship Id="rId5" Type="http://schemas.openxmlformats.org/officeDocument/2006/relationships/oleObject" Target="../embeddings/oleObject66.bin"/><Relationship Id="rId10" Type="http://schemas.openxmlformats.org/officeDocument/2006/relationships/diagramColors" Target="../diagrams/colors1.xml"/><Relationship Id="rId4" Type="http://schemas.openxmlformats.org/officeDocument/2006/relationships/hyperlink" Target="https://umbrex.com/resources/consulting-fees/" TargetMode="External"/><Relationship Id="rId9"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0.xml"/><Relationship Id="rId7" Type="http://schemas.openxmlformats.org/officeDocument/2006/relationships/hyperlink" Target="https://umbrex.com/resources/consulting-fees/" TargetMode="External"/><Relationship Id="rId2" Type="http://schemas.openxmlformats.org/officeDocument/2006/relationships/slideLayout" Target="../slideLayouts/slideLayout54.xml"/><Relationship Id="rId1" Type="http://schemas.openxmlformats.org/officeDocument/2006/relationships/tags" Target="../tags/tag70.xml"/><Relationship Id="rId6" Type="http://schemas.openxmlformats.org/officeDocument/2006/relationships/image" Target="../media/image36.png"/><Relationship Id="rId5" Type="http://schemas.openxmlformats.org/officeDocument/2006/relationships/image" Target="../media/image7.emf"/><Relationship Id="rId4" Type="http://schemas.openxmlformats.org/officeDocument/2006/relationships/oleObject" Target="../embeddings/oleObject67.bin"/><Relationship Id="rId9" Type="http://schemas.openxmlformats.org/officeDocument/2006/relationships/image" Target="../media/image42.png"/></Relationships>
</file>

<file path=ppt/slides/_rels/slide1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11.xml"/><Relationship Id="rId7" Type="http://schemas.openxmlformats.org/officeDocument/2006/relationships/image" Target="../media/image43.png"/><Relationship Id="rId2" Type="http://schemas.openxmlformats.org/officeDocument/2006/relationships/slideLayout" Target="../slideLayouts/slideLayout54.xml"/><Relationship Id="rId1" Type="http://schemas.openxmlformats.org/officeDocument/2006/relationships/tags" Target="../tags/tag71.xml"/><Relationship Id="rId6" Type="http://schemas.openxmlformats.org/officeDocument/2006/relationships/image" Target="../media/image7.emf"/><Relationship Id="rId5" Type="http://schemas.openxmlformats.org/officeDocument/2006/relationships/oleObject" Target="../embeddings/oleObject68.bin"/><Relationship Id="rId4" Type="http://schemas.openxmlformats.org/officeDocument/2006/relationships/hyperlink" Target="https://umbrex.com/resources/consulting-fees/"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12.xml"/><Relationship Id="rId7" Type="http://schemas.openxmlformats.org/officeDocument/2006/relationships/image" Target="../media/image45.png"/><Relationship Id="rId2" Type="http://schemas.openxmlformats.org/officeDocument/2006/relationships/slideLayout" Target="../slideLayouts/slideLayout54.xml"/><Relationship Id="rId1" Type="http://schemas.openxmlformats.org/officeDocument/2006/relationships/tags" Target="../tags/tag72.xml"/><Relationship Id="rId6" Type="http://schemas.openxmlformats.org/officeDocument/2006/relationships/image" Target="../media/image7.emf"/><Relationship Id="rId5" Type="http://schemas.openxmlformats.org/officeDocument/2006/relationships/oleObject" Target="../embeddings/oleObject69.bin"/><Relationship Id="rId4" Type="http://schemas.openxmlformats.org/officeDocument/2006/relationships/hyperlink" Target="https://umbrex.com/resources/consulting-fees/"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13.xml"/><Relationship Id="rId7" Type="http://schemas.openxmlformats.org/officeDocument/2006/relationships/image" Target="../media/image47.png"/><Relationship Id="rId2" Type="http://schemas.openxmlformats.org/officeDocument/2006/relationships/slideLayout" Target="../slideLayouts/slideLayout54.xml"/><Relationship Id="rId1" Type="http://schemas.openxmlformats.org/officeDocument/2006/relationships/tags" Target="../tags/tag73.xml"/><Relationship Id="rId6" Type="http://schemas.openxmlformats.org/officeDocument/2006/relationships/image" Target="../media/image7.emf"/><Relationship Id="rId5" Type="http://schemas.openxmlformats.org/officeDocument/2006/relationships/oleObject" Target="../embeddings/oleObject70.bin"/><Relationship Id="rId4" Type="http://schemas.openxmlformats.org/officeDocument/2006/relationships/hyperlink" Target="https://umbrex.com/resources/consulting-fees/"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57.xml"/><Relationship Id="rId5" Type="http://schemas.openxmlformats.org/officeDocument/2006/relationships/image" Target="../media/image6.emf"/><Relationship Id="rId4" Type="http://schemas.openxmlformats.org/officeDocument/2006/relationships/oleObject" Target="../embeddings/oleObject54.bin"/></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14.xml"/><Relationship Id="rId7" Type="http://schemas.openxmlformats.org/officeDocument/2006/relationships/image" Target="../media/image49.png"/><Relationship Id="rId2" Type="http://schemas.openxmlformats.org/officeDocument/2006/relationships/slideLayout" Target="../slideLayouts/slideLayout54.xml"/><Relationship Id="rId1" Type="http://schemas.openxmlformats.org/officeDocument/2006/relationships/tags" Target="../tags/tag74.xml"/><Relationship Id="rId6" Type="http://schemas.openxmlformats.org/officeDocument/2006/relationships/image" Target="../media/image7.emf"/><Relationship Id="rId5" Type="http://schemas.openxmlformats.org/officeDocument/2006/relationships/oleObject" Target="../embeddings/oleObject71.bin"/><Relationship Id="rId4" Type="http://schemas.openxmlformats.org/officeDocument/2006/relationships/hyperlink" Target="https://umbrex.com/resources/consulting-fees/"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52.svg"/><Relationship Id="rId2" Type="http://schemas.openxmlformats.org/officeDocument/2006/relationships/slideLayout" Target="../slideLayouts/slideLayout55.xml"/><Relationship Id="rId1" Type="http://schemas.openxmlformats.org/officeDocument/2006/relationships/tags" Target="../tags/tag75.xml"/><Relationship Id="rId6" Type="http://schemas.openxmlformats.org/officeDocument/2006/relationships/image" Target="../media/image51.png"/><Relationship Id="rId5" Type="http://schemas.openxmlformats.org/officeDocument/2006/relationships/image" Target="../media/image8.emf"/><Relationship Id="rId4" Type="http://schemas.openxmlformats.org/officeDocument/2006/relationships/oleObject" Target="../embeddings/oleObject72.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3.bin"/><Relationship Id="rId7" Type="http://schemas.openxmlformats.org/officeDocument/2006/relationships/image" Target="../media/image55.png"/><Relationship Id="rId2" Type="http://schemas.openxmlformats.org/officeDocument/2006/relationships/slideLayout" Target="../slideLayouts/slideLayout54.xml"/><Relationship Id="rId1" Type="http://schemas.openxmlformats.org/officeDocument/2006/relationships/tags" Target="../tags/tag76.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74.bin"/><Relationship Id="rId7" Type="http://schemas.openxmlformats.org/officeDocument/2006/relationships/image" Target="../media/image58.png"/><Relationship Id="rId2" Type="http://schemas.openxmlformats.org/officeDocument/2006/relationships/slideLayout" Target="../slideLayouts/slideLayout54.xml"/><Relationship Id="rId1" Type="http://schemas.openxmlformats.org/officeDocument/2006/relationships/tags" Target="../tags/tag7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s://logos-world.net/estee-lauder-logo/" TargetMode="External"/><Relationship Id="rId3" Type="http://schemas.openxmlformats.org/officeDocument/2006/relationships/oleObject" Target="../embeddings/oleObject75.bin"/><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slideLayout" Target="../slideLayouts/slideLayout54.xml"/><Relationship Id="rId1" Type="http://schemas.openxmlformats.org/officeDocument/2006/relationships/tags" Target="../tags/tag78.xml"/><Relationship Id="rId6" Type="http://schemas.openxmlformats.org/officeDocument/2006/relationships/image" Target="../media/image10.png"/><Relationship Id="rId11" Type="http://schemas.openxmlformats.org/officeDocument/2006/relationships/image" Target="../media/image60.png"/><Relationship Id="rId5" Type="http://schemas.openxmlformats.org/officeDocument/2006/relationships/image" Target="../media/image9.png"/><Relationship Id="rId10" Type="http://schemas.openxmlformats.org/officeDocument/2006/relationships/image" Target="../media/image59.png"/><Relationship Id="rId4" Type="http://schemas.openxmlformats.org/officeDocument/2006/relationships/image" Target="../media/image7.emf"/><Relationship Id="rId9" Type="http://schemas.openxmlformats.org/officeDocument/2006/relationships/image" Target="../media/image1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2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7.xml"/><Relationship Id="rId7" Type="http://schemas.openxmlformats.org/officeDocument/2006/relationships/image" Target="../media/image10.png"/><Relationship Id="rId12" Type="http://schemas.openxmlformats.org/officeDocument/2006/relationships/hyperlink" Target="https://logos-world.net/estee-lauder-logo/" TargetMode="External"/><Relationship Id="rId2" Type="http://schemas.openxmlformats.org/officeDocument/2006/relationships/slideLayout" Target="../slideLayouts/slideLayout56.xml"/><Relationship Id="rId1" Type="http://schemas.openxmlformats.org/officeDocument/2006/relationships/tags" Target="../tags/tag79.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7.emf"/><Relationship Id="rId10" Type="http://schemas.openxmlformats.org/officeDocument/2006/relationships/image" Target="../media/image11.png"/><Relationship Id="rId4" Type="http://schemas.openxmlformats.org/officeDocument/2006/relationships/oleObject" Target="../embeddings/oleObject76.bin"/><Relationship Id="rId9"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62.png"/><Relationship Id="rId2" Type="http://schemas.openxmlformats.org/officeDocument/2006/relationships/slideLayout" Target="../slideLayouts/slideLayout54.xml"/><Relationship Id="rId1" Type="http://schemas.openxmlformats.org/officeDocument/2006/relationships/tags" Target="../tags/tag80.x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7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4.xml"/><Relationship Id="rId1" Type="http://schemas.openxmlformats.org/officeDocument/2006/relationships/tags" Target="../tags/tag81.xml"/><Relationship Id="rId6" Type="http://schemas.openxmlformats.org/officeDocument/2006/relationships/image" Target="../media/image63.png"/><Relationship Id="rId5" Type="http://schemas.openxmlformats.org/officeDocument/2006/relationships/image" Target="../media/image7.emf"/><Relationship Id="rId4" Type="http://schemas.openxmlformats.org/officeDocument/2006/relationships/oleObject" Target="../embeddings/oleObject78.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5.xml"/><Relationship Id="rId1" Type="http://schemas.openxmlformats.org/officeDocument/2006/relationships/tags" Target="../tags/tag82.xml"/><Relationship Id="rId5" Type="http://schemas.openxmlformats.org/officeDocument/2006/relationships/image" Target="../media/image8.emf"/><Relationship Id="rId4" Type="http://schemas.openxmlformats.org/officeDocument/2006/relationships/oleObject" Target="../embeddings/oleObject79.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2.xml"/><Relationship Id="rId1" Type="http://schemas.openxmlformats.org/officeDocument/2006/relationships/tags" Target="../tags/tag58.xml"/><Relationship Id="rId4" Type="http://schemas.openxmlformats.org/officeDocument/2006/relationships/image" Target="../media/image7.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64.png"/><Relationship Id="rId2" Type="http://schemas.openxmlformats.org/officeDocument/2006/relationships/image" Target="../media/image9.png"/><Relationship Id="rId1" Type="http://schemas.openxmlformats.org/officeDocument/2006/relationships/slideLayout" Target="../slideLayouts/slideLayout56.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13.png"/><Relationship Id="rId9" Type="http://schemas.openxmlformats.org/officeDocument/2006/relationships/hyperlink" Target="https://logos-world.net/estee-lauder-logo/"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xml"/><Relationship Id="rId1" Type="http://schemas.openxmlformats.org/officeDocument/2006/relationships/slideLayout" Target="../slideLayouts/slideLayout56.xml"/><Relationship Id="rId5" Type="http://schemas.openxmlformats.org/officeDocument/2006/relationships/hyperlink" Target="https://logos-world.net/estee-lauder-logo/" TargetMode="External"/><Relationship Id="rId4" Type="http://schemas.openxmlformats.org/officeDocument/2006/relationships/image" Target="../media/image14.png"/></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microsoft.com/office/2018/10/relationships/comments" Target="../comments/modernComment_7FFFD767_51EB4D2E.xml"/><Relationship Id="rId1" Type="http://schemas.openxmlformats.org/officeDocument/2006/relationships/slideLayout" Target="../slideLayouts/slideLayout56.xml"/><Relationship Id="rId5" Type="http://schemas.openxmlformats.org/officeDocument/2006/relationships/image" Target="../media/image9.png"/><Relationship Id="rId4" Type="http://schemas.openxmlformats.org/officeDocument/2006/relationships/hyperlink" Target="https://logos-world.net/estee-lauder-logo/" TargetMode="External"/></Relationships>
</file>

<file path=ppt/slides/_rels/slide34.xml.rels><?xml version="1.0" encoding="UTF-8" standalone="yes"?>
<Relationships xmlns="http://schemas.openxmlformats.org/package/2006/relationships"><Relationship Id="rId3" Type="http://schemas.microsoft.com/office/2018/10/relationships/comments" Target="../comments/modernComment_7FFFD75A_3CC06447.xml"/><Relationship Id="rId7" Type="http://schemas.openxmlformats.org/officeDocument/2006/relationships/chart" Target="../charts/chart3.xml"/><Relationship Id="rId2" Type="http://schemas.openxmlformats.org/officeDocument/2006/relationships/slideLayout" Target="../slideLayouts/slideLayout56.xml"/><Relationship Id="rId1" Type="http://schemas.openxmlformats.org/officeDocument/2006/relationships/tags" Target="../tags/tag83.xml"/><Relationship Id="rId6" Type="http://schemas.openxmlformats.org/officeDocument/2006/relationships/chart" Target="../charts/chart2.xml"/><Relationship Id="rId5" Type="http://schemas.openxmlformats.org/officeDocument/2006/relationships/image" Target="../media/image7.emf"/><Relationship Id="rId4" Type="http://schemas.openxmlformats.org/officeDocument/2006/relationships/oleObject" Target="../embeddings/oleObject80.bin"/></Relationships>
</file>

<file path=ppt/slides/_rels/slide3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6.xml"/><Relationship Id="rId4" Type="http://schemas.openxmlformats.org/officeDocument/2006/relationships/image" Target="../media/image67.png"/></Relationships>
</file>

<file path=ppt/slides/_rels/slide36.xml.rels><?xml version="1.0" encoding="UTF-8" standalone="yes"?>
<Relationships xmlns="http://schemas.openxmlformats.org/package/2006/relationships"><Relationship Id="rId3" Type="http://schemas.openxmlformats.org/officeDocument/2006/relationships/image" Target="../media/image9.png"/><Relationship Id="rId2" Type="http://schemas.microsoft.com/office/2018/10/relationships/comments" Target="../comments/modernComment_7FFFD755_7A2A085D.xml"/><Relationship Id="rId1" Type="http://schemas.openxmlformats.org/officeDocument/2006/relationships/slideLayout" Target="../slideLayouts/slideLayout56.xml"/><Relationship Id="rId5" Type="http://schemas.openxmlformats.org/officeDocument/2006/relationships/hyperlink" Target="https://logos-world.net/estee-lauder-logo/" TargetMode="External"/><Relationship Id="rId4" Type="http://schemas.openxmlformats.org/officeDocument/2006/relationships/image" Target="../media/image14.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69.svg"/><Relationship Id="rId2" Type="http://schemas.openxmlformats.org/officeDocument/2006/relationships/slideLayout" Target="../slideLayouts/slideLayout55.xml"/><Relationship Id="rId1" Type="http://schemas.openxmlformats.org/officeDocument/2006/relationships/tags" Target="../tags/tag84.xml"/><Relationship Id="rId6" Type="http://schemas.openxmlformats.org/officeDocument/2006/relationships/image" Target="../media/image68.png"/><Relationship Id="rId5" Type="http://schemas.openxmlformats.org/officeDocument/2006/relationships/image" Target="../media/image8.emf"/><Relationship Id="rId4" Type="http://schemas.openxmlformats.org/officeDocument/2006/relationships/oleObject" Target="../embeddings/oleObject8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5.xml"/><Relationship Id="rId1" Type="http://schemas.openxmlformats.org/officeDocument/2006/relationships/tags" Target="../tags/tag59.xml"/><Relationship Id="rId5" Type="http://schemas.openxmlformats.org/officeDocument/2006/relationships/image" Target="../media/image8.emf"/><Relationship Id="rId4" Type="http://schemas.openxmlformats.org/officeDocument/2006/relationships/oleObject" Target="../embeddings/oleObject56.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4.xml"/><Relationship Id="rId7" Type="http://schemas.openxmlformats.org/officeDocument/2006/relationships/image" Target="../media/image10.png"/><Relationship Id="rId12" Type="http://schemas.openxmlformats.org/officeDocument/2006/relationships/hyperlink" Target="https://logos-world.net/estee-lauder-logo/" TargetMode="External"/><Relationship Id="rId2" Type="http://schemas.openxmlformats.org/officeDocument/2006/relationships/slideLayout" Target="../slideLayouts/slideLayout54.xml"/><Relationship Id="rId1" Type="http://schemas.openxmlformats.org/officeDocument/2006/relationships/tags" Target="../tags/tag60.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7.emf"/><Relationship Id="rId10" Type="http://schemas.openxmlformats.org/officeDocument/2006/relationships/image" Target="../media/image13.png"/><Relationship Id="rId4" Type="http://schemas.openxmlformats.org/officeDocument/2006/relationships/oleObject" Target="../embeddings/oleObject57.bin"/><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5.xml"/><Relationship Id="rId1" Type="http://schemas.openxmlformats.org/officeDocument/2006/relationships/tags" Target="../tags/tag61.xml"/><Relationship Id="rId6" Type="http://schemas.openxmlformats.org/officeDocument/2006/relationships/image" Target="../media/image8.emf"/><Relationship Id="rId5" Type="http://schemas.openxmlformats.org/officeDocument/2006/relationships/oleObject" Target="../embeddings/oleObject58.bin"/><Relationship Id="rId4" Type="http://schemas.microsoft.com/office/2018/10/relationships/comments" Target="../comments/modernComment_7FFFD763_645E2F2D.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6.xml"/><Relationship Id="rId1" Type="http://schemas.openxmlformats.org/officeDocument/2006/relationships/tags" Target="../tags/tag62.xml"/><Relationship Id="rId5" Type="http://schemas.openxmlformats.org/officeDocument/2006/relationships/image" Target="../media/image15.emf"/><Relationship Id="rId4" Type="http://schemas.openxmlformats.org/officeDocument/2006/relationships/oleObject" Target="../embeddings/oleObject59.bin"/></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60.bin"/><Relationship Id="rId7" Type="http://schemas.openxmlformats.org/officeDocument/2006/relationships/image" Target="../media/image10.png"/><Relationship Id="rId12" Type="http://schemas.openxmlformats.org/officeDocument/2006/relationships/hyperlink" Target="https://logos-world.net/estee-lauder-logo/" TargetMode="External"/><Relationship Id="rId2" Type="http://schemas.openxmlformats.org/officeDocument/2006/relationships/slideLayout" Target="../slideLayouts/slideLayout56.xml"/><Relationship Id="rId1" Type="http://schemas.openxmlformats.org/officeDocument/2006/relationships/tags" Target="../tags/tag63.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16.png"/><Relationship Id="rId10" Type="http://schemas.openxmlformats.org/officeDocument/2006/relationships/image" Target="../media/image13.png"/><Relationship Id="rId4" Type="http://schemas.openxmlformats.org/officeDocument/2006/relationships/image" Target="../media/image7.emf"/><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9D99533-1020-C958-F839-8B16DACCC4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89D99533-1020-C958-F839-8B16DACCC4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7A3128B5-8739-DBD2-0883-A4758098E679}"/>
              </a:ext>
            </a:extLst>
          </p:cNvPr>
          <p:cNvSpPr>
            <a:spLocks noGrp="1"/>
          </p:cNvSpPr>
          <p:nvPr>
            <p:ph type="body" sz="quarter" idx="14"/>
          </p:nvPr>
        </p:nvSpPr>
        <p:spPr>
          <a:xfrm>
            <a:off x="5678694" y="1064408"/>
            <a:ext cx="6057586" cy="1610491"/>
          </a:xfrm>
        </p:spPr>
        <p:txBody>
          <a:bodyPr>
            <a:normAutofit/>
          </a:bodyPr>
          <a:lstStyle/>
          <a:p>
            <a:pPr marL="0" indent="0">
              <a:buNone/>
            </a:pP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e’s Investment Advisory Firm</a:t>
            </a:r>
          </a:p>
        </p:txBody>
      </p:sp>
      <p:sp>
        <p:nvSpPr>
          <p:cNvPr id="6" name="Marcador de texto 5">
            <a:extLst>
              <a:ext uri="{FF2B5EF4-FFF2-40B4-BE49-F238E27FC236}">
                <a16:creationId xmlns:a16="http://schemas.microsoft.com/office/drawing/2014/main" id="{F5B3CCD8-2147-B08A-1A51-C2936A6C900E}"/>
              </a:ext>
            </a:extLst>
          </p:cNvPr>
          <p:cNvSpPr>
            <a:spLocks noGrp="1"/>
          </p:cNvSpPr>
          <p:nvPr>
            <p:ph type="body" sz="quarter" idx="15"/>
          </p:nvPr>
        </p:nvSpPr>
        <p:spPr/>
        <p:txBody>
          <a:bodyPr/>
          <a:lstStyle/>
          <a:p>
            <a:pPr marL="0" indent="0">
              <a:buNone/>
            </a:pP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tock Value Prediction</a:t>
            </a:r>
          </a:p>
        </p:txBody>
      </p:sp>
      <p:sp>
        <p:nvSpPr>
          <p:cNvPr id="2" name="Rectangle 1">
            <a:extLst>
              <a:ext uri="{FF2B5EF4-FFF2-40B4-BE49-F238E27FC236}">
                <a16:creationId xmlns:a16="http://schemas.microsoft.com/office/drawing/2014/main" id="{A7B6492F-AD0D-5282-3A84-1B0901CCE18E}"/>
              </a:ext>
            </a:extLst>
          </p:cNvPr>
          <p:cNvSpPr/>
          <p:nvPr/>
        </p:nvSpPr>
        <p:spPr>
          <a:xfrm>
            <a:off x="-1758462" y="471555"/>
            <a:ext cx="1537398" cy="592853"/>
          </a:xfrm>
          <a:prstGeom prst="rect">
            <a:avLst/>
          </a:prstGeom>
          <a:solidFill>
            <a:srgbClr val="1D9A7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t>#1D9A78</a:t>
            </a:r>
          </a:p>
        </p:txBody>
      </p:sp>
      <p:sp>
        <p:nvSpPr>
          <p:cNvPr id="3" name="Rectangle 2">
            <a:extLst>
              <a:ext uri="{FF2B5EF4-FFF2-40B4-BE49-F238E27FC236}">
                <a16:creationId xmlns:a16="http://schemas.microsoft.com/office/drawing/2014/main" id="{4866696B-4FAF-CEEC-DECF-AE8629EE82DE}"/>
              </a:ext>
            </a:extLst>
          </p:cNvPr>
          <p:cNvSpPr/>
          <p:nvPr/>
        </p:nvSpPr>
        <p:spPr>
          <a:xfrm>
            <a:off x="-1758462" y="1535963"/>
            <a:ext cx="1537398" cy="592853"/>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t>#347170</a:t>
            </a:r>
          </a:p>
        </p:txBody>
      </p:sp>
      <p:sp>
        <p:nvSpPr>
          <p:cNvPr id="8" name="Rectangle 7">
            <a:extLst>
              <a:ext uri="{FF2B5EF4-FFF2-40B4-BE49-F238E27FC236}">
                <a16:creationId xmlns:a16="http://schemas.microsoft.com/office/drawing/2014/main" id="{E8AA32E5-FE8C-03F9-E799-BCDEA73ECAE9}"/>
              </a:ext>
            </a:extLst>
          </p:cNvPr>
          <p:cNvSpPr/>
          <p:nvPr/>
        </p:nvSpPr>
        <p:spPr>
          <a:xfrm>
            <a:off x="-1758462" y="2600371"/>
            <a:ext cx="1537398" cy="592853"/>
          </a:xfrm>
          <a:prstGeom prst="rect">
            <a:avLst/>
          </a:prstGeom>
          <a:solidFill>
            <a:srgbClr val="5AE0B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t>#5AE0BB</a:t>
            </a:r>
          </a:p>
        </p:txBody>
      </p:sp>
      <p:sp>
        <p:nvSpPr>
          <p:cNvPr id="9" name="Rectangle 8">
            <a:extLst>
              <a:ext uri="{FF2B5EF4-FFF2-40B4-BE49-F238E27FC236}">
                <a16:creationId xmlns:a16="http://schemas.microsoft.com/office/drawing/2014/main" id="{16A7C13D-0231-0B04-11BE-27158C5047A1}"/>
              </a:ext>
            </a:extLst>
          </p:cNvPr>
          <p:cNvSpPr/>
          <p:nvPr/>
        </p:nvSpPr>
        <p:spPr>
          <a:xfrm>
            <a:off x="-1758462" y="3664779"/>
            <a:ext cx="1537398" cy="592853"/>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t>#92D050</a:t>
            </a:r>
          </a:p>
        </p:txBody>
      </p:sp>
      <p:sp>
        <p:nvSpPr>
          <p:cNvPr id="10" name="Rectangle 9">
            <a:extLst>
              <a:ext uri="{FF2B5EF4-FFF2-40B4-BE49-F238E27FC236}">
                <a16:creationId xmlns:a16="http://schemas.microsoft.com/office/drawing/2014/main" id="{D96E1609-10E2-DC0C-33BE-78FCB732E95B}"/>
              </a:ext>
            </a:extLst>
          </p:cNvPr>
          <p:cNvSpPr/>
          <p:nvPr/>
        </p:nvSpPr>
        <p:spPr>
          <a:xfrm>
            <a:off x="-1756046" y="4729187"/>
            <a:ext cx="1537398" cy="592853"/>
          </a:xfrm>
          <a:prstGeom prst="rect">
            <a:avLst/>
          </a:prstGeom>
          <a:solidFill>
            <a:srgbClr val="ADB9C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t>#ADB9CA</a:t>
            </a:r>
          </a:p>
        </p:txBody>
      </p:sp>
      <p:sp>
        <p:nvSpPr>
          <p:cNvPr id="11" name="Rectangle 10">
            <a:extLst>
              <a:ext uri="{FF2B5EF4-FFF2-40B4-BE49-F238E27FC236}">
                <a16:creationId xmlns:a16="http://schemas.microsoft.com/office/drawing/2014/main" id="{BFB61619-8616-A2FA-382B-F83836187A28}"/>
              </a:ext>
            </a:extLst>
          </p:cNvPr>
          <p:cNvSpPr/>
          <p:nvPr/>
        </p:nvSpPr>
        <p:spPr>
          <a:xfrm>
            <a:off x="-1758462" y="5793595"/>
            <a:ext cx="1537398" cy="592853"/>
          </a:xfrm>
          <a:prstGeom prst="rect">
            <a:avLst/>
          </a:prstGeom>
          <a:solidFill>
            <a:srgbClr val="F9D8A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t>#F9D8A3</a:t>
            </a:r>
          </a:p>
        </p:txBody>
      </p:sp>
      <p:sp>
        <p:nvSpPr>
          <p:cNvPr id="12" name="Marcador de texto 5">
            <a:extLst>
              <a:ext uri="{FF2B5EF4-FFF2-40B4-BE49-F238E27FC236}">
                <a16:creationId xmlns:a16="http://schemas.microsoft.com/office/drawing/2014/main" id="{EDDD26D3-FE3B-3ECB-974F-6C3A5EBA8DD3}"/>
              </a:ext>
            </a:extLst>
          </p:cNvPr>
          <p:cNvSpPr txBox="1">
            <a:spLocks/>
          </p:cNvSpPr>
          <p:nvPr/>
        </p:nvSpPr>
        <p:spPr>
          <a:xfrm>
            <a:off x="7821227" y="6274916"/>
            <a:ext cx="4370772" cy="563630"/>
          </a:xfrm>
          <a:prstGeom prst="rect">
            <a:avLst/>
          </a:prstGeom>
        </p:spPr>
        <p:txBody>
          <a:bodyPr vert="horz" lIns="91440" tIns="45720" rIns="91440" bIns="45720" rtlCol="0">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buFont typeface="Arial" panose="020B0604020202020204" pitchFamily="34" charset="0"/>
              <a:buNone/>
            </a:pPr>
            <a:r>
              <a:rPr lang="en-US" sz="1600" dirty="0">
                <a:solidFill>
                  <a:schemeClr val="bg1"/>
                </a:solidFill>
              </a:rPr>
              <a:t>Callum Stevenson, Jake </a:t>
            </a:r>
            <a:r>
              <a:rPr lang="en-US" sz="1600" dirty="0" err="1">
                <a:solidFill>
                  <a:schemeClr val="bg1"/>
                </a:solidFill>
              </a:rPr>
              <a:t>Vanderweyst</a:t>
            </a:r>
            <a:r>
              <a:rPr lang="en-US" sz="1600">
                <a:solidFill>
                  <a:schemeClr val="bg1"/>
                </a:solidFill>
              </a:rPr>
              <a:t>, Joel Palmer, Nathan Farquharson, Tim Sankey</a:t>
            </a:r>
          </a:p>
        </p:txBody>
      </p:sp>
      <p:pic>
        <p:nvPicPr>
          <p:cNvPr id="1028" name="Picture 4" descr="An artistic representation of financial models and stock markets with a theme of emerald green and cyan, but with a cleaner and less noisy design. The image should include elements like simplified stock charts, graphs, and numbers blending into a sleek and dynamic background of a city skyline at dusk. The colors should predominantly feature vibrant emerald green and cyan. The scene should convey a sense of complexity and movement, symbolizing the fluctuating nature of financial markets, but with a focus on clarity and minimalism.">
            <a:extLst>
              <a:ext uri="{FF2B5EF4-FFF2-40B4-BE49-F238E27FC236}">
                <a16:creationId xmlns:a16="http://schemas.microsoft.com/office/drawing/2014/main" id="{21E4F7A5-D498-07ED-0148-33B5FFD1C36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93" r="122" b="18911"/>
          <a:stretch/>
        </p:blipFill>
        <p:spPr bwMode="auto">
          <a:xfrm>
            <a:off x="-1" y="0"/>
            <a:ext cx="4839129"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051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o 16" hidden="1">
            <a:extLst>
              <a:ext uri="{FF2B5EF4-FFF2-40B4-BE49-F238E27FC236}">
                <a16:creationId xmlns:a16="http://schemas.microsoft.com/office/drawing/2014/main" id="{9E33CC14-0471-A3BB-4892-9CA9C8B7DB7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to 16" hidden="1">
                        <a:extLst>
                          <a:ext uri="{FF2B5EF4-FFF2-40B4-BE49-F238E27FC236}">
                            <a16:creationId xmlns:a16="http://schemas.microsoft.com/office/drawing/2014/main" id="{9E33CC14-0471-A3BB-4892-9CA9C8B7DB7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FE673426-4C15-5B5B-31EF-3FB32D25E848}"/>
              </a:ext>
            </a:extLst>
          </p:cNvPr>
          <p:cNvSpPr>
            <a:spLocks noGrp="1"/>
          </p:cNvSpPr>
          <p:nvPr>
            <p:ph type="title"/>
          </p:nvPr>
        </p:nvSpPr>
        <p:spPr/>
        <p:txBody>
          <a:bodyPr vert="horz"/>
          <a:lstStyle/>
          <a:p>
            <a:r>
              <a:rPr lang="en-US"/>
              <a:t>Average Monthly Return for Target Companies</a:t>
            </a:r>
          </a:p>
        </p:txBody>
      </p:sp>
      <p:sp>
        <p:nvSpPr>
          <p:cNvPr id="5" name="TextBox 24">
            <a:extLst>
              <a:ext uri="{FF2B5EF4-FFF2-40B4-BE49-F238E27FC236}">
                <a16:creationId xmlns:a16="http://schemas.microsoft.com/office/drawing/2014/main" id="{A24D89C7-67E4-D430-14D4-7867C4B56506}"/>
              </a:ext>
            </a:extLst>
          </p:cNvPr>
          <p:cNvSpPr txBox="1"/>
          <p:nvPr/>
        </p:nvSpPr>
        <p:spPr>
          <a:xfrm>
            <a:off x="559823" y="870395"/>
            <a:ext cx="2679489" cy="307777"/>
          </a:xfrm>
          <a:prstGeom prst="rect">
            <a:avLst/>
          </a:prstGeom>
          <a:noFill/>
        </p:spPr>
        <p:txBody>
          <a:bodyPr wrap="square" lIns="0" tIns="0" rIns="0" bIns="0" rtlCol="0" anchor="b">
            <a:noAutofit/>
          </a:bodyPr>
          <a:lstStyle/>
          <a:p>
            <a:r>
              <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hipotle</a:t>
            </a:r>
          </a:p>
        </p:txBody>
      </p:sp>
      <p:cxnSp>
        <p:nvCxnSpPr>
          <p:cNvPr id="6" name="Conector recto 9">
            <a:extLst>
              <a:ext uri="{FF2B5EF4-FFF2-40B4-BE49-F238E27FC236}">
                <a16:creationId xmlns:a16="http://schemas.microsoft.com/office/drawing/2014/main" id="{AD7C2A0B-6099-0BC4-7ABA-3D178D9AAEB8}"/>
              </a:ext>
            </a:extLst>
          </p:cNvPr>
          <p:cNvCxnSpPr>
            <a:cxnSpLocks/>
          </p:cNvCxnSpPr>
          <p:nvPr/>
        </p:nvCxnSpPr>
        <p:spPr>
          <a:xfrm>
            <a:off x="559823" y="1222921"/>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Box 24">
            <a:extLst>
              <a:ext uri="{FF2B5EF4-FFF2-40B4-BE49-F238E27FC236}">
                <a16:creationId xmlns:a16="http://schemas.microsoft.com/office/drawing/2014/main" id="{EF0DD59D-2D91-8D1E-A09B-202FE292020B}"/>
              </a:ext>
            </a:extLst>
          </p:cNvPr>
          <p:cNvSpPr txBox="1"/>
          <p:nvPr/>
        </p:nvSpPr>
        <p:spPr>
          <a:xfrm>
            <a:off x="559823" y="1274130"/>
            <a:ext cx="3258778" cy="307777"/>
          </a:xfrm>
          <a:prstGeom prst="rect">
            <a:avLst/>
          </a:prstGeom>
          <a:noFill/>
        </p:spPr>
        <p:txBody>
          <a:bodyPr wrap="square" lIns="0" tIns="0" rIns="0" bIns="0" rtlCol="0" anchor="t">
            <a:noAutofit/>
          </a:bodyPr>
          <a:lstStyle/>
          <a:p>
            <a:r>
              <a:rPr lang="en-US" sz="1400" b="1"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vg Return = 2.97% </a:t>
            </a:r>
          </a:p>
        </p:txBody>
      </p:sp>
      <p:sp>
        <p:nvSpPr>
          <p:cNvPr id="36" name="TextBox 24">
            <a:extLst>
              <a:ext uri="{FF2B5EF4-FFF2-40B4-BE49-F238E27FC236}">
                <a16:creationId xmlns:a16="http://schemas.microsoft.com/office/drawing/2014/main" id="{A4E27EB7-5114-C881-B6E6-DA7571037F01}"/>
              </a:ext>
            </a:extLst>
          </p:cNvPr>
          <p:cNvSpPr txBox="1"/>
          <p:nvPr/>
        </p:nvSpPr>
        <p:spPr>
          <a:xfrm>
            <a:off x="4365176" y="870395"/>
            <a:ext cx="2679489" cy="307777"/>
          </a:xfrm>
          <a:prstGeom prst="rect">
            <a:avLst/>
          </a:prstGeom>
          <a:noFill/>
        </p:spPr>
        <p:txBody>
          <a:bodyPr wrap="square" lIns="0" tIns="0" rIns="0" bIns="0" rtlCol="0" anchor="b">
            <a:noAutofit/>
          </a:bodyPr>
          <a:lstStyle/>
          <a:p>
            <a:r>
              <a:rPr lang="en-US" b="1" err="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raftHeinz</a:t>
            </a:r>
            <a:endPar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37" name="Conector recto 9">
            <a:extLst>
              <a:ext uri="{FF2B5EF4-FFF2-40B4-BE49-F238E27FC236}">
                <a16:creationId xmlns:a16="http://schemas.microsoft.com/office/drawing/2014/main" id="{BC5CCF75-15E0-781B-A0B3-78BD1BB5DD7F}"/>
              </a:ext>
            </a:extLst>
          </p:cNvPr>
          <p:cNvCxnSpPr>
            <a:cxnSpLocks/>
          </p:cNvCxnSpPr>
          <p:nvPr/>
        </p:nvCxnSpPr>
        <p:spPr>
          <a:xfrm>
            <a:off x="4365176" y="1222921"/>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B826233F-0A0D-1697-2DB4-8B76D082B571}"/>
              </a:ext>
            </a:extLst>
          </p:cNvPr>
          <p:cNvSpPr txBox="1"/>
          <p:nvPr/>
        </p:nvSpPr>
        <p:spPr>
          <a:xfrm>
            <a:off x="4365176" y="1274130"/>
            <a:ext cx="3268611" cy="307777"/>
          </a:xfrm>
          <a:prstGeom prst="rect">
            <a:avLst/>
          </a:prstGeom>
          <a:noFill/>
        </p:spPr>
        <p:txBody>
          <a:bodyPr wrap="square" lIns="0" tIns="0" rIns="0" bIns="0" rtlCol="0" anchor="t">
            <a:no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vg Return = 0.79%</a:t>
            </a:r>
          </a:p>
        </p:txBody>
      </p:sp>
      <p:sp>
        <p:nvSpPr>
          <p:cNvPr id="39" name="TextBox 24">
            <a:extLst>
              <a:ext uri="{FF2B5EF4-FFF2-40B4-BE49-F238E27FC236}">
                <a16:creationId xmlns:a16="http://schemas.microsoft.com/office/drawing/2014/main" id="{C5FFE3DF-1F81-7604-BE01-BBF612792FC6}"/>
              </a:ext>
            </a:extLst>
          </p:cNvPr>
          <p:cNvSpPr txBox="1"/>
          <p:nvPr/>
        </p:nvSpPr>
        <p:spPr>
          <a:xfrm>
            <a:off x="8305558" y="870395"/>
            <a:ext cx="2679489" cy="307777"/>
          </a:xfrm>
          <a:prstGeom prst="rect">
            <a:avLst/>
          </a:prstGeom>
          <a:noFill/>
        </p:spPr>
        <p:txBody>
          <a:bodyPr wrap="square" lIns="0" tIns="0" rIns="0" bIns="0" rtlCol="0" anchor="b">
            <a:noAutofit/>
          </a:bodyPr>
          <a:lstStyle/>
          <a:p>
            <a:r>
              <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ber</a:t>
            </a:r>
          </a:p>
        </p:txBody>
      </p:sp>
      <p:cxnSp>
        <p:nvCxnSpPr>
          <p:cNvPr id="40" name="Conector recto 9">
            <a:extLst>
              <a:ext uri="{FF2B5EF4-FFF2-40B4-BE49-F238E27FC236}">
                <a16:creationId xmlns:a16="http://schemas.microsoft.com/office/drawing/2014/main" id="{4B4FA4C7-98B2-9790-C593-8F886E5B9CEB}"/>
              </a:ext>
            </a:extLst>
          </p:cNvPr>
          <p:cNvCxnSpPr>
            <a:cxnSpLocks/>
          </p:cNvCxnSpPr>
          <p:nvPr/>
        </p:nvCxnSpPr>
        <p:spPr>
          <a:xfrm>
            <a:off x="8305558" y="1222921"/>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Box 24">
            <a:extLst>
              <a:ext uri="{FF2B5EF4-FFF2-40B4-BE49-F238E27FC236}">
                <a16:creationId xmlns:a16="http://schemas.microsoft.com/office/drawing/2014/main" id="{E7968065-9374-C64B-B3DB-458E18B8E0DF}"/>
              </a:ext>
            </a:extLst>
          </p:cNvPr>
          <p:cNvSpPr txBox="1"/>
          <p:nvPr/>
        </p:nvSpPr>
        <p:spPr>
          <a:xfrm>
            <a:off x="8305558" y="1274130"/>
            <a:ext cx="3268610" cy="307777"/>
          </a:xfrm>
          <a:prstGeom prst="rect">
            <a:avLst/>
          </a:prstGeom>
          <a:noFill/>
        </p:spPr>
        <p:txBody>
          <a:bodyPr wrap="square" lIns="0" tIns="0" rIns="0" bIns="0" rtlCol="0" anchor="t">
            <a:no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vg Return = 2.34%</a:t>
            </a:r>
          </a:p>
        </p:txBody>
      </p:sp>
      <p:pic>
        <p:nvPicPr>
          <p:cNvPr id="42" name="Picture 41">
            <a:extLst>
              <a:ext uri="{FF2B5EF4-FFF2-40B4-BE49-F238E27FC236}">
                <a16:creationId xmlns:a16="http://schemas.microsoft.com/office/drawing/2014/main" id="{9C85D4B5-5A74-07AD-D7C1-5BE64E2BFD46}"/>
              </a:ext>
            </a:extLst>
          </p:cNvPr>
          <p:cNvPicPr>
            <a:picLocks noChangeAspect="1"/>
          </p:cNvPicPr>
          <p:nvPr/>
        </p:nvPicPr>
        <p:blipFill>
          <a:blip r:embed="rId5"/>
          <a:stretch>
            <a:fillRect/>
          </a:stretch>
        </p:blipFill>
        <p:spPr>
          <a:xfrm>
            <a:off x="559823" y="1530880"/>
            <a:ext cx="3518236" cy="1875469"/>
          </a:xfrm>
          <a:prstGeom prst="rect">
            <a:avLst/>
          </a:prstGeom>
        </p:spPr>
      </p:pic>
      <p:pic>
        <p:nvPicPr>
          <p:cNvPr id="46" name="Picture 45">
            <a:extLst>
              <a:ext uri="{FF2B5EF4-FFF2-40B4-BE49-F238E27FC236}">
                <a16:creationId xmlns:a16="http://schemas.microsoft.com/office/drawing/2014/main" id="{BCD88FE4-0801-DED7-926B-505EEAC3F8C3}"/>
              </a:ext>
            </a:extLst>
          </p:cNvPr>
          <p:cNvPicPr>
            <a:picLocks noChangeAspect="1"/>
          </p:cNvPicPr>
          <p:nvPr/>
        </p:nvPicPr>
        <p:blipFill>
          <a:blip r:embed="rId6"/>
          <a:stretch>
            <a:fillRect/>
          </a:stretch>
        </p:blipFill>
        <p:spPr>
          <a:xfrm>
            <a:off x="4365176" y="1524264"/>
            <a:ext cx="3468987" cy="1888701"/>
          </a:xfrm>
          <a:prstGeom prst="rect">
            <a:avLst/>
          </a:prstGeom>
        </p:spPr>
      </p:pic>
      <p:pic>
        <p:nvPicPr>
          <p:cNvPr id="48" name="Picture 47">
            <a:extLst>
              <a:ext uri="{FF2B5EF4-FFF2-40B4-BE49-F238E27FC236}">
                <a16:creationId xmlns:a16="http://schemas.microsoft.com/office/drawing/2014/main" id="{1BA43D6D-0261-DA8D-D943-CCC097F0D116}"/>
              </a:ext>
            </a:extLst>
          </p:cNvPr>
          <p:cNvPicPr>
            <a:picLocks noChangeAspect="1"/>
          </p:cNvPicPr>
          <p:nvPr/>
        </p:nvPicPr>
        <p:blipFill>
          <a:blip r:embed="rId7"/>
          <a:stretch>
            <a:fillRect/>
          </a:stretch>
        </p:blipFill>
        <p:spPr>
          <a:xfrm>
            <a:off x="8305558" y="1536631"/>
            <a:ext cx="3409169" cy="1863967"/>
          </a:xfrm>
          <a:prstGeom prst="rect">
            <a:avLst/>
          </a:prstGeom>
        </p:spPr>
      </p:pic>
      <p:sp>
        <p:nvSpPr>
          <p:cNvPr id="53" name="TextBox 24">
            <a:extLst>
              <a:ext uri="{FF2B5EF4-FFF2-40B4-BE49-F238E27FC236}">
                <a16:creationId xmlns:a16="http://schemas.microsoft.com/office/drawing/2014/main" id="{BF51A801-43F6-0B17-C062-55AFE8F0B208}"/>
              </a:ext>
            </a:extLst>
          </p:cNvPr>
          <p:cNvSpPr txBox="1"/>
          <p:nvPr/>
        </p:nvSpPr>
        <p:spPr>
          <a:xfrm>
            <a:off x="556283" y="3687437"/>
            <a:ext cx="2679489" cy="307777"/>
          </a:xfrm>
          <a:prstGeom prst="rect">
            <a:avLst/>
          </a:prstGeom>
          <a:noFill/>
        </p:spPr>
        <p:txBody>
          <a:bodyPr wrap="square" lIns="0" tIns="0" rIns="0" bIns="0" rtlCol="0" anchor="b">
            <a:noAutofit/>
          </a:bodyPr>
          <a:lstStyle/>
          <a:p>
            <a:r>
              <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stee Lauder</a:t>
            </a:r>
          </a:p>
        </p:txBody>
      </p:sp>
      <p:cxnSp>
        <p:nvCxnSpPr>
          <p:cNvPr id="54" name="Conector recto 9">
            <a:extLst>
              <a:ext uri="{FF2B5EF4-FFF2-40B4-BE49-F238E27FC236}">
                <a16:creationId xmlns:a16="http://schemas.microsoft.com/office/drawing/2014/main" id="{64427384-0D48-76EF-32E2-195E37947BAA}"/>
              </a:ext>
            </a:extLst>
          </p:cNvPr>
          <p:cNvCxnSpPr>
            <a:cxnSpLocks/>
          </p:cNvCxnSpPr>
          <p:nvPr/>
        </p:nvCxnSpPr>
        <p:spPr>
          <a:xfrm>
            <a:off x="556283" y="4039963"/>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TextBox 24">
            <a:extLst>
              <a:ext uri="{FF2B5EF4-FFF2-40B4-BE49-F238E27FC236}">
                <a16:creationId xmlns:a16="http://schemas.microsoft.com/office/drawing/2014/main" id="{20D1C06E-3928-8EEF-26C2-882E19C98EB2}"/>
              </a:ext>
            </a:extLst>
          </p:cNvPr>
          <p:cNvSpPr txBox="1"/>
          <p:nvPr/>
        </p:nvSpPr>
        <p:spPr>
          <a:xfrm>
            <a:off x="556283" y="4091172"/>
            <a:ext cx="3258778" cy="307777"/>
          </a:xfrm>
          <a:prstGeom prst="rect">
            <a:avLst/>
          </a:prstGeom>
          <a:noFill/>
        </p:spPr>
        <p:txBody>
          <a:bodyPr wrap="square" lIns="0" tIns="0" rIns="0" bIns="0" rtlCol="0" anchor="t">
            <a:no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vg Return = -0.50% </a:t>
            </a:r>
          </a:p>
        </p:txBody>
      </p:sp>
      <p:sp>
        <p:nvSpPr>
          <p:cNvPr id="56" name="TextBox 24">
            <a:extLst>
              <a:ext uri="{FF2B5EF4-FFF2-40B4-BE49-F238E27FC236}">
                <a16:creationId xmlns:a16="http://schemas.microsoft.com/office/drawing/2014/main" id="{AAEB690F-B8B8-4DCF-6226-FD53CEA11585}"/>
              </a:ext>
            </a:extLst>
          </p:cNvPr>
          <p:cNvSpPr txBox="1"/>
          <p:nvPr/>
        </p:nvSpPr>
        <p:spPr>
          <a:xfrm>
            <a:off x="4359207" y="3683898"/>
            <a:ext cx="2679489" cy="307777"/>
          </a:xfrm>
          <a:prstGeom prst="rect">
            <a:avLst/>
          </a:prstGeom>
          <a:noFill/>
        </p:spPr>
        <p:txBody>
          <a:bodyPr wrap="square" lIns="0" tIns="0" rIns="0" bIns="0" rtlCol="0" anchor="b">
            <a:noAutofit/>
          </a:bodyPr>
          <a:lstStyle/>
          <a:p>
            <a:r>
              <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edia</a:t>
            </a:r>
          </a:p>
        </p:txBody>
      </p:sp>
      <p:cxnSp>
        <p:nvCxnSpPr>
          <p:cNvPr id="57" name="Conector recto 9">
            <a:extLst>
              <a:ext uri="{FF2B5EF4-FFF2-40B4-BE49-F238E27FC236}">
                <a16:creationId xmlns:a16="http://schemas.microsoft.com/office/drawing/2014/main" id="{2C9B1D8E-B470-7EEF-FFEE-671E50BD1166}"/>
              </a:ext>
            </a:extLst>
          </p:cNvPr>
          <p:cNvCxnSpPr>
            <a:cxnSpLocks/>
          </p:cNvCxnSpPr>
          <p:nvPr/>
        </p:nvCxnSpPr>
        <p:spPr>
          <a:xfrm>
            <a:off x="4359207" y="4036424"/>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8" name="TextBox 24">
            <a:extLst>
              <a:ext uri="{FF2B5EF4-FFF2-40B4-BE49-F238E27FC236}">
                <a16:creationId xmlns:a16="http://schemas.microsoft.com/office/drawing/2014/main" id="{8D33FD96-020D-6856-00A3-CE5B98D25D73}"/>
              </a:ext>
            </a:extLst>
          </p:cNvPr>
          <p:cNvSpPr txBox="1"/>
          <p:nvPr/>
        </p:nvSpPr>
        <p:spPr>
          <a:xfrm>
            <a:off x="4359207" y="4087633"/>
            <a:ext cx="3258778" cy="307777"/>
          </a:xfrm>
          <a:prstGeom prst="rect">
            <a:avLst/>
          </a:prstGeom>
          <a:noFill/>
        </p:spPr>
        <p:txBody>
          <a:bodyPr wrap="square" lIns="0" tIns="0" rIns="0" bIns="0" rtlCol="0" anchor="t">
            <a:no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vg Return = 1.33% </a:t>
            </a:r>
          </a:p>
        </p:txBody>
      </p:sp>
      <p:sp>
        <p:nvSpPr>
          <p:cNvPr id="59" name="TextBox 24">
            <a:extLst>
              <a:ext uri="{FF2B5EF4-FFF2-40B4-BE49-F238E27FC236}">
                <a16:creationId xmlns:a16="http://schemas.microsoft.com/office/drawing/2014/main" id="{2E1ED12F-0948-9C8E-F425-5356C1937A9D}"/>
              </a:ext>
            </a:extLst>
          </p:cNvPr>
          <p:cNvSpPr txBox="1"/>
          <p:nvPr/>
        </p:nvSpPr>
        <p:spPr>
          <a:xfrm>
            <a:off x="8300337" y="3683897"/>
            <a:ext cx="2679489" cy="307777"/>
          </a:xfrm>
          <a:prstGeom prst="rect">
            <a:avLst/>
          </a:prstGeom>
          <a:noFill/>
        </p:spPr>
        <p:txBody>
          <a:bodyPr wrap="square" lIns="0" tIns="0" rIns="0" bIns="0" rtlCol="0" anchor="b">
            <a:noAutofit/>
          </a:bodyPr>
          <a:lstStyle/>
          <a:p>
            <a:r>
              <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alesforce</a:t>
            </a:r>
          </a:p>
        </p:txBody>
      </p:sp>
      <p:cxnSp>
        <p:nvCxnSpPr>
          <p:cNvPr id="60" name="Conector recto 9">
            <a:extLst>
              <a:ext uri="{FF2B5EF4-FFF2-40B4-BE49-F238E27FC236}">
                <a16:creationId xmlns:a16="http://schemas.microsoft.com/office/drawing/2014/main" id="{3345966C-2584-EBFF-8F6F-6CC56B4EAAF8}"/>
              </a:ext>
            </a:extLst>
          </p:cNvPr>
          <p:cNvCxnSpPr>
            <a:cxnSpLocks/>
          </p:cNvCxnSpPr>
          <p:nvPr/>
        </p:nvCxnSpPr>
        <p:spPr>
          <a:xfrm>
            <a:off x="8300337" y="4036423"/>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1" name="TextBox 24">
            <a:extLst>
              <a:ext uri="{FF2B5EF4-FFF2-40B4-BE49-F238E27FC236}">
                <a16:creationId xmlns:a16="http://schemas.microsoft.com/office/drawing/2014/main" id="{EBA54F3A-8639-BA10-BC9A-82B5D60410C9}"/>
              </a:ext>
            </a:extLst>
          </p:cNvPr>
          <p:cNvSpPr txBox="1"/>
          <p:nvPr/>
        </p:nvSpPr>
        <p:spPr>
          <a:xfrm>
            <a:off x="8300337" y="4087632"/>
            <a:ext cx="3258778" cy="307777"/>
          </a:xfrm>
          <a:prstGeom prst="rect">
            <a:avLst/>
          </a:prstGeom>
          <a:noFill/>
        </p:spPr>
        <p:txBody>
          <a:bodyPr wrap="square" lIns="0" tIns="0" rIns="0" bIns="0" rtlCol="0" anchor="t">
            <a:no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vg Return = 1.06% </a:t>
            </a:r>
          </a:p>
        </p:txBody>
      </p:sp>
      <p:pic>
        <p:nvPicPr>
          <p:cNvPr id="63" name="Picture 62">
            <a:extLst>
              <a:ext uri="{FF2B5EF4-FFF2-40B4-BE49-F238E27FC236}">
                <a16:creationId xmlns:a16="http://schemas.microsoft.com/office/drawing/2014/main" id="{0A759516-2CE4-40D9-9CB3-61E1E1FF8719}"/>
              </a:ext>
            </a:extLst>
          </p:cNvPr>
          <p:cNvPicPr>
            <a:picLocks noChangeAspect="1"/>
          </p:cNvPicPr>
          <p:nvPr/>
        </p:nvPicPr>
        <p:blipFill>
          <a:blip r:embed="rId8"/>
          <a:stretch>
            <a:fillRect/>
          </a:stretch>
        </p:blipFill>
        <p:spPr>
          <a:xfrm>
            <a:off x="553255" y="4367225"/>
            <a:ext cx="3464776" cy="1863962"/>
          </a:xfrm>
          <a:prstGeom prst="rect">
            <a:avLst/>
          </a:prstGeom>
        </p:spPr>
      </p:pic>
      <p:pic>
        <p:nvPicPr>
          <p:cNvPr id="66" name="Picture 65">
            <a:extLst>
              <a:ext uri="{FF2B5EF4-FFF2-40B4-BE49-F238E27FC236}">
                <a16:creationId xmlns:a16="http://schemas.microsoft.com/office/drawing/2014/main" id="{B38CB46A-6D45-75DF-4C79-4AEB02D2DFB0}"/>
              </a:ext>
            </a:extLst>
          </p:cNvPr>
          <p:cNvPicPr>
            <a:picLocks noChangeAspect="1"/>
          </p:cNvPicPr>
          <p:nvPr/>
        </p:nvPicPr>
        <p:blipFill>
          <a:blip r:embed="rId9"/>
          <a:stretch>
            <a:fillRect/>
          </a:stretch>
        </p:blipFill>
        <p:spPr>
          <a:xfrm>
            <a:off x="4359200" y="4410697"/>
            <a:ext cx="3402577" cy="1839735"/>
          </a:xfrm>
          <a:prstGeom prst="rect">
            <a:avLst/>
          </a:prstGeom>
        </p:spPr>
      </p:pic>
      <p:pic>
        <p:nvPicPr>
          <p:cNvPr id="68" name="Picture 67">
            <a:extLst>
              <a:ext uri="{FF2B5EF4-FFF2-40B4-BE49-F238E27FC236}">
                <a16:creationId xmlns:a16="http://schemas.microsoft.com/office/drawing/2014/main" id="{B30BD865-2632-188C-0378-E5F58985D874}"/>
              </a:ext>
            </a:extLst>
          </p:cNvPr>
          <p:cNvPicPr>
            <a:picLocks noChangeAspect="1"/>
          </p:cNvPicPr>
          <p:nvPr/>
        </p:nvPicPr>
        <p:blipFill>
          <a:blip r:embed="rId10"/>
          <a:stretch>
            <a:fillRect/>
          </a:stretch>
        </p:blipFill>
        <p:spPr>
          <a:xfrm>
            <a:off x="8300337" y="4403630"/>
            <a:ext cx="3331684" cy="1794793"/>
          </a:xfrm>
          <a:prstGeom prst="rect">
            <a:avLst/>
          </a:prstGeom>
        </p:spPr>
      </p:pic>
    </p:spTree>
    <p:extLst>
      <p:ext uri="{BB962C8B-B14F-4D97-AF65-F5344CB8AC3E}">
        <p14:creationId xmlns:p14="http://schemas.microsoft.com/office/powerpoint/2010/main" val="25384698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o 16" hidden="1">
            <a:extLst>
              <a:ext uri="{FF2B5EF4-FFF2-40B4-BE49-F238E27FC236}">
                <a16:creationId xmlns:a16="http://schemas.microsoft.com/office/drawing/2014/main" id="{9E33CC14-0471-A3BB-4892-9CA9C8B7DB7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to 16" hidden="1">
                        <a:extLst>
                          <a:ext uri="{FF2B5EF4-FFF2-40B4-BE49-F238E27FC236}">
                            <a16:creationId xmlns:a16="http://schemas.microsoft.com/office/drawing/2014/main" id="{9E33CC14-0471-A3BB-4892-9CA9C8B7DB7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FE673426-4C15-5B5B-31EF-3FB32D25E848}"/>
              </a:ext>
            </a:extLst>
          </p:cNvPr>
          <p:cNvSpPr>
            <a:spLocks noGrp="1"/>
          </p:cNvSpPr>
          <p:nvPr>
            <p:ph type="title"/>
          </p:nvPr>
        </p:nvSpPr>
        <p:spPr/>
        <p:txBody>
          <a:bodyPr vert="horz"/>
          <a:lstStyle/>
          <a:p>
            <a:r>
              <a:rPr lang="en-US"/>
              <a:t>Rolling Statistics for Target Companies</a:t>
            </a:r>
          </a:p>
        </p:txBody>
      </p:sp>
      <p:sp>
        <p:nvSpPr>
          <p:cNvPr id="5" name="TextBox 24">
            <a:extLst>
              <a:ext uri="{FF2B5EF4-FFF2-40B4-BE49-F238E27FC236}">
                <a16:creationId xmlns:a16="http://schemas.microsoft.com/office/drawing/2014/main" id="{A24D89C7-67E4-D430-14D4-7867C4B56506}"/>
              </a:ext>
            </a:extLst>
          </p:cNvPr>
          <p:cNvSpPr txBox="1"/>
          <p:nvPr/>
        </p:nvSpPr>
        <p:spPr>
          <a:xfrm>
            <a:off x="538712" y="870395"/>
            <a:ext cx="2679489" cy="307777"/>
          </a:xfrm>
          <a:prstGeom prst="rect">
            <a:avLst/>
          </a:prstGeom>
          <a:noFill/>
        </p:spPr>
        <p:txBody>
          <a:bodyPr wrap="square" lIns="0" tIns="0" rIns="0" bIns="0" rtlCol="0" anchor="b">
            <a:noAutofit/>
          </a:bodyPr>
          <a:lstStyle/>
          <a:p>
            <a:r>
              <a:rPr lang="en-US" b="1"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hipotle</a:t>
            </a:r>
          </a:p>
        </p:txBody>
      </p:sp>
      <p:cxnSp>
        <p:nvCxnSpPr>
          <p:cNvPr id="6" name="Conector recto 9">
            <a:extLst>
              <a:ext uri="{FF2B5EF4-FFF2-40B4-BE49-F238E27FC236}">
                <a16:creationId xmlns:a16="http://schemas.microsoft.com/office/drawing/2014/main" id="{AD7C2A0B-6099-0BC4-7ABA-3D178D9AAEB8}"/>
              </a:ext>
            </a:extLst>
          </p:cNvPr>
          <p:cNvCxnSpPr>
            <a:cxnSpLocks/>
          </p:cNvCxnSpPr>
          <p:nvPr/>
        </p:nvCxnSpPr>
        <p:spPr>
          <a:xfrm>
            <a:off x="538712" y="1222921"/>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Box 24">
            <a:extLst>
              <a:ext uri="{FF2B5EF4-FFF2-40B4-BE49-F238E27FC236}">
                <a16:creationId xmlns:a16="http://schemas.microsoft.com/office/drawing/2014/main" id="{EF0DD59D-2D91-8D1E-A09B-202FE292020B}"/>
              </a:ext>
            </a:extLst>
          </p:cNvPr>
          <p:cNvSpPr txBox="1"/>
          <p:nvPr/>
        </p:nvSpPr>
        <p:spPr>
          <a:xfrm>
            <a:off x="538712" y="3121223"/>
            <a:ext cx="3468987" cy="279272"/>
          </a:xfrm>
          <a:prstGeom prst="rect">
            <a:avLst/>
          </a:prstGeom>
          <a:noFill/>
        </p:spPr>
        <p:txBody>
          <a:bodyPr wrap="square" lIns="0" tIns="0" rIns="0" bIns="0" rtlCol="0" anchor="t">
            <a:noAutofit/>
          </a:bodyPr>
          <a:lstStyle/>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ery high volatility</a:t>
            </a:r>
          </a:p>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trong upward trend in 2024</a:t>
            </a:r>
          </a:p>
        </p:txBody>
      </p:sp>
      <p:sp>
        <p:nvSpPr>
          <p:cNvPr id="36" name="TextBox 24">
            <a:extLst>
              <a:ext uri="{FF2B5EF4-FFF2-40B4-BE49-F238E27FC236}">
                <a16:creationId xmlns:a16="http://schemas.microsoft.com/office/drawing/2014/main" id="{A4E27EB7-5114-C881-B6E6-DA7571037F01}"/>
              </a:ext>
            </a:extLst>
          </p:cNvPr>
          <p:cNvSpPr txBox="1"/>
          <p:nvPr/>
        </p:nvSpPr>
        <p:spPr>
          <a:xfrm>
            <a:off x="4331579" y="870395"/>
            <a:ext cx="2679489" cy="307777"/>
          </a:xfrm>
          <a:prstGeom prst="rect">
            <a:avLst/>
          </a:prstGeom>
          <a:noFill/>
        </p:spPr>
        <p:txBody>
          <a:bodyPr wrap="square" lIns="0" tIns="0" rIns="0" bIns="0" rtlCol="0" anchor="b">
            <a:noAutofit/>
          </a:bodyPr>
          <a:lstStyle/>
          <a:p>
            <a:r>
              <a:rPr lang="en-US" b="1" err="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raftHeinz</a:t>
            </a:r>
            <a:endPar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37" name="Conector recto 9">
            <a:extLst>
              <a:ext uri="{FF2B5EF4-FFF2-40B4-BE49-F238E27FC236}">
                <a16:creationId xmlns:a16="http://schemas.microsoft.com/office/drawing/2014/main" id="{BC5CCF75-15E0-781B-A0B3-78BD1BB5DD7F}"/>
              </a:ext>
            </a:extLst>
          </p:cNvPr>
          <p:cNvCxnSpPr>
            <a:cxnSpLocks/>
          </p:cNvCxnSpPr>
          <p:nvPr/>
        </p:nvCxnSpPr>
        <p:spPr>
          <a:xfrm>
            <a:off x="4331579" y="1222921"/>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B826233F-0A0D-1697-2DB4-8B76D082B571}"/>
              </a:ext>
            </a:extLst>
          </p:cNvPr>
          <p:cNvSpPr txBox="1"/>
          <p:nvPr/>
        </p:nvSpPr>
        <p:spPr>
          <a:xfrm>
            <a:off x="4331579" y="3121223"/>
            <a:ext cx="3268611" cy="307777"/>
          </a:xfrm>
          <a:prstGeom prst="rect">
            <a:avLst/>
          </a:prstGeom>
          <a:noFill/>
        </p:spPr>
        <p:txBody>
          <a:bodyPr wrap="square" lIns="0" tIns="0" rIns="0" bIns="0" rtlCol="0" anchor="t">
            <a:noAutofit/>
          </a:bodyPr>
          <a:lstStyle/>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ery seasonal returns</a:t>
            </a:r>
          </a:p>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ice oscillates along ~$34</a:t>
            </a:r>
          </a:p>
        </p:txBody>
      </p:sp>
      <p:sp>
        <p:nvSpPr>
          <p:cNvPr id="39" name="TextBox 24">
            <a:extLst>
              <a:ext uri="{FF2B5EF4-FFF2-40B4-BE49-F238E27FC236}">
                <a16:creationId xmlns:a16="http://schemas.microsoft.com/office/drawing/2014/main" id="{C5FFE3DF-1F81-7604-BE01-BBF612792FC6}"/>
              </a:ext>
            </a:extLst>
          </p:cNvPr>
          <p:cNvSpPr txBox="1"/>
          <p:nvPr/>
        </p:nvSpPr>
        <p:spPr>
          <a:xfrm>
            <a:off x="8215970" y="870395"/>
            <a:ext cx="2679489" cy="307777"/>
          </a:xfrm>
          <a:prstGeom prst="rect">
            <a:avLst/>
          </a:prstGeom>
          <a:noFill/>
        </p:spPr>
        <p:txBody>
          <a:bodyPr wrap="square" lIns="0" tIns="0" rIns="0" bIns="0" rtlCol="0" anchor="b">
            <a:noAutofit/>
          </a:bodyPr>
          <a:lstStyle/>
          <a:p>
            <a:r>
              <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ber</a:t>
            </a:r>
          </a:p>
        </p:txBody>
      </p:sp>
      <p:cxnSp>
        <p:nvCxnSpPr>
          <p:cNvPr id="40" name="Conector recto 9">
            <a:extLst>
              <a:ext uri="{FF2B5EF4-FFF2-40B4-BE49-F238E27FC236}">
                <a16:creationId xmlns:a16="http://schemas.microsoft.com/office/drawing/2014/main" id="{4B4FA4C7-98B2-9790-C593-8F886E5B9CEB}"/>
              </a:ext>
            </a:extLst>
          </p:cNvPr>
          <p:cNvCxnSpPr>
            <a:cxnSpLocks/>
          </p:cNvCxnSpPr>
          <p:nvPr/>
        </p:nvCxnSpPr>
        <p:spPr>
          <a:xfrm>
            <a:off x="8215970" y="1222921"/>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Box 24">
            <a:extLst>
              <a:ext uri="{FF2B5EF4-FFF2-40B4-BE49-F238E27FC236}">
                <a16:creationId xmlns:a16="http://schemas.microsoft.com/office/drawing/2014/main" id="{E7968065-9374-C64B-B3DB-458E18B8E0DF}"/>
              </a:ext>
            </a:extLst>
          </p:cNvPr>
          <p:cNvSpPr txBox="1"/>
          <p:nvPr/>
        </p:nvSpPr>
        <p:spPr>
          <a:xfrm>
            <a:off x="8215970" y="3121223"/>
            <a:ext cx="3268610" cy="307777"/>
          </a:xfrm>
          <a:prstGeom prst="rect">
            <a:avLst/>
          </a:prstGeom>
          <a:noFill/>
        </p:spPr>
        <p:txBody>
          <a:bodyPr wrap="square" lIns="0" tIns="0" rIns="0" bIns="0" rtlCol="0" anchor="t">
            <a:noAutofit/>
          </a:bodyPr>
          <a:lstStyle/>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 volatility through period</a:t>
            </a:r>
          </a:p>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rending upward since 2022</a:t>
            </a:r>
          </a:p>
        </p:txBody>
      </p:sp>
      <p:sp>
        <p:nvSpPr>
          <p:cNvPr id="53" name="TextBox 24">
            <a:extLst>
              <a:ext uri="{FF2B5EF4-FFF2-40B4-BE49-F238E27FC236}">
                <a16:creationId xmlns:a16="http://schemas.microsoft.com/office/drawing/2014/main" id="{BF51A801-43F6-0B17-C062-55AFE8F0B208}"/>
              </a:ext>
            </a:extLst>
          </p:cNvPr>
          <p:cNvSpPr txBox="1"/>
          <p:nvPr/>
        </p:nvSpPr>
        <p:spPr>
          <a:xfrm>
            <a:off x="555793" y="3687437"/>
            <a:ext cx="2679489" cy="307777"/>
          </a:xfrm>
          <a:prstGeom prst="rect">
            <a:avLst/>
          </a:prstGeom>
          <a:noFill/>
        </p:spPr>
        <p:txBody>
          <a:bodyPr wrap="square" lIns="0" tIns="0" rIns="0" bIns="0" rtlCol="0" anchor="b">
            <a:noAutofit/>
          </a:bodyPr>
          <a:lstStyle/>
          <a:p>
            <a:r>
              <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stee Lauder</a:t>
            </a:r>
          </a:p>
        </p:txBody>
      </p:sp>
      <p:cxnSp>
        <p:nvCxnSpPr>
          <p:cNvPr id="54" name="Conector recto 9">
            <a:extLst>
              <a:ext uri="{FF2B5EF4-FFF2-40B4-BE49-F238E27FC236}">
                <a16:creationId xmlns:a16="http://schemas.microsoft.com/office/drawing/2014/main" id="{64427384-0D48-76EF-32E2-195E37947BAA}"/>
              </a:ext>
            </a:extLst>
          </p:cNvPr>
          <p:cNvCxnSpPr>
            <a:cxnSpLocks/>
          </p:cNvCxnSpPr>
          <p:nvPr/>
        </p:nvCxnSpPr>
        <p:spPr>
          <a:xfrm>
            <a:off x="555793" y="4039963"/>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TextBox 24">
            <a:extLst>
              <a:ext uri="{FF2B5EF4-FFF2-40B4-BE49-F238E27FC236}">
                <a16:creationId xmlns:a16="http://schemas.microsoft.com/office/drawing/2014/main" id="{20D1C06E-3928-8EEF-26C2-882E19C98EB2}"/>
              </a:ext>
            </a:extLst>
          </p:cNvPr>
          <p:cNvSpPr txBox="1"/>
          <p:nvPr/>
        </p:nvSpPr>
        <p:spPr>
          <a:xfrm>
            <a:off x="555793" y="5997032"/>
            <a:ext cx="3258778" cy="307777"/>
          </a:xfrm>
          <a:prstGeom prst="rect">
            <a:avLst/>
          </a:prstGeom>
          <a:noFill/>
        </p:spPr>
        <p:txBody>
          <a:bodyPr wrap="square" lIns="0" tIns="0" rIns="0" bIns="0" rtlCol="0" anchor="t">
            <a:noAutofit/>
          </a:bodyPr>
          <a:lstStyle/>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ursts of volatility</a:t>
            </a:r>
          </a:p>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rending down since 2022</a:t>
            </a:r>
          </a:p>
        </p:txBody>
      </p:sp>
      <p:sp>
        <p:nvSpPr>
          <p:cNvPr id="56" name="TextBox 24">
            <a:extLst>
              <a:ext uri="{FF2B5EF4-FFF2-40B4-BE49-F238E27FC236}">
                <a16:creationId xmlns:a16="http://schemas.microsoft.com/office/drawing/2014/main" id="{AAEB690F-B8B8-4DCF-6226-FD53CEA11585}"/>
              </a:ext>
            </a:extLst>
          </p:cNvPr>
          <p:cNvSpPr txBox="1"/>
          <p:nvPr/>
        </p:nvSpPr>
        <p:spPr>
          <a:xfrm>
            <a:off x="4331579" y="3683898"/>
            <a:ext cx="2679489" cy="307777"/>
          </a:xfrm>
          <a:prstGeom prst="rect">
            <a:avLst/>
          </a:prstGeom>
          <a:noFill/>
        </p:spPr>
        <p:txBody>
          <a:bodyPr wrap="square" lIns="0" tIns="0" rIns="0" bIns="0" rtlCol="0" anchor="b">
            <a:noAutofit/>
          </a:bodyPr>
          <a:lstStyle/>
          <a:p>
            <a:r>
              <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edia</a:t>
            </a:r>
          </a:p>
        </p:txBody>
      </p:sp>
      <p:cxnSp>
        <p:nvCxnSpPr>
          <p:cNvPr id="57" name="Conector recto 9">
            <a:extLst>
              <a:ext uri="{FF2B5EF4-FFF2-40B4-BE49-F238E27FC236}">
                <a16:creationId xmlns:a16="http://schemas.microsoft.com/office/drawing/2014/main" id="{2C9B1D8E-B470-7EEF-FFEE-671E50BD1166}"/>
              </a:ext>
            </a:extLst>
          </p:cNvPr>
          <p:cNvCxnSpPr>
            <a:cxnSpLocks/>
          </p:cNvCxnSpPr>
          <p:nvPr/>
        </p:nvCxnSpPr>
        <p:spPr>
          <a:xfrm>
            <a:off x="4331579" y="4036424"/>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8" name="TextBox 24">
            <a:extLst>
              <a:ext uri="{FF2B5EF4-FFF2-40B4-BE49-F238E27FC236}">
                <a16:creationId xmlns:a16="http://schemas.microsoft.com/office/drawing/2014/main" id="{8D33FD96-020D-6856-00A3-CE5B98D25D73}"/>
              </a:ext>
            </a:extLst>
          </p:cNvPr>
          <p:cNvSpPr txBox="1"/>
          <p:nvPr/>
        </p:nvSpPr>
        <p:spPr>
          <a:xfrm>
            <a:off x="4331579" y="5997032"/>
            <a:ext cx="3258778" cy="307777"/>
          </a:xfrm>
          <a:prstGeom prst="rect">
            <a:avLst/>
          </a:prstGeom>
          <a:noFill/>
        </p:spPr>
        <p:txBody>
          <a:bodyPr wrap="square" lIns="0" tIns="0" rIns="0" bIns="0" rtlCol="0" anchor="t">
            <a:noAutofit/>
          </a:bodyPr>
          <a:lstStyle/>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ursts of volatility</a:t>
            </a:r>
          </a:p>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ramatic fall in 2022</a:t>
            </a:r>
          </a:p>
        </p:txBody>
      </p:sp>
      <p:sp>
        <p:nvSpPr>
          <p:cNvPr id="59" name="TextBox 24">
            <a:extLst>
              <a:ext uri="{FF2B5EF4-FFF2-40B4-BE49-F238E27FC236}">
                <a16:creationId xmlns:a16="http://schemas.microsoft.com/office/drawing/2014/main" id="{2E1ED12F-0948-9C8E-F425-5356C1937A9D}"/>
              </a:ext>
            </a:extLst>
          </p:cNvPr>
          <p:cNvSpPr txBox="1"/>
          <p:nvPr/>
        </p:nvSpPr>
        <p:spPr>
          <a:xfrm>
            <a:off x="8294958" y="3683897"/>
            <a:ext cx="2679489" cy="307777"/>
          </a:xfrm>
          <a:prstGeom prst="rect">
            <a:avLst/>
          </a:prstGeom>
          <a:noFill/>
        </p:spPr>
        <p:txBody>
          <a:bodyPr wrap="square" lIns="0" tIns="0" rIns="0" bIns="0" rtlCol="0" anchor="b">
            <a:noAutofit/>
          </a:bodyPr>
          <a:lstStyle/>
          <a:p>
            <a:r>
              <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alesforce</a:t>
            </a:r>
          </a:p>
        </p:txBody>
      </p:sp>
      <p:cxnSp>
        <p:nvCxnSpPr>
          <p:cNvPr id="60" name="Conector recto 9">
            <a:extLst>
              <a:ext uri="{FF2B5EF4-FFF2-40B4-BE49-F238E27FC236}">
                <a16:creationId xmlns:a16="http://schemas.microsoft.com/office/drawing/2014/main" id="{3345966C-2584-EBFF-8F6F-6CC56B4EAAF8}"/>
              </a:ext>
            </a:extLst>
          </p:cNvPr>
          <p:cNvCxnSpPr>
            <a:cxnSpLocks/>
          </p:cNvCxnSpPr>
          <p:nvPr/>
        </p:nvCxnSpPr>
        <p:spPr>
          <a:xfrm>
            <a:off x="8294958" y="4036423"/>
            <a:ext cx="32686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1" name="TextBox 24">
            <a:extLst>
              <a:ext uri="{FF2B5EF4-FFF2-40B4-BE49-F238E27FC236}">
                <a16:creationId xmlns:a16="http://schemas.microsoft.com/office/drawing/2014/main" id="{EBA54F3A-8639-BA10-BC9A-82B5D60410C9}"/>
              </a:ext>
            </a:extLst>
          </p:cNvPr>
          <p:cNvSpPr txBox="1"/>
          <p:nvPr/>
        </p:nvSpPr>
        <p:spPr>
          <a:xfrm>
            <a:off x="8294958" y="5997032"/>
            <a:ext cx="3258778" cy="307777"/>
          </a:xfrm>
          <a:prstGeom prst="rect">
            <a:avLst/>
          </a:prstGeom>
          <a:noFill/>
        </p:spPr>
        <p:txBody>
          <a:bodyPr wrap="square" lIns="0" tIns="0" rIns="0" bIns="0" rtlCol="0" anchor="t">
            <a:noAutofit/>
          </a:bodyPr>
          <a:lstStyle/>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ecovered from 2022</a:t>
            </a:r>
          </a:p>
          <a:p>
            <a:pPr marL="285750" indent="-285750">
              <a:buFont typeface="Arial" panose="020B0604020202020204" pitchFamily="34" charset="0"/>
              <a:buChar char="•"/>
            </a:pPr>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rending down in 2024</a:t>
            </a:r>
          </a:p>
        </p:txBody>
      </p:sp>
      <p:pic>
        <p:nvPicPr>
          <p:cNvPr id="2" name="Picture 1">
            <a:extLst>
              <a:ext uri="{FF2B5EF4-FFF2-40B4-BE49-F238E27FC236}">
                <a16:creationId xmlns:a16="http://schemas.microsoft.com/office/drawing/2014/main" id="{9CBAD16F-015F-88B3-0866-A4FC11F67054}"/>
              </a:ext>
            </a:extLst>
          </p:cNvPr>
          <p:cNvPicPr>
            <a:picLocks noChangeAspect="1"/>
          </p:cNvPicPr>
          <p:nvPr/>
        </p:nvPicPr>
        <p:blipFill>
          <a:blip r:embed="rId5"/>
          <a:stretch>
            <a:fillRect/>
          </a:stretch>
        </p:blipFill>
        <p:spPr>
          <a:xfrm>
            <a:off x="538712" y="1267671"/>
            <a:ext cx="3588678" cy="1802396"/>
          </a:xfrm>
          <a:prstGeom prst="rect">
            <a:avLst/>
          </a:prstGeom>
        </p:spPr>
      </p:pic>
      <p:pic>
        <p:nvPicPr>
          <p:cNvPr id="4" name="Picture 3">
            <a:extLst>
              <a:ext uri="{FF2B5EF4-FFF2-40B4-BE49-F238E27FC236}">
                <a16:creationId xmlns:a16="http://schemas.microsoft.com/office/drawing/2014/main" id="{CEFE0AE4-D4B1-4F19-1687-1D06D8665C7D}"/>
              </a:ext>
            </a:extLst>
          </p:cNvPr>
          <p:cNvPicPr>
            <a:picLocks noChangeAspect="1"/>
          </p:cNvPicPr>
          <p:nvPr/>
        </p:nvPicPr>
        <p:blipFill>
          <a:blip r:embed="rId6"/>
          <a:stretch>
            <a:fillRect/>
          </a:stretch>
        </p:blipFill>
        <p:spPr>
          <a:xfrm>
            <a:off x="4331579" y="1267671"/>
            <a:ext cx="3667667" cy="1802396"/>
          </a:xfrm>
          <a:prstGeom prst="rect">
            <a:avLst/>
          </a:prstGeom>
        </p:spPr>
      </p:pic>
      <p:pic>
        <p:nvPicPr>
          <p:cNvPr id="8" name="Picture 7">
            <a:extLst>
              <a:ext uri="{FF2B5EF4-FFF2-40B4-BE49-F238E27FC236}">
                <a16:creationId xmlns:a16="http://schemas.microsoft.com/office/drawing/2014/main" id="{FD747428-F606-E743-E58A-624AC9F32AE1}"/>
              </a:ext>
            </a:extLst>
          </p:cNvPr>
          <p:cNvPicPr>
            <a:picLocks noChangeAspect="1"/>
          </p:cNvPicPr>
          <p:nvPr/>
        </p:nvPicPr>
        <p:blipFill>
          <a:blip r:embed="rId7"/>
          <a:stretch>
            <a:fillRect/>
          </a:stretch>
        </p:blipFill>
        <p:spPr>
          <a:xfrm>
            <a:off x="8215970" y="1267671"/>
            <a:ext cx="3667667" cy="1817733"/>
          </a:xfrm>
          <a:prstGeom prst="rect">
            <a:avLst/>
          </a:prstGeom>
        </p:spPr>
      </p:pic>
      <p:pic>
        <p:nvPicPr>
          <p:cNvPr id="9" name="Picture 8">
            <a:extLst>
              <a:ext uri="{FF2B5EF4-FFF2-40B4-BE49-F238E27FC236}">
                <a16:creationId xmlns:a16="http://schemas.microsoft.com/office/drawing/2014/main" id="{AE96CEF1-613E-B37A-94A3-B5A398A7FE43}"/>
              </a:ext>
            </a:extLst>
          </p:cNvPr>
          <p:cNvPicPr>
            <a:picLocks noChangeAspect="1"/>
          </p:cNvPicPr>
          <p:nvPr/>
        </p:nvPicPr>
        <p:blipFill>
          <a:blip r:embed="rId8"/>
          <a:stretch>
            <a:fillRect/>
          </a:stretch>
        </p:blipFill>
        <p:spPr>
          <a:xfrm>
            <a:off x="555793" y="4104607"/>
            <a:ext cx="3588678" cy="1798841"/>
          </a:xfrm>
          <a:prstGeom prst="rect">
            <a:avLst/>
          </a:prstGeom>
        </p:spPr>
      </p:pic>
      <p:pic>
        <p:nvPicPr>
          <p:cNvPr id="10" name="Picture 9">
            <a:extLst>
              <a:ext uri="{FF2B5EF4-FFF2-40B4-BE49-F238E27FC236}">
                <a16:creationId xmlns:a16="http://schemas.microsoft.com/office/drawing/2014/main" id="{3DBCE2F2-BAB3-79A7-9BA9-B90CF85F0395}"/>
              </a:ext>
            </a:extLst>
          </p:cNvPr>
          <p:cNvPicPr>
            <a:picLocks noChangeAspect="1"/>
          </p:cNvPicPr>
          <p:nvPr/>
        </p:nvPicPr>
        <p:blipFill>
          <a:blip r:embed="rId9"/>
          <a:stretch>
            <a:fillRect/>
          </a:stretch>
        </p:blipFill>
        <p:spPr>
          <a:xfrm>
            <a:off x="4331579" y="4104607"/>
            <a:ext cx="3715952" cy="1857977"/>
          </a:xfrm>
          <a:prstGeom prst="rect">
            <a:avLst/>
          </a:prstGeom>
        </p:spPr>
      </p:pic>
      <p:pic>
        <p:nvPicPr>
          <p:cNvPr id="11" name="Picture 10">
            <a:extLst>
              <a:ext uri="{FF2B5EF4-FFF2-40B4-BE49-F238E27FC236}">
                <a16:creationId xmlns:a16="http://schemas.microsoft.com/office/drawing/2014/main" id="{E74911CB-0815-9B0A-0126-624E8950DF4E}"/>
              </a:ext>
            </a:extLst>
          </p:cNvPr>
          <p:cNvPicPr>
            <a:picLocks noChangeAspect="1"/>
          </p:cNvPicPr>
          <p:nvPr/>
        </p:nvPicPr>
        <p:blipFill>
          <a:blip r:embed="rId10"/>
          <a:srcRect/>
          <a:stretch/>
        </p:blipFill>
        <p:spPr>
          <a:xfrm>
            <a:off x="8294958" y="4104607"/>
            <a:ext cx="3667667" cy="1819799"/>
          </a:xfrm>
          <a:prstGeom prst="rect">
            <a:avLst/>
          </a:prstGeom>
        </p:spPr>
      </p:pic>
    </p:spTree>
    <p:extLst>
      <p:ext uri="{BB962C8B-B14F-4D97-AF65-F5344CB8AC3E}">
        <p14:creationId xmlns:p14="http://schemas.microsoft.com/office/powerpoint/2010/main" val="29395659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84" name="Objeto 3083" hidden="1">
            <a:extLst>
              <a:ext uri="{FF2B5EF4-FFF2-40B4-BE49-F238E27FC236}">
                <a16:creationId xmlns:a16="http://schemas.microsoft.com/office/drawing/2014/main" id="{F2BFB47D-CE56-BC40-1CFC-173F799A89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084" name="Objeto 3083" hidden="1">
                        <a:extLst>
                          <a:ext uri="{FF2B5EF4-FFF2-40B4-BE49-F238E27FC236}">
                            <a16:creationId xmlns:a16="http://schemas.microsoft.com/office/drawing/2014/main" id="{F2BFB47D-CE56-BC40-1CFC-173F799A89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5A6160-BB28-4B8E-C4A6-E0EDB41C8FF2}"/>
              </a:ext>
            </a:extLst>
          </p:cNvPr>
          <p:cNvSpPr>
            <a:spLocks noGrp="1"/>
          </p:cNvSpPr>
          <p:nvPr>
            <p:ph type="title"/>
          </p:nvPr>
        </p:nvSpPr>
        <p:spPr/>
        <p:txBody>
          <a:bodyPr vert="horz"/>
          <a:lstStyle/>
          <a:p>
            <a:r>
              <a:rPr lang="en-US" dirty="0"/>
              <a:t>Historic Performance Week of July 22</a:t>
            </a:r>
          </a:p>
        </p:txBody>
      </p:sp>
      <p:pic>
        <p:nvPicPr>
          <p:cNvPr id="21" name="Picture 20">
            <a:extLst>
              <a:ext uri="{FF2B5EF4-FFF2-40B4-BE49-F238E27FC236}">
                <a16:creationId xmlns:a16="http://schemas.microsoft.com/office/drawing/2014/main" id="{85257FB9-3847-9877-2A32-E78059C3AF09}"/>
              </a:ext>
            </a:extLst>
          </p:cNvPr>
          <p:cNvPicPr>
            <a:picLocks noChangeAspect="1"/>
          </p:cNvPicPr>
          <p:nvPr/>
        </p:nvPicPr>
        <p:blipFill>
          <a:blip r:embed="rId5"/>
          <a:stretch>
            <a:fillRect/>
          </a:stretch>
        </p:blipFill>
        <p:spPr>
          <a:xfrm>
            <a:off x="211068" y="814969"/>
            <a:ext cx="4320000" cy="1961858"/>
          </a:xfrm>
          <a:prstGeom prst="rect">
            <a:avLst/>
          </a:prstGeom>
        </p:spPr>
      </p:pic>
      <p:pic>
        <p:nvPicPr>
          <p:cNvPr id="29" name="Picture 28">
            <a:extLst>
              <a:ext uri="{FF2B5EF4-FFF2-40B4-BE49-F238E27FC236}">
                <a16:creationId xmlns:a16="http://schemas.microsoft.com/office/drawing/2014/main" id="{44BA1721-DD41-14A9-990E-432C2FB56167}"/>
              </a:ext>
            </a:extLst>
          </p:cNvPr>
          <p:cNvPicPr>
            <a:picLocks noChangeAspect="1"/>
          </p:cNvPicPr>
          <p:nvPr/>
        </p:nvPicPr>
        <p:blipFill>
          <a:blip r:embed="rId6"/>
          <a:stretch>
            <a:fillRect/>
          </a:stretch>
        </p:blipFill>
        <p:spPr>
          <a:xfrm>
            <a:off x="211068" y="2776825"/>
            <a:ext cx="4320000" cy="2024229"/>
          </a:xfrm>
          <a:prstGeom prst="rect">
            <a:avLst/>
          </a:prstGeom>
        </p:spPr>
      </p:pic>
      <p:pic>
        <p:nvPicPr>
          <p:cNvPr id="32" name="Picture 31">
            <a:extLst>
              <a:ext uri="{FF2B5EF4-FFF2-40B4-BE49-F238E27FC236}">
                <a16:creationId xmlns:a16="http://schemas.microsoft.com/office/drawing/2014/main" id="{E85927D9-F32D-587A-9292-CD946A0F6DA6}"/>
              </a:ext>
            </a:extLst>
          </p:cNvPr>
          <p:cNvPicPr>
            <a:picLocks noChangeAspect="1"/>
          </p:cNvPicPr>
          <p:nvPr/>
        </p:nvPicPr>
        <p:blipFill>
          <a:blip r:embed="rId7"/>
          <a:stretch>
            <a:fillRect/>
          </a:stretch>
        </p:blipFill>
        <p:spPr>
          <a:xfrm>
            <a:off x="4683692" y="814969"/>
            <a:ext cx="4320000" cy="1959184"/>
          </a:xfrm>
          <a:prstGeom prst="rect">
            <a:avLst/>
          </a:prstGeom>
        </p:spPr>
      </p:pic>
      <p:pic>
        <p:nvPicPr>
          <p:cNvPr id="34" name="Picture 33">
            <a:extLst>
              <a:ext uri="{FF2B5EF4-FFF2-40B4-BE49-F238E27FC236}">
                <a16:creationId xmlns:a16="http://schemas.microsoft.com/office/drawing/2014/main" id="{857BC413-6371-00F8-7846-145C892BA738}"/>
              </a:ext>
            </a:extLst>
          </p:cNvPr>
          <p:cNvPicPr>
            <a:picLocks noChangeAspect="1"/>
          </p:cNvPicPr>
          <p:nvPr/>
        </p:nvPicPr>
        <p:blipFill>
          <a:blip r:embed="rId8"/>
          <a:stretch>
            <a:fillRect/>
          </a:stretch>
        </p:blipFill>
        <p:spPr>
          <a:xfrm>
            <a:off x="4683692" y="4845553"/>
            <a:ext cx="4320000" cy="1925321"/>
          </a:xfrm>
          <a:prstGeom prst="rect">
            <a:avLst/>
          </a:prstGeom>
        </p:spPr>
      </p:pic>
      <p:pic>
        <p:nvPicPr>
          <p:cNvPr id="36" name="Picture 35">
            <a:extLst>
              <a:ext uri="{FF2B5EF4-FFF2-40B4-BE49-F238E27FC236}">
                <a16:creationId xmlns:a16="http://schemas.microsoft.com/office/drawing/2014/main" id="{7661C4AF-CE0C-E695-3745-A9F4A1829A9B}"/>
              </a:ext>
            </a:extLst>
          </p:cNvPr>
          <p:cNvPicPr>
            <a:picLocks noChangeAspect="1"/>
          </p:cNvPicPr>
          <p:nvPr/>
        </p:nvPicPr>
        <p:blipFill>
          <a:blip r:embed="rId9"/>
          <a:stretch>
            <a:fillRect/>
          </a:stretch>
        </p:blipFill>
        <p:spPr>
          <a:xfrm>
            <a:off x="4683692" y="2813066"/>
            <a:ext cx="4320000" cy="1951749"/>
          </a:xfrm>
          <a:prstGeom prst="rect">
            <a:avLst/>
          </a:prstGeom>
        </p:spPr>
      </p:pic>
      <p:pic>
        <p:nvPicPr>
          <p:cNvPr id="38" name="Picture 37">
            <a:extLst>
              <a:ext uri="{FF2B5EF4-FFF2-40B4-BE49-F238E27FC236}">
                <a16:creationId xmlns:a16="http://schemas.microsoft.com/office/drawing/2014/main" id="{1BB58DBA-8C17-7E53-E28A-DEC2941FBE25}"/>
              </a:ext>
            </a:extLst>
          </p:cNvPr>
          <p:cNvPicPr>
            <a:picLocks noChangeAspect="1"/>
          </p:cNvPicPr>
          <p:nvPr/>
        </p:nvPicPr>
        <p:blipFill>
          <a:blip r:embed="rId10"/>
          <a:stretch>
            <a:fillRect/>
          </a:stretch>
        </p:blipFill>
        <p:spPr>
          <a:xfrm>
            <a:off x="211068" y="4793038"/>
            <a:ext cx="4320000" cy="2030351"/>
          </a:xfrm>
          <a:prstGeom prst="rect">
            <a:avLst/>
          </a:prstGeom>
        </p:spPr>
      </p:pic>
      <p:grpSp>
        <p:nvGrpSpPr>
          <p:cNvPr id="49" name="Group 48">
            <a:extLst>
              <a:ext uri="{FF2B5EF4-FFF2-40B4-BE49-F238E27FC236}">
                <a16:creationId xmlns:a16="http://schemas.microsoft.com/office/drawing/2014/main" id="{011BC534-D554-5617-FB54-4D87E0D8AFAC}"/>
              </a:ext>
            </a:extLst>
          </p:cNvPr>
          <p:cNvGrpSpPr/>
          <p:nvPr/>
        </p:nvGrpSpPr>
        <p:grpSpPr>
          <a:xfrm>
            <a:off x="9076039" y="4687127"/>
            <a:ext cx="2648333" cy="1863710"/>
            <a:chOff x="9080003" y="2620436"/>
            <a:chExt cx="2648333" cy="1863710"/>
          </a:xfrm>
        </p:grpSpPr>
        <p:sp>
          <p:nvSpPr>
            <p:cNvPr id="40" name="TextBox 39">
              <a:extLst>
                <a:ext uri="{FF2B5EF4-FFF2-40B4-BE49-F238E27FC236}">
                  <a16:creationId xmlns:a16="http://schemas.microsoft.com/office/drawing/2014/main" id="{D9523B4A-7D55-EDF7-83BF-B3B8C48893A5}"/>
                </a:ext>
              </a:extLst>
            </p:cNvPr>
            <p:cNvSpPr txBox="1"/>
            <p:nvPr/>
          </p:nvSpPr>
          <p:spPr>
            <a:xfrm>
              <a:off x="9080003" y="2620436"/>
              <a:ext cx="2648333" cy="307777"/>
            </a:xfrm>
            <a:prstGeom prst="rect">
              <a:avLst/>
            </a:prstGeom>
            <a:solidFill>
              <a:srgbClr val="5AE0BB"/>
            </a:solidFill>
          </p:spPr>
          <p:txBody>
            <a:bodyPr wrap="square" rtlCol="0">
              <a:spAutoFit/>
            </a:bodyPr>
            <a:lstStyle/>
            <a:p>
              <a:pPr algn="ctr"/>
              <a:r>
                <a:rPr lang="en-CA" sz="1400" dirty="0">
                  <a:latin typeface="Verdana" panose="020B0604030504040204" pitchFamily="34" charset="0"/>
                  <a:ea typeface="Verdana" panose="020B0604030504040204" pitchFamily="34" charset="0"/>
                </a:rPr>
                <a:t>Stronger</a:t>
              </a:r>
              <a:r>
                <a:rPr lang="en-CA" sz="1400" dirty="0"/>
                <a:t> Performing</a:t>
              </a:r>
            </a:p>
          </p:txBody>
        </p:sp>
        <p:pic>
          <p:nvPicPr>
            <p:cNvPr id="42" name="Picture 2" descr="Chipotle Mexican Grill Logo PNG ...">
              <a:extLst>
                <a:ext uri="{FF2B5EF4-FFF2-40B4-BE49-F238E27FC236}">
                  <a16:creationId xmlns:a16="http://schemas.microsoft.com/office/drawing/2014/main" id="{537CC5A8-B647-D58D-267D-75C387E9F3A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09328" y="3088302"/>
              <a:ext cx="764584" cy="764584"/>
            </a:xfrm>
            <a:prstGeom prst="ellipse">
              <a:avLst/>
            </a:prstGeom>
            <a:noFill/>
            <a:extLst>
              <a:ext uri="{909E8E84-426E-40DD-AFC4-6F175D3DCCD1}">
                <a14:hiddenFill xmlns:a14="http://schemas.microsoft.com/office/drawing/2010/main">
                  <a:solidFill>
                    <a:srgbClr val="FFFFFF"/>
                  </a:solidFill>
                </a14:hiddenFill>
              </a:ext>
            </a:extLst>
          </p:spPr>
        </p:pic>
        <p:pic>
          <p:nvPicPr>
            <p:cNvPr id="43" name="Picture 14">
              <a:extLst>
                <a:ext uri="{FF2B5EF4-FFF2-40B4-BE49-F238E27FC236}">
                  <a16:creationId xmlns:a16="http://schemas.microsoft.com/office/drawing/2014/main" id="{774E4460-DD05-ACDF-2A98-B9B9CAB20C0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409328" y="4064777"/>
              <a:ext cx="2078389" cy="41936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a:extLst>
              <a:ext uri="{FF2B5EF4-FFF2-40B4-BE49-F238E27FC236}">
                <a16:creationId xmlns:a16="http://schemas.microsoft.com/office/drawing/2014/main" id="{2E7262C2-F90A-49AD-9E6C-CF26312C2AFC}"/>
              </a:ext>
            </a:extLst>
          </p:cNvPr>
          <p:cNvGrpSpPr/>
          <p:nvPr/>
        </p:nvGrpSpPr>
        <p:grpSpPr>
          <a:xfrm>
            <a:off x="9080003" y="2638996"/>
            <a:ext cx="2648333" cy="1900856"/>
            <a:chOff x="9083967" y="4639149"/>
            <a:chExt cx="2648333" cy="1900856"/>
          </a:xfrm>
        </p:grpSpPr>
        <p:sp>
          <p:nvSpPr>
            <p:cNvPr id="41" name="TextBox 40">
              <a:extLst>
                <a:ext uri="{FF2B5EF4-FFF2-40B4-BE49-F238E27FC236}">
                  <a16:creationId xmlns:a16="http://schemas.microsoft.com/office/drawing/2014/main" id="{9319F9BE-1697-3C00-145F-9B163A906F7B}"/>
                </a:ext>
              </a:extLst>
            </p:cNvPr>
            <p:cNvSpPr txBox="1"/>
            <p:nvPr/>
          </p:nvSpPr>
          <p:spPr>
            <a:xfrm>
              <a:off x="9083967" y="4639149"/>
              <a:ext cx="2648333" cy="307777"/>
            </a:xfrm>
            <a:prstGeom prst="rect">
              <a:avLst/>
            </a:prstGeom>
            <a:solidFill>
              <a:srgbClr val="5AE0BB"/>
            </a:solidFill>
          </p:spPr>
          <p:txBody>
            <a:bodyPr wrap="square" rtlCol="0">
              <a:spAutoFit/>
            </a:bodyPr>
            <a:lstStyle/>
            <a:p>
              <a:pPr algn="ctr"/>
              <a:r>
                <a:rPr lang="en-CA" sz="1400" dirty="0">
                  <a:latin typeface="Verdana" panose="020B0604030504040204" pitchFamily="34" charset="0"/>
                  <a:ea typeface="Verdana" panose="020B0604030504040204" pitchFamily="34" charset="0"/>
                </a:rPr>
                <a:t>Weaker Performing</a:t>
              </a:r>
            </a:p>
          </p:txBody>
        </p:sp>
        <p:pic>
          <p:nvPicPr>
            <p:cNvPr id="44" name="Picture 6" descr="Salesforce Logo and symbol, meaning, history, PNG, brand">
              <a:extLst>
                <a:ext uri="{FF2B5EF4-FFF2-40B4-BE49-F238E27FC236}">
                  <a16:creationId xmlns:a16="http://schemas.microsoft.com/office/drawing/2014/main" id="{9869A6A8-B70A-5EA9-1248-A2E39F54CFF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391949" y="5077793"/>
              <a:ext cx="1336387" cy="87818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6">
              <a:extLst>
                <a:ext uri="{FF2B5EF4-FFF2-40B4-BE49-F238E27FC236}">
                  <a16:creationId xmlns:a16="http://schemas.microsoft.com/office/drawing/2014/main" id="{EC6E71C3-7AE0-5919-ACC9-89131FEF8F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224672" y="5925665"/>
              <a:ext cx="2107034" cy="61434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8" descr="Uber - Social media &amp; Logos Icons">
              <a:extLst>
                <a:ext uri="{FF2B5EF4-FFF2-40B4-BE49-F238E27FC236}">
                  <a16:creationId xmlns:a16="http://schemas.microsoft.com/office/drawing/2014/main" id="{1D02D6A3-CE08-2B6F-4FD8-F5CB3274A58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224672" y="4967580"/>
              <a:ext cx="871828" cy="871828"/>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TextBox 47">
            <a:extLst>
              <a:ext uri="{FF2B5EF4-FFF2-40B4-BE49-F238E27FC236}">
                <a16:creationId xmlns:a16="http://schemas.microsoft.com/office/drawing/2014/main" id="{8B8F9A62-A3ED-86CB-B1D0-488A81C7BB25}"/>
              </a:ext>
            </a:extLst>
          </p:cNvPr>
          <p:cNvSpPr txBox="1"/>
          <p:nvPr/>
        </p:nvSpPr>
        <p:spPr>
          <a:xfrm>
            <a:off x="9003692" y="1214079"/>
            <a:ext cx="2800956" cy="1077218"/>
          </a:xfrm>
          <a:prstGeom prst="rect">
            <a:avLst/>
          </a:prstGeom>
          <a:noFill/>
          <a:ln>
            <a:solidFill>
              <a:srgbClr val="5C5C5C"/>
            </a:solidFill>
          </a:ln>
        </p:spPr>
        <p:txBody>
          <a:bodyPr wrap="square" rtlCol="0">
            <a:spAutoFit/>
          </a:bodyPr>
          <a:lstStyle/>
          <a:p>
            <a:pPr algn="ctr"/>
            <a:r>
              <a:rPr lang="en-CA" sz="1600" dirty="0">
                <a:latin typeface="Verdana" panose="020B0604030504040204" pitchFamily="34" charset="0"/>
                <a:ea typeface="Verdana" panose="020B0604030504040204" pitchFamily="34" charset="0"/>
              </a:rPr>
              <a:t>These graphs show the historical performance on average for each stock from July 22 - July 26</a:t>
            </a:r>
          </a:p>
        </p:txBody>
      </p:sp>
      <p:pic>
        <p:nvPicPr>
          <p:cNvPr id="2" name="Picture 8">
            <a:extLst>
              <a:ext uri="{FF2B5EF4-FFF2-40B4-BE49-F238E27FC236}">
                <a16:creationId xmlns:a16="http://schemas.microsoft.com/office/drawing/2014/main" id="{7952355A-A6F3-6000-6AEC-E6C3173C09EA}"/>
              </a:ext>
            </a:extLst>
          </p:cNvPr>
          <p:cNvPicPr>
            <a:picLocks noChangeAspect="1" noChangeArrowheads="1"/>
          </p:cNvPicPr>
          <p:nvPr/>
        </p:nvPicPr>
        <p:blipFill rotWithShape="1">
          <a:blip r:embed="rId16">
            <a:extLst>
              <a:ext uri="{837473B0-CC2E-450A-ABE3-18F120FF3D39}">
                <a1611:picAttrSrcUrl xmlns:a1611="http://schemas.microsoft.com/office/drawing/2016/11/main" r:id="rId17"/>
              </a:ext>
            </a:extLst>
          </a:blip>
          <a:srcRect l="-632" t="-1" r="2186" b="-300"/>
          <a:stretch/>
        </p:blipFill>
        <p:spPr bwMode="auto">
          <a:xfrm>
            <a:off x="10169948" y="5106951"/>
            <a:ext cx="1501785" cy="8606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61675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896098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ata Preparation</a:t>
            </a:r>
          </a:p>
        </p:txBody>
      </p:sp>
      <p:grpSp>
        <p:nvGrpSpPr>
          <p:cNvPr id="3" name="Group 50">
            <a:extLst>
              <a:ext uri="{FF2B5EF4-FFF2-40B4-BE49-F238E27FC236}">
                <a16:creationId xmlns:a16="http://schemas.microsoft.com/office/drawing/2014/main" id="{2F2AEDBB-9A19-E3B7-A8AA-2B996874CBA7}"/>
              </a:ext>
            </a:extLst>
          </p:cNvPr>
          <p:cNvGrpSpPr>
            <a:grpSpLocks noChangeAspect="1"/>
          </p:cNvGrpSpPr>
          <p:nvPr/>
        </p:nvGrpSpPr>
        <p:grpSpPr bwMode="auto">
          <a:xfrm>
            <a:off x="8280051" y="2051052"/>
            <a:ext cx="2884278" cy="2755946"/>
            <a:chOff x="5693" y="604"/>
            <a:chExt cx="427" cy="408"/>
          </a:xfrm>
          <a:solidFill>
            <a:schemeClr val="bg1"/>
          </a:solidFill>
        </p:grpSpPr>
        <p:sp>
          <p:nvSpPr>
            <p:cNvPr id="4" name="Freeform 51">
              <a:extLst>
                <a:ext uri="{FF2B5EF4-FFF2-40B4-BE49-F238E27FC236}">
                  <a16:creationId xmlns:a16="http://schemas.microsoft.com/office/drawing/2014/main" id="{8335350E-91DE-E8C0-56CF-AB990C2B2617}"/>
                </a:ext>
              </a:extLst>
            </p:cNvPr>
            <p:cNvSpPr>
              <a:spLocks/>
            </p:cNvSpPr>
            <p:nvPr/>
          </p:nvSpPr>
          <p:spPr bwMode="auto">
            <a:xfrm>
              <a:off x="5693" y="995"/>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6" name="Freeform 52">
              <a:extLst>
                <a:ext uri="{FF2B5EF4-FFF2-40B4-BE49-F238E27FC236}">
                  <a16:creationId xmlns:a16="http://schemas.microsoft.com/office/drawing/2014/main" id="{FAA768AB-7F41-9E39-9E6B-0B971E266D08}"/>
                </a:ext>
              </a:extLst>
            </p:cNvPr>
            <p:cNvSpPr>
              <a:spLocks noEditPoints="1"/>
            </p:cNvSpPr>
            <p:nvPr/>
          </p:nvSpPr>
          <p:spPr bwMode="auto">
            <a:xfrm>
              <a:off x="5711" y="943"/>
              <a:ext cx="71" cy="69"/>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6" y="0"/>
                    <a:pt x="48" y="3"/>
                    <a:pt x="48" y="6"/>
                  </a:cubicBezTo>
                  <a:cubicBezTo>
                    <a:pt x="48" y="42"/>
                    <a:pt x="48" y="42"/>
                    <a:pt x="48" y="42"/>
                  </a:cubicBezTo>
                  <a:cubicBezTo>
                    <a:pt x="48" y="46"/>
                    <a:pt x="46"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9" name="Freeform 53">
              <a:extLst>
                <a:ext uri="{FF2B5EF4-FFF2-40B4-BE49-F238E27FC236}">
                  <a16:creationId xmlns:a16="http://schemas.microsoft.com/office/drawing/2014/main" id="{589E023C-A381-71B0-529A-B0D6C844E82C}"/>
                </a:ext>
              </a:extLst>
            </p:cNvPr>
            <p:cNvSpPr>
              <a:spLocks noEditPoints="1"/>
            </p:cNvSpPr>
            <p:nvPr/>
          </p:nvSpPr>
          <p:spPr bwMode="auto">
            <a:xfrm>
              <a:off x="5818" y="873"/>
              <a:ext cx="71" cy="139"/>
            </a:xfrm>
            <a:custGeom>
              <a:avLst/>
              <a:gdLst>
                <a:gd name="T0" fmla="*/ 42 w 48"/>
                <a:gd name="T1" fmla="*/ 96 h 96"/>
                <a:gd name="T2" fmla="*/ 6 w 48"/>
                <a:gd name="T3" fmla="*/ 96 h 96"/>
                <a:gd name="T4" fmla="*/ 0 w 48"/>
                <a:gd name="T5" fmla="*/ 90 h 96"/>
                <a:gd name="T6" fmla="*/ 0 w 48"/>
                <a:gd name="T7" fmla="*/ 6 h 96"/>
                <a:gd name="T8" fmla="*/ 6 w 48"/>
                <a:gd name="T9" fmla="*/ 0 h 96"/>
                <a:gd name="T10" fmla="*/ 42 w 48"/>
                <a:gd name="T11" fmla="*/ 0 h 96"/>
                <a:gd name="T12" fmla="*/ 48 w 48"/>
                <a:gd name="T13" fmla="*/ 6 h 96"/>
                <a:gd name="T14" fmla="*/ 48 w 48"/>
                <a:gd name="T15" fmla="*/ 90 h 96"/>
                <a:gd name="T16" fmla="*/ 42 w 48"/>
                <a:gd name="T17" fmla="*/ 96 h 96"/>
                <a:gd name="T18" fmla="*/ 12 w 48"/>
                <a:gd name="T19" fmla="*/ 84 h 96"/>
                <a:gd name="T20" fmla="*/ 36 w 48"/>
                <a:gd name="T21" fmla="*/ 84 h 96"/>
                <a:gd name="T22" fmla="*/ 36 w 48"/>
                <a:gd name="T23" fmla="*/ 12 h 96"/>
                <a:gd name="T24" fmla="*/ 12 w 48"/>
                <a:gd name="T25" fmla="*/ 12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4"/>
                    <a:pt x="0" y="90"/>
                  </a:cubicBezTo>
                  <a:cubicBezTo>
                    <a:pt x="0" y="6"/>
                    <a:pt x="0" y="6"/>
                    <a:pt x="0" y="6"/>
                  </a:cubicBezTo>
                  <a:cubicBezTo>
                    <a:pt x="0" y="3"/>
                    <a:pt x="3" y="0"/>
                    <a:pt x="6" y="0"/>
                  </a:cubicBezTo>
                  <a:cubicBezTo>
                    <a:pt x="42" y="0"/>
                    <a:pt x="42" y="0"/>
                    <a:pt x="42" y="0"/>
                  </a:cubicBezTo>
                  <a:cubicBezTo>
                    <a:pt x="46" y="0"/>
                    <a:pt x="48" y="3"/>
                    <a:pt x="48" y="6"/>
                  </a:cubicBezTo>
                  <a:cubicBezTo>
                    <a:pt x="48" y="90"/>
                    <a:pt x="48" y="90"/>
                    <a:pt x="48" y="90"/>
                  </a:cubicBezTo>
                  <a:cubicBezTo>
                    <a:pt x="48" y="94"/>
                    <a:pt x="46" y="96"/>
                    <a:pt x="42" y="96"/>
                  </a:cubicBezTo>
                  <a:close/>
                  <a:moveTo>
                    <a:pt x="12" y="84"/>
                  </a:moveTo>
                  <a:cubicBezTo>
                    <a:pt x="36" y="84"/>
                    <a:pt x="36" y="84"/>
                    <a:pt x="36" y="84"/>
                  </a:cubicBezTo>
                  <a:cubicBezTo>
                    <a:pt x="36" y="12"/>
                    <a:pt x="36" y="12"/>
                    <a:pt x="3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0" name="Freeform 54">
              <a:extLst>
                <a:ext uri="{FF2B5EF4-FFF2-40B4-BE49-F238E27FC236}">
                  <a16:creationId xmlns:a16="http://schemas.microsoft.com/office/drawing/2014/main" id="{DA81CF2A-1121-93F2-1035-A0D7F455EFA9}"/>
                </a:ext>
              </a:extLst>
            </p:cNvPr>
            <p:cNvSpPr>
              <a:spLocks noEditPoints="1"/>
            </p:cNvSpPr>
            <p:nvPr/>
          </p:nvSpPr>
          <p:spPr bwMode="auto">
            <a:xfrm>
              <a:off x="5925" y="804"/>
              <a:ext cx="71" cy="208"/>
            </a:xfrm>
            <a:custGeom>
              <a:avLst/>
              <a:gdLst>
                <a:gd name="T0" fmla="*/ 42 w 48"/>
                <a:gd name="T1" fmla="*/ 144 h 144"/>
                <a:gd name="T2" fmla="*/ 6 w 48"/>
                <a:gd name="T3" fmla="*/ 144 h 144"/>
                <a:gd name="T4" fmla="*/ 0 w 48"/>
                <a:gd name="T5" fmla="*/ 138 h 144"/>
                <a:gd name="T6" fmla="*/ 0 w 48"/>
                <a:gd name="T7" fmla="*/ 6 h 144"/>
                <a:gd name="T8" fmla="*/ 6 w 48"/>
                <a:gd name="T9" fmla="*/ 0 h 144"/>
                <a:gd name="T10" fmla="*/ 42 w 48"/>
                <a:gd name="T11" fmla="*/ 0 h 144"/>
                <a:gd name="T12" fmla="*/ 48 w 48"/>
                <a:gd name="T13" fmla="*/ 6 h 144"/>
                <a:gd name="T14" fmla="*/ 48 w 48"/>
                <a:gd name="T15" fmla="*/ 138 h 144"/>
                <a:gd name="T16" fmla="*/ 42 w 48"/>
                <a:gd name="T17" fmla="*/ 144 h 144"/>
                <a:gd name="T18" fmla="*/ 12 w 48"/>
                <a:gd name="T19" fmla="*/ 132 h 144"/>
                <a:gd name="T20" fmla="*/ 36 w 48"/>
                <a:gd name="T21" fmla="*/ 132 h 144"/>
                <a:gd name="T22" fmla="*/ 36 w 48"/>
                <a:gd name="T23" fmla="*/ 12 h 144"/>
                <a:gd name="T24" fmla="*/ 12 w 48"/>
                <a:gd name="T25" fmla="*/ 12 h 144"/>
                <a:gd name="T26" fmla="*/ 12 w 48"/>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44">
                  <a:moveTo>
                    <a:pt x="42" y="144"/>
                  </a:moveTo>
                  <a:cubicBezTo>
                    <a:pt x="6" y="144"/>
                    <a:pt x="6" y="144"/>
                    <a:pt x="6" y="144"/>
                  </a:cubicBezTo>
                  <a:cubicBezTo>
                    <a:pt x="3" y="144"/>
                    <a:pt x="0" y="142"/>
                    <a:pt x="0" y="138"/>
                  </a:cubicBezTo>
                  <a:cubicBezTo>
                    <a:pt x="0" y="6"/>
                    <a:pt x="0" y="6"/>
                    <a:pt x="0" y="6"/>
                  </a:cubicBezTo>
                  <a:cubicBezTo>
                    <a:pt x="0" y="3"/>
                    <a:pt x="3" y="0"/>
                    <a:pt x="6" y="0"/>
                  </a:cubicBezTo>
                  <a:cubicBezTo>
                    <a:pt x="42" y="0"/>
                    <a:pt x="42" y="0"/>
                    <a:pt x="42" y="0"/>
                  </a:cubicBezTo>
                  <a:cubicBezTo>
                    <a:pt x="46" y="0"/>
                    <a:pt x="48" y="3"/>
                    <a:pt x="48" y="6"/>
                  </a:cubicBezTo>
                  <a:cubicBezTo>
                    <a:pt x="48" y="138"/>
                    <a:pt x="48" y="138"/>
                    <a:pt x="48" y="138"/>
                  </a:cubicBezTo>
                  <a:cubicBezTo>
                    <a:pt x="48" y="142"/>
                    <a:pt x="46" y="144"/>
                    <a:pt x="42" y="144"/>
                  </a:cubicBezTo>
                  <a:close/>
                  <a:moveTo>
                    <a:pt x="12" y="132"/>
                  </a:moveTo>
                  <a:cubicBezTo>
                    <a:pt x="36" y="132"/>
                    <a:pt x="36" y="132"/>
                    <a:pt x="36" y="132"/>
                  </a:cubicBezTo>
                  <a:cubicBezTo>
                    <a:pt x="36" y="12"/>
                    <a:pt x="36" y="12"/>
                    <a:pt x="36"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1" name="Freeform 55">
              <a:extLst>
                <a:ext uri="{FF2B5EF4-FFF2-40B4-BE49-F238E27FC236}">
                  <a16:creationId xmlns:a16="http://schemas.microsoft.com/office/drawing/2014/main" id="{85A2BB92-5A7F-287C-07F4-E034209F6011}"/>
                </a:ext>
              </a:extLst>
            </p:cNvPr>
            <p:cNvSpPr>
              <a:spLocks noEditPoints="1"/>
            </p:cNvSpPr>
            <p:nvPr/>
          </p:nvSpPr>
          <p:spPr bwMode="auto">
            <a:xfrm>
              <a:off x="6031" y="735"/>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6" y="0"/>
                    <a:pt x="48" y="3"/>
                    <a:pt x="48" y="6"/>
                  </a:cubicBezTo>
                  <a:cubicBezTo>
                    <a:pt x="48" y="186"/>
                    <a:pt x="48" y="186"/>
                    <a:pt x="48" y="186"/>
                  </a:cubicBezTo>
                  <a:cubicBezTo>
                    <a:pt x="48" y="190"/>
                    <a:pt x="46"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2" name="Freeform 56">
              <a:extLst>
                <a:ext uri="{FF2B5EF4-FFF2-40B4-BE49-F238E27FC236}">
                  <a16:creationId xmlns:a16="http://schemas.microsoft.com/office/drawing/2014/main" id="{85B2A427-B7DF-81BD-10F4-F48A019F6610}"/>
                </a:ext>
              </a:extLst>
            </p:cNvPr>
            <p:cNvSpPr>
              <a:spLocks/>
            </p:cNvSpPr>
            <p:nvPr/>
          </p:nvSpPr>
          <p:spPr bwMode="auto">
            <a:xfrm>
              <a:off x="5738" y="612"/>
              <a:ext cx="339" cy="227"/>
            </a:xfrm>
            <a:custGeom>
              <a:avLst/>
              <a:gdLst>
                <a:gd name="T0" fmla="*/ 6 w 229"/>
                <a:gd name="T1" fmla="*/ 157 h 157"/>
                <a:gd name="T2" fmla="*/ 1 w 229"/>
                <a:gd name="T3" fmla="*/ 154 h 157"/>
                <a:gd name="T4" fmla="*/ 3 w 229"/>
                <a:gd name="T5" fmla="*/ 146 h 157"/>
                <a:gd name="T6" fmla="*/ 219 w 229"/>
                <a:gd name="T7" fmla="*/ 2 h 157"/>
                <a:gd name="T8" fmla="*/ 227 w 229"/>
                <a:gd name="T9" fmla="*/ 4 h 157"/>
                <a:gd name="T10" fmla="*/ 226 w 229"/>
                <a:gd name="T11" fmla="*/ 12 h 157"/>
                <a:gd name="T12" fmla="*/ 10 w 229"/>
                <a:gd name="T13" fmla="*/ 156 h 157"/>
                <a:gd name="T14" fmla="*/ 6 w 229"/>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57">
                  <a:moveTo>
                    <a:pt x="6" y="157"/>
                  </a:moveTo>
                  <a:cubicBezTo>
                    <a:pt x="5" y="157"/>
                    <a:pt x="3" y="156"/>
                    <a:pt x="1" y="154"/>
                  </a:cubicBezTo>
                  <a:cubicBezTo>
                    <a:pt x="0" y="152"/>
                    <a:pt x="0" y="148"/>
                    <a:pt x="3" y="146"/>
                  </a:cubicBezTo>
                  <a:cubicBezTo>
                    <a:pt x="219" y="2"/>
                    <a:pt x="219" y="2"/>
                    <a:pt x="219" y="2"/>
                  </a:cubicBezTo>
                  <a:cubicBezTo>
                    <a:pt x="222" y="0"/>
                    <a:pt x="226" y="1"/>
                    <a:pt x="227" y="4"/>
                  </a:cubicBezTo>
                  <a:cubicBezTo>
                    <a:pt x="229" y="7"/>
                    <a:pt x="229" y="10"/>
                    <a:pt x="226" y="12"/>
                  </a:cubicBezTo>
                  <a:cubicBezTo>
                    <a:pt x="10" y="156"/>
                    <a:pt x="10" y="156"/>
                    <a:pt x="10" y="156"/>
                  </a:cubicBezTo>
                  <a:cubicBezTo>
                    <a:pt x="9" y="157"/>
                    <a:pt x="8" y="157"/>
                    <a:pt x="6"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13" name="Freeform 57">
              <a:extLst>
                <a:ext uri="{FF2B5EF4-FFF2-40B4-BE49-F238E27FC236}">
                  <a16:creationId xmlns:a16="http://schemas.microsoft.com/office/drawing/2014/main" id="{24AE2EF1-9FB9-8266-5641-A3AC28AB1CCA}"/>
                </a:ext>
              </a:extLst>
            </p:cNvPr>
            <p:cNvSpPr>
              <a:spLocks/>
            </p:cNvSpPr>
            <p:nvPr/>
          </p:nvSpPr>
          <p:spPr bwMode="auto">
            <a:xfrm>
              <a:off x="5987" y="604"/>
              <a:ext cx="90" cy="96"/>
            </a:xfrm>
            <a:custGeom>
              <a:avLst/>
              <a:gdLst>
                <a:gd name="T0" fmla="*/ 48 w 61"/>
                <a:gd name="T1" fmla="*/ 66 h 66"/>
                <a:gd name="T2" fmla="*/ 48 w 61"/>
                <a:gd name="T3" fmla="*/ 66 h 66"/>
                <a:gd name="T4" fmla="*/ 42 w 61"/>
                <a:gd name="T5" fmla="*/ 60 h 66"/>
                <a:gd name="T6" fmla="*/ 48 w 61"/>
                <a:gd name="T7" fmla="*/ 17 h 66"/>
                <a:gd name="T8" fmla="*/ 6 w 61"/>
                <a:gd name="T9" fmla="*/ 12 h 66"/>
                <a:gd name="T10" fmla="*/ 0 w 61"/>
                <a:gd name="T11" fmla="*/ 6 h 66"/>
                <a:gd name="T12" fmla="*/ 7 w 61"/>
                <a:gd name="T13" fmla="*/ 0 h 66"/>
                <a:gd name="T14" fmla="*/ 55 w 61"/>
                <a:gd name="T15" fmla="*/ 6 h 66"/>
                <a:gd name="T16" fmla="*/ 59 w 61"/>
                <a:gd name="T17" fmla="*/ 8 h 66"/>
                <a:gd name="T18" fmla="*/ 60 w 61"/>
                <a:gd name="T19" fmla="*/ 13 h 66"/>
                <a:gd name="T20" fmla="*/ 54 w 61"/>
                <a:gd name="T21" fmla="*/ 61 h 66"/>
                <a:gd name="T22" fmla="*/ 48 w 61"/>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6">
                  <a:moveTo>
                    <a:pt x="48" y="66"/>
                  </a:moveTo>
                  <a:cubicBezTo>
                    <a:pt x="48" y="66"/>
                    <a:pt x="48" y="66"/>
                    <a:pt x="48" y="66"/>
                  </a:cubicBezTo>
                  <a:cubicBezTo>
                    <a:pt x="44" y="66"/>
                    <a:pt x="42" y="63"/>
                    <a:pt x="42" y="60"/>
                  </a:cubicBezTo>
                  <a:cubicBezTo>
                    <a:pt x="48" y="17"/>
                    <a:pt x="48" y="17"/>
                    <a:pt x="48" y="17"/>
                  </a:cubicBezTo>
                  <a:cubicBezTo>
                    <a:pt x="6" y="12"/>
                    <a:pt x="6" y="12"/>
                    <a:pt x="6" y="12"/>
                  </a:cubicBezTo>
                  <a:cubicBezTo>
                    <a:pt x="2" y="12"/>
                    <a:pt x="0" y="9"/>
                    <a:pt x="0" y="6"/>
                  </a:cubicBezTo>
                  <a:cubicBezTo>
                    <a:pt x="1" y="2"/>
                    <a:pt x="4" y="0"/>
                    <a:pt x="7" y="0"/>
                  </a:cubicBezTo>
                  <a:cubicBezTo>
                    <a:pt x="55" y="6"/>
                    <a:pt x="55" y="6"/>
                    <a:pt x="55" y="6"/>
                  </a:cubicBezTo>
                  <a:cubicBezTo>
                    <a:pt x="57" y="6"/>
                    <a:pt x="58" y="7"/>
                    <a:pt x="59" y="8"/>
                  </a:cubicBezTo>
                  <a:cubicBezTo>
                    <a:pt x="60" y="10"/>
                    <a:pt x="61" y="11"/>
                    <a:pt x="60" y="13"/>
                  </a:cubicBezTo>
                  <a:cubicBezTo>
                    <a:pt x="54" y="61"/>
                    <a:pt x="54" y="61"/>
                    <a:pt x="54" y="61"/>
                  </a:cubicBezTo>
                  <a:cubicBezTo>
                    <a:pt x="54" y="64"/>
                    <a:pt x="51" y="66"/>
                    <a:pt x="48"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5" name="TextBox 47">
            <a:extLst>
              <a:ext uri="{FF2B5EF4-FFF2-40B4-BE49-F238E27FC236}">
                <a16:creationId xmlns:a16="http://schemas.microsoft.com/office/drawing/2014/main" id="{6B8C194F-2612-E8D8-729D-F7CF78463FA6}"/>
              </a:ext>
            </a:extLst>
          </p:cNvPr>
          <p:cNvSpPr txBox="1"/>
          <p:nvPr/>
        </p:nvSpPr>
        <p:spPr>
          <a:xfrm>
            <a:off x="384174" y="3573593"/>
            <a:ext cx="5783264" cy="461665"/>
          </a:xfrm>
          <a:prstGeom prst="rect">
            <a:avLst/>
          </a:prstGeom>
          <a:noFill/>
        </p:spPr>
        <p:txBody>
          <a:bodyPr wrap="square" rtlCol="0" anchor="ctr">
            <a:spAutoFit/>
          </a:bodyPr>
          <a:lstStyle/>
          <a:p>
            <a:r>
              <a:rPr lang="en-US"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RISP-DM Model Part 3</a:t>
            </a:r>
          </a:p>
        </p:txBody>
      </p:sp>
    </p:spTree>
    <p:extLst>
      <p:ext uri="{BB962C8B-B14F-4D97-AF65-F5344CB8AC3E}">
        <p14:creationId xmlns:p14="http://schemas.microsoft.com/office/powerpoint/2010/main" val="18112246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97EEC2F6-17FA-B050-6833-D8E6B3D0B9FE}"/>
              </a:ext>
            </a:extLst>
          </p:cNvPr>
          <p:cNvSpPr/>
          <p:nvPr/>
        </p:nvSpPr>
        <p:spPr>
          <a:xfrm>
            <a:off x="961352" y="4543023"/>
            <a:ext cx="1934944"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err="1">
                <a:solidFill>
                  <a:schemeClr val="tx1"/>
                </a:solidFill>
                <a:latin typeface="Verdana" panose="020B0604030504040204" pitchFamily="34" charset="0"/>
                <a:ea typeface="Verdana" panose="020B0604030504040204" pitchFamily="34" charset="0"/>
              </a:rPr>
              <a:t>Trend_Strength</a:t>
            </a:r>
            <a:endParaRPr lang="en-CA" sz="1400">
              <a:solidFill>
                <a:schemeClr val="tx1"/>
              </a:solidFill>
              <a:latin typeface="Verdana" panose="020B0604030504040204" pitchFamily="34" charset="0"/>
              <a:ea typeface="Verdana" panose="020B0604030504040204" pitchFamily="34" charset="0"/>
            </a:endParaRPr>
          </a:p>
        </p:txBody>
      </p:sp>
      <p:sp>
        <p:nvSpPr>
          <p:cNvPr id="24" name="Rectangle 23">
            <a:extLst>
              <a:ext uri="{FF2B5EF4-FFF2-40B4-BE49-F238E27FC236}">
                <a16:creationId xmlns:a16="http://schemas.microsoft.com/office/drawing/2014/main" id="{63517FA4-96ED-E318-F94F-90BA55FFD371}"/>
              </a:ext>
            </a:extLst>
          </p:cNvPr>
          <p:cNvSpPr/>
          <p:nvPr/>
        </p:nvSpPr>
        <p:spPr>
          <a:xfrm>
            <a:off x="994674" y="2594490"/>
            <a:ext cx="878514"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Verdana" panose="020B0604030504040204" pitchFamily="34" charset="0"/>
                <a:ea typeface="Verdana" panose="020B0604030504040204" pitchFamily="34" charset="0"/>
              </a:rPr>
              <a:t>MA_50</a:t>
            </a:r>
          </a:p>
        </p:txBody>
      </p:sp>
      <p:graphicFrame>
        <p:nvGraphicFramePr>
          <p:cNvPr id="6" name="Objeto 5" hidden="1">
            <a:extLst>
              <a:ext uri="{FF2B5EF4-FFF2-40B4-BE49-F238E27FC236}">
                <a16:creationId xmlns:a16="http://schemas.microsoft.com/office/drawing/2014/main" id="{CACA4D61-F04B-42E7-2D40-8921075DC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6" name="Objeto 5" hidden="1">
                        <a:extLst>
                          <a:ext uri="{FF2B5EF4-FFF2-40B4-BE49-F238E27FC236}">
                            <a16:creationId xmlns:a16="http://schemas.microsoft.com/office/drawing/2014/main" id="{CACA4D61-F04B-42E7-2D40-8921075DCB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A889A8D-C759-4AFA-51E1-2F2D342A129A}"/>
              </a:ext>
            </a:extLst>
          </p:cNvPr>
          <p:cNvSpPr>
            <a:spLocks noGrp="1"/>
          </p:cNvSpPr>
          <p:nvPr>
            <p:ph type="title"/>
          </p:nvPr>
        </p:nvSpPr>
        <p:spPr/>
        <p:txBody>
          <a:bodyPr vert="horz"/>
          <a:lstStyle/>
          <a:p>
            <a:r>
              <a:rPr lang="en-US"/>
              <a:t>Categories of Variables: Trend Indicators</a:t>
            </a:r>
          </a:p>
        </p:txBody>
      </p:sp>
      <p:pic>
        <p:nvPicPr>
          <p:cNvPr id="288" name="Picture 2">
            <a:extLst>
              <a:ext uri="{FF2B5EF4-FFF2-40B4-BE49-F238E27FC236}">
                <a16:creationId xmlns:a16="http://schemas.microsoft.com/office/drawing/2014/main" id="{BFE21568-8B6C-4ADB-A950-5872FA7D7B10}"/>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320" name="Marcador de texto 7">
            <a:hlinkClick r:id="rId7"/>
            <a:extLst>
              <a:ext uri="{FF2B5EF4-FFF2-40B4-BE49-F238E27FC236}">
                <a16:creationId xmlns:a16="http://schemas.microsoft.com/office/drawing/2014/main" id="{8FF08C60-994E-49E9-89B3-5F9CB665D1A8}"/>
              </a:ext>
            </a:extLst>
          </p:cNvPr>
          <p:cNvSpPr txBox="1">
            <a:spLocks/>
          </p:cNvSpPr>
          <p:nvPr/>
        </p:nvSpPr>
        <p:spPr>
          <a:xfrm>
            <a:off x="391980" y="1285232"/>
            <a:ext cx="11420475" cy="711263"/>
          </a:xfrm>
          <a:prstGeom prst="rect">
            <a:avLst/>
          </a:prstGeom>
          <a:solidFill>
            <a:schemeClr val="bg1">
              <a:lumMod val="95000"/>
            </a:schemeClr>
          </a:solidFill>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1200" dirty="0">
                <a:solidFill>
                  <a:srgbClr val="000000"/>
                </a:solidFill>
              </a:rPr>
              <a:t>Trend Indicators</a:t>
            </a:r>
            <a:r>
              <a:rPr lang="en-US" sz="1200" b="0" dirty="0">
                <a:solidFill>
                  <a:srgbClr val="000000"/>
                </a:solidFill>
              </a:rPr>
              <a:t>: Mathematical calculations based on historical data that identify the strength and direction of a trend.</a:t>
            </a: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Rectangle 3">
            <a:extLst>
              <a:ext uri="{FF2B5EF4-FFF2-40B4-BE49-F238E27FC236}">
                <a16:creationId xmlns:a16="http://schemas.microsoft.com/office/drawing/2014/main" id="{854EFAB3-A54B-C40D-468F-17156FE9ACB8}"/>
              </a:ext>
            </a:extLst>
          </p:cNvPr>
          <p:cNvSpPr/>
          <p:nvPr/>
        </p:nvSpPr>
        <p:spPr>
          <a:xfrm>
            <a:off x="121919" y="6400800"/>
            <a:ext cx="1850315"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sp>
        <p:nvSpPr>
          <p:cNvPr id="16" name="Rectangle 55">
            <a:extLst>
              <a:ext uri="{FF2B5EF4-FFF2-40B4-BE49-F238E27FC236}">
                <a16:creationId xmlns:a16="http://schemas.microsoft.com/office/drawing/2014/main" id="{97D62C23-DD38-DFD8-C04A-91C3E2422705}"/>
              </a:ext>
            </a:extLst>
          </p:cNvPr>
          <p:cNvSpPr/>
          <p:nvPr/>
        </p:nvSpPr>
        <p:spPr>
          <a:xfrm>
            <a:off x="348725" y="2586959"/>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a:t>
            </a:r>
          </a:p>
        </p:txBody>
      </p:sp>
      <p:sp>
        <p:nvSpPr>
          <p:cNvPr id="17" name="Rectangle 55">
            <a:extLst>
              <a:ext uri="{FF2B5EF4-FFF2-40B4-BE49-F238E27FC236}">
                <a16:creationId xmlns:a16="http://schemas.microsoft.com/office/drawing/2014/main" id="{00030146-5E12-3638-483F-42555FFF6582}"/>
              </a:ext>
            </a:extLst>
          </p:cNvPr>
          <p:cNvSpPr/>
          <p:nvPr/>
        </p:nvSpPr>
        <p:spPr>
          <a:xfrm>
            <a:off x="339847" y="3569901"/>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MA</a:t>
            </a:r>
          </a:p>
        </p:txBody>
      </p:sp>
      <p:sp>
        <p:nvSpPr>
          <p:cNvPr id="18" name="Rectangle 55">
            <a:extLst>
              <a:ext uri="{FF2B5EF4-FFF2-40B4-BE49-F238E27FC236}">
                <a16:creationId xmlns:a16="http://schemas.microsoft.com/office/drawing/2014/main" id="{E3B13AB2-7189-F467-10F9-DD84EA6C1EF6}"/>
              </a:ext>
            </a:extLst>
          </p:cNvPr>
          <p:cNvSpPr/>
          <p:nvPr/>
        </p:nvSpPr>
        <p:spPr>
          <a:xfrm>
            <a:off x="333145" y="4548487"/>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S</a:t>
            </a:r>
            <a:endParaRPr kumimoji="0" lang="en-GB"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TextBox 41">
            <a:extLst>
              <a:ext uri="{FF2B5EF4-FFF2-40B4-BE49-F238E27FC236}">
                <a16:creationId xmlns:a16="http://schemas.microsoft.com/office/drawing/2014/main" id="{7FAD56A6-F918-CD4F-94D0-27ED55C4D6C1}"/>
              </a:ext>
            </a:extLst>
          </p:cNvPr>
          <p:cNvSpPr txBox="1"/>
          <p:nvPr/>
        </p:nvSpPr>
        <p:spPr>
          <a:xfrm>
            <a:off x="6096000" y="5874812"/>
            <a:ext cx="5716454" cy="584775"/>
          </a:xfrm>
          <a:prstGeom prst="rect">
            <a:avLst/>
          </a:prstGeom>
          <a:noFill/>
          <a:ln>
            <a:solidFill>
              <a:srgbClr val="1D9A78"/>
            </a:solidFill>
          </a:ln>
        </p:spPr>
        <p:txBody>
          <a:bodyPr wrap="square" rtlCol="0">
            <a:spAutoFit/>
          </a:bodyPr>
          <a:lstStyle/>
          <a:p>
            <a:pPr algn="ctr"/>
            <a:r>
              <a:rPr lang="en-CA" sz="1600">
                <a:latin typeface="Verdana" panose="020B0604030504040204" pitchFamily="34" charset="0"/>
                <a:ea typeface="Verdana" panose="020B0604030504040204" pitchFamily="34" charset="0"/>
              </a:rPr>
              <a:t>Helps Analyst and Traders to Identify direction and strength of a price movement in the market.</a:t>
            </a:r>
          </a:p>
        </p:txBody>
      </p:sp>
      <p:sp>
        <p:nvSpPr>
          <p:cNvPr id="47" name="TextBox 46">
            <a:extLst>
              <a:ext uri="{FF2B5EF4-FFF2-40B4-BE49-F238E27FC236}">
                <a16:creationId xmlns:a16="http://schemas.microsoft.com/office/drawing/2014/main" id="{60CF5CBB-38E6-A9DA-807A-BC559D403A59}"/>
              </a:ext>
            </a:extLst>
          </p:cNvPr>
          <p:cNvSpPr txBox="1"/>
          <p:nvPr/>
        </p:nvSpPr>
        <p:spPr>
          <a:xfrm>
            <a:off x="6487011" y="2257227"/>
            <a:ext cx="4240404" cy="369332"/>
          </a:xfrm>
          <a:prstGeom prst="rect">
            <a:avLst/>
          </a:prstGeom>
          <a:noFill/>
        </p:spPr>
        <p:txBody>
          <a:bodyPr wrap="square" rtlCol="0">
            <a:spAutoFit/>
          </a:bodyPr>
          <a:lstStyle/>
          <a:p>
            <a:pPr algn="ctr"/>
            <a:r>
              <a:rPr lang="en-CA" b="1" u="sng"/>
              <a:t>CMG Stock Price and Trend Indicators</a:t>
            </a:r>
          </a:p>
        </p:txBody>
      </p:sp>
      <p:sp>
        <p:nvSpPr>
          <p:cNvPr id="48" name="TextBox 47">
            <a:extLst>
              <a:ext uri="{FF2B5EF4-FFF2-40B4-BE49-F238E27FC236}">
                <a16:creationId xmlns:a16="http://schemas.microsoft.com/office/drawing/2014/main" id="{306F8C38-D71D-BEE3-0220-D6094FE69622}"/>
              </a:ext>
            </a:extLst>
          </p:cNvPr>
          <p:cNvSpPr txBox="1"/>
          <p:nvPr/>
        </p:nvSpPr>
        <p:spPr>
          <a:xfrm>
            <a:off x="348725" y="5870625"/>
            <a:ext cx="5619456" cy="584775"/>
          </a:xfrm>
          <a:prstGeom prst="rect">
            <a:avLst/>
          </a:prstGeom>
          <a:noFill/>
          <a:ln>
            <a:solidFill>
              <a:srgbClr val="1D9A78"/>
            </a:solidFill>
          </a:ln>
        </p:spPr>
        <p:txBody>
          <a:bodyPr wrap="square" rtlCol="0">
            <a:spAutoFit/>
          </a:bodyPr>
          <a:lstStyle/>
          <a:p>
            <a:pPr algn="ctr"/>
            <a:r>
              <a:rPr lang="en-CA" sz="1600" dirty="0">
                <a:latin typeface="Verdana" panose="020B0604030504040204" pitchFamily="34" charset="0"/>
                <a:ea typeface="Verdana" panose="020B0604030504040204" pitchFamily="34" charset="0"/>
              </a:rPr>
              <a:t>Trend Strength Calculated as the Ratio of the 50-day EMA to the 100-day EMA.</a:t>
            </a:r>
          </a:p>
        </p:txBody>
      </p:sp>
      <p:sp>
        <p:nvSpPr>
          <p:cNvPr id="5" name="Rectangle 4">
            <a:extLst>
              <a:ext uri="{FF2B5EF4-FFF2-40B4-BE49-F238E27FC236}">
                <a16:creationId xmlns:a16="http://schemas.microsoft.com/office/drawing/2014/main" id="{8F44C46C-42A4-5663-65DE-7575A66F569E}"/>
              </a:ext>
            </a:extLst>
          </p:cNvPr>
          <p:cNvSpPr/>
          <p:nvPr/>
        </p:nvSpPr>
        <p:spPr>
          <a:xfrm>
            <a:off x="3968624" y="2574311"/>
            <a:ext cx="1658453" cy="61000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CA" sz="1400">
                <a:solidFill>
                  <a:srgbClr val="F9F9F9"/>
                </a:solidFill>
                <a:latin typeface="Verdana" panose="020B0604030504040204" pitchFamily="34" charset="0"/>
                <a:ea typeface="Verdana" panose="020B0604030504040204" pitchFamily="34" charset="0"/>
              </a:rPr>
              <a:t>Period Moving Average</a:t>
            </a:r>
          </a:p>
          <a:p>
            <a:pPr algn="ctr"/>
            <a:endParaRPr lang="en-CA" sz="1400">
              <a:latin typeface="Verdana" panose="020B0604030504040204" pitchFamily="34" charset="0"/>
              <a:ea typeface="Verdana" panose="020B0604030504040204" pitchFamily="34" charset="0"/>
            </a:endParaRPr>
          </a:p>
        </p:txBody>
      </p:sp>
      <p:sp>
        <p:nvSpPr>
          <p:cNvPr id="7" name="Rectangle 6">
            <a:extLst>
              <a:ext uri="{FF2B5EF4-FFF2-40B4-BE49-F238E27FC236}">
                <a16:creationId xmlns:a16="http://schemas.microsoft.com/office/drawing/2014/main" id="{2A685457-DB57-942D-CCCE-59A111CB108A}"/>
              </a:ext>
            </a:extLst>
          </p:cNvPr>
          <p:cNvSpPr/>
          <p:nvPr/>
        </p:nvSpPr>
        <p:spPr>
          <a:xfrm>
            <a:off x="1873188" y="2596088"/>
            <a:ext cx="1011190"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Verdana" panose="020B0604030504040204" pitchFamily="34" charset="0"/>
                <a:ea typeface="Verdana" panose="020B0604030504040204" pitchFamily="34" charset="0"/>
              </a:rPr>
              <a:t>MA_100</a:t>
            </a:r>
          </a:p>
        </p:txBody>
      </p:sp>
      <p:sp>
        <p:nvSpPr>
          <p:cNvPr id="8" name="Rectangle 7">
            <a:extLst>
              <a:ext uri="{FF2B5EF4-FFF2-40B4-BE49-F238E27FC236}">
                <a16:creationId xmlns:a16="http://schemas.microsoft.com/office/drawing/2014/main" id="{1B2D92AE-7242-84D7-B1EE-4C01C39D894B}"/>
              </a:ext>
            </a:extLst>
          </p:cNvPr>
          <p:cNvSpPr/>
          <p:nvPr/>
        </p:nvSpPr>
        <p:spPr>
          <a:xfrm>
            <a:off x="2884378" y="2596088"/>
            <a:ext cx="1011190"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MA_200</a:t>
            </a:r>
          </a:p>
        </p:txBody>
      </p:sp>
      <p:sp>
        <p:nvSpPr>
          <p:cNvPr id="9" name="Rectangle 8">
            <a:extLst>
              <a:ext uri="{FF2B5EF4-FFF2-40B4-BE49-F238E27FC236}">
                <a16:creationId xmlns:a16="http://schemas.microsoft.com/office/drawing/2014/main" id="{166AA232-2F97-2A17-5C1A-898B41784AF9}"/>
              </a:ext>
            </a:extLst>
          </p:cNvPr>
          <p:cNvSpPr/>
          <p:nvPr/>
        </p:nvSpPr>
        <p:spPr>
          <a:xfrm>
            <a:off x="994674" y="3559694"/>
            <a:ext cx="1011190"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EMA_50</a:t>
            </a:r>
          </a:p>
        </p:txBody>
      </p:sp>
      <p:sp>
        <p:nvSpPr>
          <p:cNvPr id="10" name="Rectangle 9">
            <a:extLst>
              <a:ext uri="{FF2B5EF4-FFF2-40B4-BE49-F238E27FC236}">
                <a16:creationId xmlns:a16="http://schemas.microsoft.com/office/drawing/2014/main" id="{2B48130D-924E-5FBE-686A-95287014FC96}"/>
              </a:ext>
            </a:extLst>
          </p:cNvPr>
          <p:cNvSpPr/>
          <p:nvPr/>
        </p:nvSpPr>
        <p:spPr>
          <a:xfrm>
            <a:off x="2005864" y="3559694"/>
            <a:ext cx="1083565"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EMA_100</a:t>
            </a:r>
          </a:p>
        </p:txBody>
      </p:sp>
      <p:sp>
        <p:nvSpPr>
          <p:cNvPr id="12" name="Rectangle 11">
            <a:extLst>
              <a:ext uri="{FF2B5EF4-FFF2-40B4-BE49-F238E27FC236}">
                <a16:creationId xmlns:a16="http://schemas.microsoft.com/office/drawing/2014/main" id="{776D3242-0A78-2866-583B-B0F795C28453}"/>
              </a:ext>
            </a:extLst>
          </p:cNvPr>
          <p:cNvSpPr/>
          <p:nvPr/>
        </p:nvSpPr>
        <p:spPr>
          <a:xfrm>
            <a:off x="3187083" y="3552145"/>
            <a:ext cx="2439994" cy="61000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CA" sz="1400">
                <a:solidFill>
                  <a:srgbClr val="F9F9F9"/>
                </a:solidFill>
                <a:latin typeface="Verdana" panose="020B0604030504040204" pitchFamily="34" charset="0"/>
                <a:ea typeface="Verdana" panose="020B0604030504040204" pitchFamily="34" charset="0"/>
              </a:rPr>
              <a:t>Period Exponential Moving Average</a:t>
            </a:r>
          </a:p>
          <a:p>
            <a:pPr algn="ctr"/>
            <a:endParaRPr lang="en-CA" sz="1400">
              <a:latin typeface="Verdana" panose="020B0604030504040204" pitchFamily="34" charset="0"/>
              <a:ea typeface="Verdana" panose="020B0604030504040204" pitchFamily="34" charset="0"/>
            </a:endParaRPr>
          </a:p>
        </p:txBody>
      </p:sp>
      <p:sp>
        <p:nvSpPr>
          <p:cNvPr id="14" name="Rectangle 13">
            <a:extLst>
              <a:ext uri="{FF2B5EF4-FFF2-40B4-BE49-F238E27FC236}">
                <a16:creationId xmlns:a16="http://schemas.microsoft.com/office/drawing/2014/main" id="{5F6254EF-6E4B-AF1C-E8BC-3FB73A2D7598}"/>
              </a:ext>
            </a:extLst>
          </p:cNvPr>
          <p:cNvSpPr/>
          <p:nvPr/>
        </p:nvSpPr>
        <p:spPr>
          <a:xfrm>
            <a:off x="2957796" y="4538922"/>
            <a:ext cx="2669281" cy="580948"/>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rgbClr val="F9F9F9"/>
                </a:solidFill>
                <a:latin typeface="Verdana" panose="020B0604030504040204" pitchFamily="34" charset="0"/>
                <a:ea typeface="Verdana" panose="020B0604030504040204" pitchFamily="34" charset="0"/>
              </a:rPr>
              <a:t>Strength of Trend</a:t>
            </a:r>
            <a:endParaRPr lang="en-CA" sz="1400">
              <a:latin typeface="Verdana" panose="020B0604030504040204" pitchFamily="34" charset="0"/>
              <a:ea typeface="Verdana" panose="020B0604030504040204" pitchFamily="34" charset="0"/>
            </a:endParaRPr>
          </a:p>
        </p:txBody>
      </p:sp>
      <p:pic>
        <p:nvPicPr>
          <p:cNvPr id="26" name="Picture 25" descr="A black background with a black square&#10;&#10;Description automatically generated with medium confidence">
            <a:extLst>
              <a:ext uri="{FF2B5EF4-FFF2-40B4-BE49-F238E27FC236}">
                <a16:creationId xmlns:a16="http://schemas.microsoft.com/office/drawing/2014/main" id="{97664EAD-B07D-EE3D-9212-5CAA1FF20830}"/>
              </a:ext>
            </a:extLst>
          </p:cNvPr>
          <p:cNvPicPr>
            <a:picLocks noChangeAspect="1"/>
          </p:cNvPicPr>
          <p:nvPr/>
        </p:nvPicPr>
        <p:blipFill>
          <a:blip r:embed="rId8"/>
          <a:stretch>
            <a:fillRect/>
          </a:stretch>
        </p:blipFill>
        <p:spPr>
          <a:xfrm>
            <a:off x="391980" y="1374563"/>
            <a:ext cx="610006" cy="610006"/>
          </a:xfrm>
          <a:prstGeom prst="rect">
            <a:avLst/>
          </a:prstGeom>
        </p:spPr>
      </p:pic>
      <p:pic>
        <p:nvPicPr>
          <p:cNvPr id="13" name="Picture 12">
            <a:extLst>
              <a:ext uri="{FF2B5EF4-FFF2-40B4-BE49-F238E27FC236}">
                <a16:creationId xmlns:a16="http://schemas.microsoft.com/office/drawing/2014/main" id="{A6D6F644-4C97-186D-0581-D0084A4367A6}"/>
              </a:ext>
            </a:extLst>
          </p:cNvPr>
          <p:cNvPicPr>
            <a:picLocks noChangeAspect="1"/>
          </p:cNvPicPr>
          <p:nvPr/>
        </p:nvPicPr>
        <p:blipFill>
          <a:blip r:embed="rId9"/>
          <a:stretch>
            <a:fillRect/>
          </a:stretch>
        </p:blipFill>
        <p:spPr>
          <a:xfrm>
            <a:off x="5627077" y="2626559"/>
            <a:ext cx="6177571" cy="3080905"/>
          </a:xfrm>
          <a:prstGeom prst="rect">
            <a:avLst/>
          </a:prstGeom>
        </p:spPr>
      </p:pic>
    </p:spTree>
    <p:extLst>
      <p:ext uri="{BB962C8B-B14F-4D97-AF65-F5344CB8AC3E}">
        <p14:creationId xmlns:p14="http://schemas.microsoft.com/office/powerpoint/2010/main" val="36669171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7">
            <a:hlinkClick r:id="rId4"/>
            <a:extLst>
              <a:ext uri="{FF2B5EF4-FFF2-40B4-BE49-F238E27FC236}">
                <a16:creationId xmlns:a16="http://schemas.microsoft.com/office/drawing/2014/main" id="{3E75D156-641F-A9C9-8843-92D424F32966}"/>
              </a:ext>
            </a:extLst>
          </p:cNvPr>
          <p:cNvSpPr txBox="1">
            <a:spLocks/>
          </p:cNvSpPr>
          <p:nvPr/>
        </p:nvSpPr>
        <p:spPr>
          <a:xfrm>
            <a:off x="391980" y="1285232"/>
            <a:ext cx="11420475" cy="711263"/>
          </a:xfrm>
          <a:prstGeom prst="rect">
            <a:avLst/>
          </a:prstGeom>
          <a:solidFill>
            <a:schemeClr val="bg1">
              <a:lumMod val="95000"/>
            </a:schemeClr>
          </a:solidFill>
          <a:ln>
            <a:solidFill>
              <a:schemeClr val="accent1">
                <a:shade val="15000"/>
              </a:schemeClr>
            </a:solidFill>
            <a:prstDash val="dash"/>
          </a:ln>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1200" dirty="0">
                <a:solidFill>
                  <a:srgbClr val="000000"/>
                </a:solidFill>
              </a:rPr>
              <a:t>Time Series Decomposition</a:t>
            </a:r>
            <a:r>
              <a:rPr lang="en-US" sz="1200" b="0" dirty="0">
                <a:solidFill>
                  <a:srgbClr val="000000"/>
                </a:solidFill>
              </a:rPr>
              <a:t>: Technique used to break down a time series into constituent components, typically including trend, seasonal, and residual components. </a:t>
            </a: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6" name="Objeto 5" hidden="1">
            <a:extLst>
              <a:ext uri="{FF2B5EF4-FFF2-40B4-BE49-F238E27FC236}">
                <a16:creationId xmlns:a16="http://schemas.microsoft.com/office/drawing/2014/main" id="{CACA4D61-F04B-42E7-2D40-8921075DC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6" name="Objeto 5" hidden="1">
                        <a:extLst>
                          <a:ext uri="{FF2B5EF4-FFF2-40B4-BE49-F238E27FC236}">
                            <a16:creationId xmlns:a16="http://schemas.microsoft.com/office/drawing/2014/main" id="{CACA4D61-F04B-42E7-2D40-8921075DCB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A889A8D-C759-4AFA-51E1-2F2D342A129A}"/>
              </a:ext>
            </a:extLst>
          </p:cNvPr>
          <p:cNvSpPr>
            <a:spLocks noGrp="1"/>
          </p:cNvSpPr>
          <p:nvPr>
            <p:ph type="title"/>
          </p:nvPr>
        </p:nvSpPr>
        <p:spPr/>
        <p:txBody>
          <a:bodyPr vert="horz"/>
          <a:lstStyle/>
          <a:p>
            <a:r>
              <a:rPr lang="en-US"/>
              <a:t>Categories of Variables: Seasonal Components</a:t>
            </a:r>
          </a:p>
        </p:txBody>
      </p:sp>
      <p:graphicFrame>
        <p:nvGraphicFramePr>
          <p:cNvPr id="22" name="Diagram 21">
            <a:extLst>
              <a:ext uri="{FF2B5EF4-FFF2-40B4-BE49-F238E27FC236}">
                <a16:creationId xmlns:a16="http://schemas.microsoft.com/office/drawing/2014/main" id="{C6FA7420-15AE-B10B-12A8-181FDBA39972}"/>
              </a:ext>
            </a:extLst>
          </p:cNvPr>
          <p:cNvGraphicFramePr/>
          <p:nvPr>
            <p:extLst>
              <p:ext uri="{D42A27DB-BD31-4B8C-83A1-F6EECF244321}">
                <p14:modId xmlns:p14="http://schemas.microsoft.com/office/powerpoint/2010/main" val="1930029454"/>
              </p:ext>
            </p:extLst>
          </p:nvPr>
        </p:nvGraphicFramePr>
        <p:xfrm>
          <a:off x="165750" y="2281561"/>
          <a:ext cx="6652267" cy="41954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9" name="Picture 8" descr="A black background with a black square&#10;&#10;Description automatically generated with medium confidence">
            <a:extLst>
              <a:ext uri="{FF2B5EF4-FFF2-40B4-BE49-F238E27FC236}">
                <a16:creationId xmlns:a16="http://schemas.microsoft.com/office/drawing/2014/main" id="{697A93DC-90D5-83ED-FC7A-81ECFDF028CD}"/>
              </a:ext>
            </a:extLst>
          </p:cNvPr>
          <p:cNvPicPr>
            <a:picLocks noChangeAspect="1"/>
          </p:cNvPicPr>
          <p:nvPr/>
        </p:nvPicPr>
        <p:blipFill>
          <a:blip r:embed="rId12"/>
          <a:stretch>
            <a:fillRect/>
          </a:stretch>
        </p:blipFill>
        <p:spPr>
          <a:xfrm>
            <a:off x="379545" y="1363986"/>
            <a:ext cx="632509" cy="632509"/>
          </a:xfrm>
          <a:prstGeom prst="rect">
            <a:avLst/>
          </a:prstGeom>
        </p:spPr>
      </p:pic>
      <p:sp>
        <p:nvSpPr>
          <p:cNvPr id="12" name="TextBox 11">
            <a:extLst>
              <a:ext uri="{FF2B5EF4-FFF2-40B4-BE49-F238E27FC236}">
                <a16:creationId xmlns:a16="http://schemas.microsoft.com/office/drawing/2014/main" id="{E054011A-D3F9-7A72-6151-4F074DA370DE}"/>
              </a:ext>
            </a:extLst>
          </p:cNvPr>
          <p:cNvSpPr txBox="1"/>
          <p:nvPr/>
        </p:nvSpPr>
        <p:spPr>
          <a:xfrm>
            <a:off x="6682155" y="2414952"/>
            <a:ext cx="5130300" cy="369332"/>
          </a:xfrm>
          <a:prstGeom prst="rect">
            <a:avLst/>
          </a:prstGeom>
          <a:noFill/>
        </p:spPr>
        <p:txBody>
          <a:bodyPr wrap="square" rtlCol="0">
            <a:spAutoFit/>
          </a:bodyPr>
          <a:lstStyle/>
          <a:p>
            <a:pPr algn="ctr"/>
            <a:r>
              <a:rPr lang="en-CA" b="1" u="sng"/>
              <a:t>Seasonal Components of CMG and EL</a:t>
            </a:r>
          </a:p>
        </p:txBody>
      </p:sp>
      <p:pic>
        <p:nvPicPr>
          <p:cNvPr id="14" name="Picture 13">
            <a:extLst>
              <a:ext uri="{FF2B5EF4-FFF2-40B4-BE49-F238E27FC236}">
                <a16:creationId xmlns:a16="http://schemas.microsoft.com/office/drawing/2014/main" id="{8DF54324-0823-1B78-42F0-1FC2420ED9B4}"/>
              </a:ext>
            </a:extLst>
          </p:cNvPr>
          <p:cNvPicPr>
            <a:picLocks noChangeAspect="1"/>
          </p:cNvPicPr>
          <p:nvPr/>
        </p:nvPicPr>
        <p:blipFill>
          <a:blip r:embed="rId13"/>
          <a:stretch>
            <a:fillRect/>
          </a:stretch>
        </p:blipFill>
        <p:spPr>
          <a:xfrm>
            <a:off x="6682155" y="2784284"/>
            <a:ext cx="5130300" cy="3556226"/>
          </a:xfrm>
          <a:prstGeom prst="rect">
            <a:avLst/>
          </a:prstGeom>
        </p:spPr>
      </p:pic>
    </p:spTree>
    <p:extLst>
      <p:ext uri="{BB962C8B-B14F-4D97-AF65-F5344CB8AC3E}">
        <p14:creationId xmlns:p14="http://schemas.microsoft.com/office/powerpoint/2010/main" val="537899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D3A72277-84C6-DB0A-DB4D-CC35EAE52CE3}"/>
              </a:ext>
            </a:extLst>
          </p:cNvPr>
          <p:cNvSpPr/>
          <p:nvPr/>
        </p:nvSpPr>
        <p:spPr>
          <a:xfrm>
            <a:off x="2846220" y="2341939"/>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Rectangle 27">
            <a:extLst>
              <a:ext uri="{FF2B5EF4-FFF2-40B4-BE49-F238E27FC236}">
                <a16:creationId xmlns:a16="http://schemas.microsoft.com/office/drawing/2014/main" id="{AE1BDDD3-4B5D-C8A5-E955-F825C1A1D662}"/>
              </a:ext>
            </a:extLst>
          </p:cNvPr>
          <p:cNvSpPr/>
          <p:nvPr/>
        </p:nvSpPr>
        <p:spPr>
          <a:xfrm>
            <a:off x="978210" y="3185567"/>
            <a:ext cx="1724483"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Rectangle 28">
            <a:extLst>
              <a:ext uri="{FF2B5EF4-FFF2-40B4-BE49-F238E27FC236}">
                <a16:creationId xmlns:a16="http://schemas.microsoft.com/office/drawing/2014/main" id="{97EEC2F6-17FA-B050-6833-D8E6B3D0B9FE}"/>
              </a:ext>
            </a:extLst>
          </p:cNvPr>
          <p:cNvSpPr/>
          <p:nvPr/>
        </p:nvSpPr>
        <p:spPr>
          <a:xfrm>
            <a:off x="976932" y="4052608"/>
            <a:ext cx="1724483"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Rectangle 29">
            <a:extLst>
              <a:ext uri="{FF2B5EF4-FFF2-40B4-BE49-F238E27FC236}">
                <a16:creationId xmlns:a16="http://schemas.microsoft.com/office/drawing/2014/main" id="{6E1C51F4-85D2-D55A-A5F2-F114CB6ADE6E}"/>
              </a:ext>
            </a:extLst>
          </p:cNvPr>
          <p:cNvSpPr/>
          <p:nvPr/>
        </p:nvSpPr>
        <p:spPr>
          <a:xfrm>
            <a:off x="979488" y="4937440"/>
            <a:ext cx="1724483"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400">
              <a:latin typeface="Verdana" panose="020B0604030504040204" pitchFamily="34" charset="0"/>
              <a:ea typeface="Verdana" panose="020B0604030504040204" pitchFamily="34" charset="0"/>
            </a:endParaRPr>
          </a:p>
        </p:txBody>
      </p:sp>
      <p:sp>
        <p:nvSpPr>
          <p:cNvPr id="24" name="Rectangle 23">
            <a:extLst>
              <a:ext uri="{FF2B5EF4-FFF2-40B4-BE49-F238E27FC236}">
                <a16:creationId xmlns:a16="http://schemas.microsoft.com/office/drawing/2014/main" id="{63517FA4-96ED-E318-F94F-90BA55FFD371}"/>
              </a:ext>
            </a:extLst>
          </p:cNvPr>
          <p:cNvSpPr/>
          <p:nvPr/>
        </p:nvSpPr>
        <p:spPr>
          <a:xfrm>
            <a:off x="980766" y="2341939"/>
            <a:ext cx="1724483"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6" name="Objeto 5" hidden="1">
            <a:extLst>
              <a:ext uri="{FF2B5EF4-FFF2-40B4-BE49-F238E27FC236}">
                <a16:creationId xmlns:a16="http://schemas.microsoft.com/office/drawing/2014/main" id="{CACA4D61-F04B-42E7-2D40-8921075DC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6" name="Objeto 5" hidden="1">
                        <a:extLst>
                          <a:ext uri="{FF2B5EF4-FFF2-40B4-BE49-F238E27FC236}">
                            <a16:creationId xmlns:a16="http://schemas.microsoft.com/office/drawing/2014/main" id="{CACA4D61-F04B-42E7-2D40-8921075DCB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A889A8D-C759-4AFA-51E1-2F2D342A129A}"/>
              </a:ext>
            </a:extLst>
          </p:cNvPr>
          <p:cNvSpPr>
            <a:spLocks noGrp="1"/>
          </p:cNvSpPr>
          <p:nvPr>
            <p:ph type="title"/>
          </p:nvPr>
        </p:nvSpPr>
        <p:spPr>
          <a:xfrm>
            <a:off x="384174" y="381000"/>
            <a:ext cx="11420475" cy="485775"/>
          </a:xfrm>
        </p:spPr>
        <p:txBody>
          <a:bodyPr vert="horz"/>
          <a:lstStyle/>
          <a:p>
            <a:r>
              <a:rPr lang="en-US" dirty="0"/>
              <a:t>Categories of Variables: Lagged Moving Averages </a:t>
            </a:r>
          </a:p>
        </p:txBody>
      </p:sp>
      <p:pic>
        <p:nvPicPr>
          <p:cNvPr id="288" name="Picture 2">
            <a:extLst>
              <a:ext uri="{FF2B5EF4-FFF2-40B4-BE49-F238E27FC236}">
                <a16:creationId xmlns:a16="http://schemas.microsoft.com/office/drawing/2014/main" id="{BFE21568-8B6C-4ADB-A950-5872FA7D7B10}"/>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1980" y="6480794"/>
            <a:ext cx="851635" cy="240680"/>
          </a:xfrm>
          <a:prstGeom prst="rect">
            <a:avLst/>
          </a:prstGeom>
          <a:noFill/>
          <a:extLst>
            <a:ext uri="{909E8E84-426E-40DD-AFC4-6F175D3DCCD1}">
              <a14:hiddenFill xmlns:a14="http://schemas.microsoft.com/office/drawing/2010/main">
                <a:solidFill>
                  <a:srgbClr val="FFFFFF"/>
                </a:solidFill>
              </a14:hiddenFill>
            </a:ext>
          </a:extLst>
        </p:spPr>
      </p:pic>
      <p:sp>
        <p:nvSpPr>
          <p:cNvPr id="320" name="Marcador de texto 7">
            <a:hlinkClick r:id="rId7"/>
            <a:extLst>
              <a:ext uri="{FF2B5EF4-FFF2-40B4-BE49-F238E27FC236}">
                <a16:creationId xmlns:a16="http://schemas.microsoft.com/office/drawing/2014/main" id="{8FF08C60-994E-49E9-89B3-5F9CB665D1A8}"/>
              </a:ext>
            </a:extLst>
          </p:cNvPr>
          <p:cNvSpPr txBox="1">
            <a:spLocks/>
          </p:cNvSpPr>
          <p:nvPr/>
        </p:nvSpPr>
        <p:spPr>
          <a:xfrm>
            <a:off x="391980" y="1285232"/>
            <a:ext cx="11420475" cy="711263"/>
          </a:xfrm>
          <a:prstGeom prst="rect">
            <a:avLst/>
          </a:prstGeom>
          <a:solidFill>
            <a:schemeClr val="bg1">
              <a:lumMod val="95000"/>
            </a:schemeClr>
          </a:solidFill>
          <a:ln>
            <a:solidFill>
              <a:schemeClr val="accent1">
                <a:shade val="15000"/>
              </a:schemeClr>
            </a:solidFill>
            <a:prstDash val="dash"/>
          </a:ln>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1200" dirty="0">
                <a:solidFill>
                  <a:srgbClr val="000000"/>
                </a:solidFill>
              </a:rPr>
              <a:t>Lagged Moving Averages</a:t>
            </a:r>
            <a:r>
              <a:rPr lang="en-US" sz="1200" b="0" dirty="0">
                <a:solidFill>
                  <a:srgbClr val="000000"/>
                </a:solidFill>
              </a:rPr>
              <a:t>: Incorporate past data points to smooth out short-term fluctuations and highlight longer-term trends</a:t>
            </a: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Rectangle 3">
            <a:extLst>
              <a:ext uri="{FF2B5EF4-FFF2-40B4-BE49-F238E27FC236}">
                <a16:creationId xmlns:a16="http://schemas.microsoft.com/office/drawing/2014/main" id="{854EFAB3-A54B-C40D-468F-17156FE9ACB8}"/>
              </a:ext>
            </a:extLst>
          </p:cNvPr>
          <p:cNvSpPr/>
          <p:nvPr/>
        </p:nvSpPr>
        <p:spPr>
          <a:xfrm>
            <a:off x="121919" y="6400800"/>
            <a:ext cx="1850315" cy="4038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pic>
        <p:nvPicPr>
          <p:cNvPr id="15" name="Picture 14" descr="A black background with a black square&#10;&#10;Description automatically generated with medium confidence">
            <a:extLst>
              <a:ext uri="{FF2B5EF4-FFF2-40B4-BE49-F238E27FC236}">
                <a16:creationId xmlns:a16="http://schemas.microsoft.com/office/drawing/2014/main" id="{441DC61F-2BF9-B4A0-5263-E98CCC4B7925}"/>
              </a:ext>
            </a:extLst>
          </p:cNvPr>
          <p:cNvPicPr>
            <a:picLocks noChangeAspect="1"/>
          </p:cNvPicPr>
          <p:nvPr/>
        </p:nvPicPr>
        <p:blipFill>
          <a:blip r:embed="rId8"/>
          <a:stretch>
            <a:fillRect/>
          </a:stretch>
        </p:blipFill>
        <p:spPr>
          <a:xfrm>
            <a:off x="391980" y="1331212"/>
            <a:ext cx="588786" cy="588786"/>
          </a:xfrm>
          <a:prstGeom prst="rect">
            <a:avLst/>
          </a:prstGeom>
        </p:spPr>
      </p:pic>
      <p:sp>
        <p:nvSpPr>
          <p:cNvPr id="16" name="Rectangle 55">
            <a:extLst>
              <a:ext uri="{FF2B5EF4-FFF2-40B4-BE49-F238E27FC236}">
                <a16:creationId xmlns:a16="http://schemas.microsoft.com/office/drawing/2014/main" id="{97D62C23-DD38-DFD8-C04A-91C3E2422705}"/>
              </a:ext>
            </a:extLst>
          </p:cNvPr>
          <p:cNvSpPr/>
          <p:nvPr/>
        </p:nvSpPr>
        <p:spPr>
          <a:xfrm>
            <a:off x="348725" y="2341939"/>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7" name="Rectangle 55">
            <a:extLst>
              <a:ext uri="{FF2B5EF4-FFF2-40B4-BE49-F238E27FC236}">
                <a16:creationId xmlns:a16="http://schemas.microsoft.com/office/drawing/2014/main" id="{00030146-5E12-3638-483F-42555FFF6582}"/>
              </a:ext>
            </a:extLst>
          </p:cNvPr>
          <p:cNvSpPr/>
          <p:nvPr/>
        </p:nvSpPr>
        <p:spPr>
          <a:xfrm>
            <a:off x="348725" y="3207293"/>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8" name="Rectangle 55">
            <a:extLst>
              <a:ext uri="{FF2B5EF4-FFF2-40B4-BE49-F238E27FC236}">
                <a16:creationId xmlns:a16="http://schemas.microsoft.com/office/drawing/2014/main" id="{E3B13AB2-7189-F467-10F9-DD84EA6C1EF6}"/>
              </a:ext>
            </a:extLst>
          </p:cNvPr>
          <p:cNvSpPr/>
          <p:nvPr/>
        </p:nvSpPr>
        <p:spPr>
          <a:xfrm>
            <a:off x="348725" y="4066950"/>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9" name="Rectangle 55">
            <a:extLst>
              <a:ext uri="{FF2B5EF4-FFF2-40B4-BE49-F238E27FC236}">
                <a16:creationId xmlns:a16="http://schemas.microsoft.com/office/drawing/2014/main" id="{35C5409F-54DC-550B-005A-CEE235A983D4}"/>
              </a:ext>
            </a:extLst>
          </p:cNvPr>
          <p:cNvSpPr/>
          <p:nvPr/>
        </p:nvSpPr>
        <p:spPr>
          <a:xfrm>
            <a:off x="348725" y="4938002"/>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p>
        </p:txBody>
      </p:sp>
      <p:sp>
        <p:nvSpPr>
          <p:cNvPr id="20" name="TextBox 19">
            <a:extLst>
              <a:ext uri="{FF2B5EF4-FFF2-40B4-BE49-F238E27FC236}">
                <a16:creationId xmlns:a16="http://schemas.microsoft.com/office/drawing/2014/main" id="{1D8829D1-3DB3-A8F5-8BC6-D8FB0C144BA8}"/>
              </a:ext>
            </a:extLst>
          </p:cNvPr>
          <p:cNvSpPr txBox="1"/>
          <p:nvPr/>
        </p:nvSpPr>
        <p:spPr>
          <a:xfrm>
            <a:off x="980766" y="2462816"/>
            <a:ext cx="1587640" cy="307777"/>
          </a:xfrm>
          <a:prstGeom prst="rect">
            <a:avLst/>
          </a:prstGeom>
          <a:noFill/>
        </p:spPr>
        <p:txBody>
          <a:bodyPr wrap="square" rtlCol="0">
            <a:spAutoFit/>
          </a:bodyPr>
          <a:lstStyle/>
          <a:p>
            <a:pPr algn="ctr"/>
            <a:r>
              <a:rPr lang="en-CA" sz="1400" dirty="0">
                <a:latin typeface="Verdana" panose="020B0604030504040204" pitchFamily="34" charset="0"/>
                <a:ea typeface="Verdana" panose="020B0604030504040204" pitchFamily="34" charset="0"/>
              </a:rPr>
              <a:t>Lag_MA_5</a:t>
            </a:r>
          </a:p>
        </p:txBody>
      </p:sp>
      <p:sp>
        <p:nvSpPr>
          <p:cNvPr id="21" name="TextBox 20">
            <a:extLst>
              <a:ext uri="{FF2B5EF4-FFF2-40B4-BE49-F238E27FC236}">
                <a16:creationId xmlns:a16="http://schemas.microsoft.com/office/drawing/2014/main" id="{8BD7AEB7-67FE-574A-AC15-AD9E8C219504}"/>
              </a:ext>
            </a:extLst>
          </p:cNvPr>
          <p:cNvSpPr txBox="1"/>
          <p:nvPr/>
        </p:nvSpPr>
        <p:spPr>
          <a:xfrm>
            <a:off x="980766" y="3335874"/>
            <a:ext cx="1587640" cy="307777"/>
          </a:xfrm>
          <a:prstGeom prst="rect">
            <a:avLst/>
          </a:prstGeom>
          <a:noFill/>
        </p:spPr>
        <p:txBody>
          <a:bodyPr wrap="square" rtlCol="0">
            <a:spAutoFit/>
          </a:bodyPr>
          <a:lstStyle/>
          <a:p>
            <a:pPr algn="ctr"/>
            <a:r>
              <a:rPr lang="en-CA" sz="1400">
                <a:latin typeface="Verdana" panose="020B0604030504040204" pitchFamily="34" charset="0"/>
                <a:ea typeface="Verdana" panose="020B0604030504040204" pitchFamily="34" charset="0"/>
              </a:rPr>
              <a:t>Lag_MA_10</a:t>
            </a:r>
          </a:p>
        </p:txBody>
      </p:sp>
      <p:sp>
        <p:nvSpPr>
          <p:cNvPr id="22" name="TextBox 21">
            <a:extLst>
              <a:ext uri="{FF2B5EF4-FFF2-40B4-BE49-F238E27FC236}">
                <a16:creationId xmlns:a16="http://schemas.microsoft.com/office/drawing/2014/main" id="{F46F68D7-B917-D8A6-BD1B-B41FC63084A6}"/>
              </a:ext>
            </a:extLst>
          </p:cNvPr>
          <p:cNvSpPr txBox="1"/>
          <p:nvPr/>
        </p:nvSpPr>
        <p:spPr>
          <a:xfrm>
            <a:off x="980766" y="4208932"/>
            <a:ext cx="1587640" cy="307777"/>
          </a:xfrm>
          <a:prstGeom prst="rect">
            <a:avLst/>
          </a:prstGeom>
          <a:noFill/>
        </p:spPr>
        <p:txBody>
          <a:bodyPr wrap="square" rtlCol="0">
            <a:spAutoFit/>
          </a:bodyPr>
          <a:lstStyle/>
          <a:p>
            <a:pPr algn="ctr"/>
            <a:r>
              <a:rPr lang="en-CA" sz="1400">
                <a:latin typeface="Verdana" panose="020B0604030504040204" pitchFamily="34" charset="0"/>
                <a:ea typeface="Verdana" panose="020B0604030504040204" pitchFamily="34" charset="0"/>
              </a:rPr>
              <a:t>Lag_MA_15</a:t>
            </a:r>
          </a:p>
        </p:txBody>
      </p:sp>
      <p:sp>
        <p:nvSpPr>
          <p:cNvPr id="23" name="TextBox 22">
            <a:extLst>
              <a:ext uri="{FF2B5EF4-FFF2-40B4-BE49-F238E27FC236}">
                <a16:creationId xmlns:a16="http://schemas.microsoft.com/office/drawing/2014/main" id="{0BF2BB63-6323-41A9-BC0A-0B70BC4E7363}"/>
              </a:ext>
            </a:extLst>
          </p:cNvPr>
          <p:cNvSpPr txBox="1"/>
          <p:nvPr/>
        </p:nvSpPr>
        <p:spPr>
          <a:xfrm>
            <a:off x="980766" y="5081989"/>
            <a:ext cx="1587640" cy="307777"/>
          </a:xfrm>
          <a:prstGeom prst="rect">
            <a:avLst/>
          </a:prstGeom>
          <a:noFill/>
        </p:spPr>
        <p:txBody>
          <a:bodyPr wrap="square" rtlCol="0">
            <a:spAutoFit/>
          </a:bodyPr>
          <a:lstStyle/>
          <a:p>
            <a:pPr algn="ctr"/>
            <a:r>
              <a:rPr lang="en-CA" sz="1400">
                <a:latin typeface="Verdana" panose="020B0604030504040204" pitchFamily="34" charset="0"/>
                <a:ea typeface="Verdana" panose="020B0604030504040204" pitchFamily="34" charset="0"/>
              </a:rPr>
              <a:t>Lag_MA_20</a:t>
            </a:r>
          </a:p>
        </p:txBody>
      </p:sp>
      <p:sp>
        <p:nvSpPr>
          <p:cNvPr id="32" name="TextBox 31">
            <a:extLst>
              <a:ext uri="{FF2B5EF4-FFF2-40B4-BE49-F238E27FC236}">
                <a16:creationId xmlns:a16="http://schemas.microsoft.com/office/drawing/2014/main" id="{EFD1AB5A-D2A5-5E97-0AE9-1E1A31B04D41}"/>
              </a:ext>
            </a:extLst>
          </p:cNvPr>
          <p:cNvSpPr txBox="1"/>
          <p:nvPr/>
        </p:nvSpPr>
        <p:spPr>
          <a:xfrm>
            <a:off x="2846219" y="2470553"/>
            <a:ext cx="2612571" cy="307777"/>
          </a:xfrm>
          <a:prstGeom prst="rect">
            <a:avLst/>
          </a:prstGeom>
          <a:noFill/>
        </p:spPr>
        <p:txBody>
          <a:bodyPr wrap="square" rtlCol="0">
            <a:spAutoFit/>
          </a:bodyPr>
          <a:lstStyle/>
          <a:p>
            <a:r>
              <a:rPr lang="en-CA" sz="1400" dirty="0">
                <a:solidFill>
                  <a:srgbClr val="F9F9F9"/>
                </a:solidFill>
                <a:latin typeface="Verdana" panose="020B0604030504040204" pitchFamily="34" charset="0"/>
                <a:ea typeface="Verdana" panose="020B0604030504040204" pitchFamily="34" charset="0"/>
              </a:rPr>
              <a:t>5 Period Moving Average</a:t>
            </a:r>
          </a:p>
        </p:txBody>
      </p:sp>
      <p:sp>
        <p:nvSpPr>
          <p:cNvPr id="34" name="Rectangle 33">
            <a:extLst>
              <a:ext uri="{FF2B5EF4-FFF2-40B4-BE49-F238E27FC236}">
                <a16:creationId xmlns:a16="http://schemas.microsoft.com/office/drawing/2014/main" id="{E7D67EA4-7809-C385-FB12-128ED144F41C}"/>
              </a:ext>
            </a:extLst>
          </p:cNvPr>
          <p:cNvSpPr/>
          <p:nvPr/>
        </p:nvSpPr>
        <p:spPr>
          <a:xfrm>
            <a:off x="2846220" y="3202917"/>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TextBox 34">
            <a:extLst>
              <a:ext uri="{FF2B5EF4-FFF2-40B4-BE49-F238E27FC236}">
                <a16:creationId xmlns:a16="http://schemas.microsoft.com/office/drawing/2014/main" id="{5E22B58C-AC19-FE49-3A53-7D73FF077D28}"/>
              </a:ext>
            </a:extLst>
          </p:cNvPr>
          <p:cNvSpPr txBox="1"/>
          <p:nvPr/>
        </p:nvSpPr>
        <p:spPr>
          <a:xfrm>
            <a:off x="2846219" y="3306344"/>
            <a:ext cx="2831100" cy="307777"/>
          </a:xfrm>
          <a:prstGeom prst="rect">
            <a:avLst/>
          </a:prstGeom>
          <a:noFill/>
        </p:spPr>
        <p:txBody>
          <a:bodyPr wrap="square" rtlCol="0">
            <a:spAutoFit/>
          </a:bodyPr>
          <a:lstStyle/>
          <a:p>
            <a:r>
              <a:rPr lang="en-CA" sz="1400">
                <a:solidFill>
                  <a:srgbClr val="F9F9F9"/>
                </a:solidFill>
                <a:latin typeface="Verdana" panose="020B0604030504040204" pitchFamily="34" charset="0"/>
                <a:ea typeface="Verdana" panose="020B0604030504040204" pitchFamily="34" charset="0"/>
              </a:rPr>
              <a:t>10 Period Moving Average</a:t>
            </a:r>
          </a:p>
        </p:txBody>
      </p:sp>
      <p:sp>
        <p:nvSpPr>
          <p:cNvPr id="36" name="Rectangle 35">
            <a:extLst>
              <a:ext uri="{FF2B5EF4-FFF2-40B4-BE49-F238E27FC236}">
                <a16:creationId xmlns:a16="http://schemas.microsoft.com/office/drawing/2014/main" id="{7F7DEB1E-2772-17B8-5A6F-31B994585621}"/>
              </a:ext>
            </a:extLst>
          </p:cNvPr>
          <p:cNvSpPr/>
          <p:nvPr/>
        </p:nvSpPr>
        <p:spPr>
          <a:xfrm>
            <a:off x="2846220" y="4063895"/>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TextBox 36">
            <a:extLst>
              <a:ext uri="{FF2B5EF4-FFF2-40B4-BE49-F238E27FC236}">
                <a16:creationId xmlns:a16="http://schemas.microsoft.com/office/drawing/2014/main" id="{98E31E5B-4CEF-ECFB-F7ED-958FEFD45AEC}"/>
              </a:ext>
            </a:extLst>
          </p:cNvPr>
          <p:cNvSpPr txBox="1"/>
          <p:nvPr/>
        </p:nvSpPr>
        <p:spPr>
          <a:xfrm>
            <a:off x="2846219" y="4184819"/>
            <a:ext cx="2831100" cy="307777"/>
          </a:xfrm>
          <a:prstGeom prst="rect">
            <a:avLst/>
          </a:prstGeom>
          <a:noFill/>
        </p:spPr>
        <p:txBody>
          <a:bodyPr wrap="square" rtlCol="0">
            <a:spAutoFit/>
          </a:bodyPr>
          <a:lstStyle/>
          <a:p>
            <a:r>
              <a:rPr lang="en-CA" sz="1400">
                <a:solidFill>
                  <a:srgbClr val="F9F9F9"/>
                </a:solidFill>
                <a:latin typeface="Verdana" panose="020B0604030504040204" pitchFamily="34" charset="0"/>
                <a:ea typeface="Verdana" panose="020B0604030504040204" pitchFamily="34" charset="0"/>
              </a:rPr>
              <a:t>15 Period Moving Average</a:t>
            </a:r>
          </a:p>
        </p:txBody>
      </p:sp>
      <p:sp>
        <p:nvSpPr>
          <p:cNvPr id="38" name="Rectangle 37">
            <a:extLst>
              <a:ext uri="{FF2B5EF4-FFF2-40B4-BE49-F238E27FC236}">
                <a16:creationId xmlns:a16="http://schemas.microsoft.com/office/drawing/2014/main" id="{D8914BF8-A108-2188-6666-CDAD5B0BB382}"/>
              </a:ext>
            </a:extLst>
          </p:cNvPr>
          <p:cNvSpPr/>
          <p:nvPr/>
        </p:nvSpPr>
        <p:spPr>
          <a:xfrm>
            <a:off x="2846220" y="4924874"/>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9" name="TextBox 38">
            <a:extLst>
              <a:ext uri="{FF2B5EF4-FFF2-40B4-BE49-F238E27FC236}">
                <a16:creationId xmlns:a16="http://schemas.microsoft.com/office/drawing/2014/main" id="{B5583952-6911-F970-CC06-A06E89745590}"/>
              </a:ext>
            </a:extLst>
          </p:cNvPr>
          <p:cNvSpPr txBox="1"/>
          <p:nvPr/>
        </p:nvSpPr>
        <p:spPr>
          <a:xfrm>
            <a:off x="2846219" y="5053488"/>
            <a:ext cx="2831100" cy="307777"/>
          </a:xfrm>
          <a:prstGeom prst="rect">
            <a:avLst/>
          </a:prstGeom>
          <a:noFill/>
        </p:spPr>
        <p:txBody>
          <a:bodyPr wrap="square" rtlCol="0">
            <a:spAutoFit/>
          </a:bodyPr>
          <a:lstStyle/>
          <a:p>
            <a:r>
              <a:rPr lang="en-CA" sz="1400">
                <a:solidFill>
                  <a:srgbClr val="F9F9F9"/>
                </a:solidFill>
                <a:latin typeface="Verdana" panose="020B0604030504040204" pitchFamily="34" charset="0"/>
                <a:ea typeface="Verdana" panose="020B0604030504040204" pitchFamily="34" charset="0"/>
              </a:rPr>
              <a:t>20 Period Moving Average</a:t>
            </a:r>
          </a:p>
        </p:txBody>
      </p:sp>
      <p:sp>
        <p:nvSpPr>
          <p:cNvPr id="42" name="TextBox 41">
            <a:extLst>
              <a:ext uri="{FF2B5EF4-FFF2-40B4-BE49-F238E27FC236}">
                <a16:creationId xmlns:a16="http://schemas.microsoft.com/office/drawing/2014/main" id="{7FAD56A6-F918-CD4F-94D0-27ED55C4D6C1}"/>
              </a:ext>
            </a:extLst>
          </p:cNvPr>
          <p:cNvSpPr txBox="1"/>
          <p:nvPr/>
        </p:nvSpPr>
        <p:spPr>
          <a:xfrm>
            <a:off x="5677319" y="5874812"/>
            <a:ext cx="6135135" cy="584775"/>
          </a:xfrm>
          <a:prstGeom prst="rect">
            <a:avLst/>
          </a:prstGeom>
          <a:noFill/>
          <a:ln>
            <a:solidFill>
              <a:srgbClr val="1D9A78"/>
            </a:solidFill>
          </a:ln>
        </p:spPr>
        <p:txBody>
          <a:bodyPr wrap="square" rtlCol="0">
            <a:spAutoFit/>
          </a:bodyPr>
          <a:lstStyle/>
          <a:p>
            <a:pPr algn="ctr"/>
            <a:r>
              <a:rPr lang="en-CA" sz="1600" dirty="0">
                <a:latin typeface="Verdana" panose="020B0604030504040204" pitchFamily="34" charset="0"/>
                <a:ea typeface="Verdana" panose="020B0604030504040204" pitchFamily="34" charset="0"/>
              </a:rPr>
              <a:t>Helps Analyst and Traders to Identify Trends and Potential Reversals in the Market</a:t>
            </a:r>
          </a:p>
        </p:txBody>
      </p:sp>
      <p:pic>
        <p:nvPicPr>
          <p:cNvPr id="46" name="Picture 45">
            <a:extLst>
              <a:ext uri="{FF2B5EF4-FFF2-40B4-BE49-F238E27FC236}">
                <a16:creationId xmlns:a16="http://schemas.microsoft.com/office/drawing/2014/main" id="{62406740-8285-2446-8EB0-3B236B52C1DE}"/>
              </a:ext>
            </a:extLst>
          </p:cNvPr>
          <p:cNvPicPr>
            <a:picLocks noChangeAspect="1"/>
          </p:cNvPicPr>
          <p:nvPr/>
        </p:nvPicPr>
        <p:blipFill>
          <a:blip r:embed="rId9"/>
          <a:stretch>
            <a:fillRect/>
          </a:stretch>
        </p:blipFill>
        <p:spPr>
          <a:xfrm>
            <a:off x="5433700" y="2437931"/>
            <a:ext cx="6493693" cy="3330229"/>
          </a:xfrm>
          <a:prstGeom prst="rect">
            <a:avLst/>
          </a:prstGeom>
        </p:spPr>
      </p:pic>
      <p:sp>
        <p:nvSpPr>
          <p:cNvPr id="47" name="TextBox 46">
            <a:extLst>
              <a:ext uri="{FF2B5EF4-FFF2-40B4-BE49-F238E27FC236}">
                <a16:creationId xmlns:a16="http://schemas.microsoft.com/office/drawing/2014/main" id="{60CF5CBB-38E6-A9DA-807A-BC559D403A59}"/>
              </a:ext>
            </a:extLst>
          </p:cNvPr>
          <p:cNvSpPr txBox="1"/>
          <p:nvPr/>
        </p:nvSpPr>
        <p:spPr>
          <a:xfrm>
            <a:off x="6712299" y="2075765"/>
            <a:ext cx="4240404" cy="369332"/>
          </a:xfrm>
          <a:prstGeom prst="rect">
            <a:avLst/>
          </a:prstGeom>
          <a:noFill/>
        </p:spPr>
        <p:txBody>
          <a:bodyPr wrap="square" rtlCol="0">
            <a:spAutoFit/>
          </a:bodyPr>
          <a:lstStyle/>
          <a:p>
            <a:r>
              <a:rPr lang="en-CA" b="1" u="sng"/>
              <a:t>CMG Adjusted Close Price and Lagged MA</a:t>
            </a:r>
          </a:p>
        </p:txBody>
      </p:sp>
      <p:sp>
        <p:nvSpPr>
          <p:cNvPr id="48" name="TextBox 47">
            <a:extLst>
              <a:ext uri="{FF2B5EF4-FFF2-40B4-BE49-F238E27FC236}">
                <a16:creationId xmlns:a16="http://schemas.microsoft.com/office/drawing/2014/main" id="{306F8C38-D71D-BEE3-0220-D6094FE69622}"/>
              </a:ext>
            </a:extLst>
          </p:cNvPr>
          <p:cNvSpPr txBox="1"/>
          <p:nvPr/>
        </p:nvSpPr>
        <p:spPr>
          <a:xfrm>
            <a:off x="348725" y="5870625"/>
            <a:ext cx="5208013" cy="584775"/>
          </a:xfrm>
          <a:prstGeom prst="rect">
            <a:avLst/>
          </a:prstGeom>
          <a:noFill/>
          <a:ln>
            <a:solidFill>
              <a:srgbClr val="1D9A78"/>
            </a:solidFill>
          </a:ln>
        </p:spPr>
        <p:txBody>
          <a:bodyPr wrap="square" rtlCol="0">
            <a:spAutoFit/>
          </a:bodyPr>
          <a:lstStyle/>
          <a:p>
            <a:pPr algn="ctr"/>
            <a:r>
              <a:rPr lang="en-CA" sz="1600">
                <a:latin typeface="Verdana" panose="020B0604030504040204" pitchFamily="34" charset="0"/>
                <a:ea typeface="Verdana" panose="020B0604030504040204" pitchFamily="34" charset="0"/>
              </a:rPr>
              <a:t>Calculated by Shifting Time Series Data by # of Days and Applying a Moving Average</a:t>
            </a:r>
          </a:p>
        </p:txBody>
      </p:sp>
    </p:spTree>
    <p:extLst>
      <p:ext uri="{BB962C8B-B14F-4D97-AF65-F5344CB8AC3E}">
        <p14:creationId xmlns:p14="http://schemas.microsoft.com/office/powerpoint/2010/main" val="1029055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BC156F0A-E43E-5A55-DF6C-EC96E0F5C93C}"/>
              </a:ext>
            </a:extLst>
          </p:cNvPr>
          <p:cNvSpPr/>
          <p:nvPr/>
        </p:nvSpPr>
        <p:spPr>
          <a:xfrm>
            <a:off x="388077" y="4275791"/>
            <a:ext cx="5343386" cy="2121817"/>
          </a:xfrm>
          <a:prstGeom prst="rect">
            <a:avLst/>
          </a:prstGeom>
          <a:noFill/>
          <a:ln>
            <a:solidFill>
              <a:srgbClr val="1D9A7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1" name="Rectangle 40">
            <a:extLst>
              <a:ext uri="{FF2B5EF4-FFF2-40B4-BE49-F238E27FC236}">
                <a16:creationId xmlns:a16="http://schemas.microsoft.com/office/drawing/2014/main" id="{F810AC31-12B2-AD2E-DCBF-00F4B988BF3D}"/>
              </a:ext>
            </a:extLst>
          </p:cNvPr>
          <p:cNvSpPr/>
          <p:nvPr/>
        </p:nvSpPr>
        <p:spPr>
          <a:xfrm>
            <a:off x="379546" y="2581248"/>
            <a:ext cx="5343386" cy="748437"/>
          </a:xfrm>
          <a:prstGeom prst="rect">
            <a:avLst/>
          </a:prstGeom>
          <a:noFill/>
          <a:ln w="12700">
            <a:solidFill>
              <a:srgbClr val="1D9A7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Marcador de texto 7">
            <a:hlinkClick r:id="rId4"/>
            <a:extLst>
              <a:ext uri="{FF2B5EF4-FFF2-40B4-BE49-F238E27FC236}">
                <a16:creationId xmlns:a16="http://schemas.microsoft.com/office/drawing/2014/main" id="{3E75D156-641F-A9C9-8843-92D424F32966}"/>
              </a:ext>
            </a:extLst>
          </p:cNvPr>
          <p:cNvSpPr txBox="1">
            <a:spLocks/>
          </p:cNvSpPr>
          <p:nvPr/>
        </p:nvSpPr>
        <p:spPr>
          <a:xfrm>
            <a:off x="391980" y="1285232"/>
            <a:ext cx="11420475" cy="711263"/>
          </a:xfrm>
          <a:prstGeom prst="rect">
            <a:avLst/>
          </a:prstGeom>
          <a:solidFill>
            <a:schemeClr val="bg1">
              <a:lumMod val="95000"/>
            </a:schemeClr>
          </a:solidFill>
          <a:ln>
            <a:solidFill>
              <a:schemeClr val="accent1">
                <a:shade val="15000"/>
              </a:schemeClr>
            </a:solidFill>
            <a:prstDash val="dash"/>
          </a:ln>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sz="1200">
                <a:solidFill>
                  <a:srgbClr val="000000"/>
                </a:solidFill>
              </a:rPr>
              <a:t>Fourier Transform</a:t>
            </a:r>
            <a:r>
              <a:rPr lang="en-US" sz="1200" b="0">
                <a:solidFill>
                  <a:srgbClr val="000000"/>
                </a:solidFill>
              </a:rPr>
              <a:t>: Mathematical technique that transforms time series into its constituent frequencies</a:t>
            </a:r>
            <a:endParaRPr lang="en-CA" sz="1200">
              <a:solidFill>
                <a:srgbClr val="515F6C"/>
              </a:solidFill>
            </a:endParaRPr>
          </a:p>
        </p:txBody>
      </p:sp>
      <p:graphicFrame>
        <p:nvGraphicFramePr>
          <p:cNvPr id="6" name="Objeto 5" hidden="1">
            <a:extLst>
              <a:ext uri="{FF2B5EF4-FFF2-40B4-BE49-F238E27FC236}">
                <a16:creationId xmlns:a16="http://schemas.microsoft.com/office/drawing/2014/main" id="{CACA4D61-F04B-42E7-2D40-8921075DC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6" name="Objeto 5" hidden="1">
                        <a:extLst>
                          <a:ext uri="{FF2B5EF4-FFF2-40B4-BE49-F238E27FC236}">
                            <a16:creationId xmlns:a16="http://schemas.microsoft.com/office/drawing/2014/main" id="{CACA4D61-F04B-42E7-2D40-8921075DCB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A889A8D-C759-4AFA-51E1-2F2D342A129A}"/>
              </a:ext>
            </a:extLst>
          </p:cNvPr>
          <p:cNvSpPr>
            <a:spLocks noGrp="1"/>
          </p:cNvSpPr>
          <p:nvPr>
            <p:ph type="title"/>
          </p:nvPr>
        </p:nvSpPr>
        <p:spPr/>
        <p:txBody>
          <a:bodyPr vert="horz"/>
          <a:lstStyle/>
          <a:p>
            <a:r>
              <a:rPr lang="en-US"/>
              <a:t>Categories of Variables: Fourier Transform</a:t>
            </a:r>
          </a:p>
        </p:txBody>
      </p:sp>
      <p:pic>
        <p:nvPicPr>
          <p:cNvPr id="5" name="Picture 4" descr="A black background with a black square&#10;&#10;Description automatically generated with medium confidence">
            <a:extLst>
              <a:ext uri="{FF2B5EF4-FFF2-40B4-BE49-F238E27FC236}">
                <a16:creationId xmlns:a16="http://schemas.microsoft.com/office/drawing/2014/main" id="{02430A23-0F41-9B29-4839-2B05719EAFDC}"/>
              </a:ext>
            </a:extLst>
          </p:cNvPr>
          <p:cNvPicPr>
            <a:picLocks noChangeAspect="1"/>
          </p:cNvPicPr>
          <p:nvPr/>
        </p:nvPicPr>
        <p:blipFill>
          <a:blip r:embed="rId7"/>
          <a:stretch>
            <a:fillRect/>
          </a:stretch>
        </p:blipFill>
        <p:spPr>
          <a:xfrm>
            <a:off x="405481" y="1285231"/>
            <a:ext cx="599021" cy="748437"/>
          </a:xfrm>
          <a:prstGeom prst="rect">
            <a:avLst/>
          </a:prstGeom>
        </p:spPr>
      </p:pic>
      <p:sp>
        <p:nvSpPr>
          <p:cNvPr id="10" name="TextBox 9">
            <a:extLst>
              <a:ext uri="{FF2B5EF4-FFF2-40B4-BE49-F238E27FC236}">
                <a16:creationId xmlns:a16="http://schemas.microsoft.com/office/drawing/2014/main" id="{1E4C43BB-0061-02C4-E961-7D7B622A0A68}"/>
              </a:ext>
            </a:extLst>
          </p:cNvPr>
          <p:cNvSpPr txBox="1"/>
          <p:nvPr/>
        </p:nvSpPr>
        <p:spPr>
          <a:xfrm>
            <a:off x="6674349" y="2116962"/>
            <a:ext cx="5130300" cy="369332"/>
          </a:xfrm>
          <a:prstGeom prst="rect">
            <a:avLst/>
          </a:prstGeom>
          <a:noFill/>
        </p:spPr>
        <p:txBody>
          <a:bodyPr wrap="square" rtlCol="0">
            <a:spAutoFit/>
          </a:bodyPr>
          <a:lstStyle/>
          <a:p>
            <a:r>
              <a:rPr lang="en-CA" b="1" u="sng"/>
              <a:t>CMG Fourier Transform Magnitude Spectrum </a:t>
            </a:r>
          </a:p>
        </p:txBody>
      </p:sp>
      <p:sp>
        <p:nvSpPr>
          <p:cNvPr id="13" name="TextBox 12">
            <a:extLst>
              <a:ext uri="{FF2B5EF4-FFF2-40B4-BE49-F238E27FC236}">
                <a16:creationId xmlns:a16="http://schemas.microsoft.com/office/drawing/2014/main" id="{3627D645-1A56-7546-B6A0-90071877CAB8}"/>
              </a:ext>
            </a:extLst>
          </p:cNvPr>
          <p:cNvSpPr txBox="1"/>
          <p:nvPr/>
        </p:nvSpPr>
        <p:spPr>
          <a:xfrm>
            <a:off x="520223" y="2117517"/>
            <a:ext cx="5130300" cy="369332"/>
          </a:xfrm>
          <a:prstGeom prst="rect">
            <a:avLst/>
          </a:prstGeom>
          <a:noFill/>
        </p:spPr>
        <p:txBody>
          <a:bodyPr wrap="square" rtlCol="0">
            <a:spAutoFit/>
          </a:bodyPr>
          <a:lstStyle/>
          <a:p>
            <a:pPr algn="ctr"/>
            <a:r>
              <a:rPr lang="en-CA" b="1" u="sng"/>
              <a:t>Magnitude Spectrum </a:t>
            </a:r>
          </a:p>
        </p:txBody>
      </p:sp>
      <p:sp>
        <p:nvSpPr>
          <p:cNvPr id="25" name="TextBox 24">
            <a:extLst>
              <a:ext uri="{FF2B5EF4-FFF2-40B4-BE49-F238E27FC236}">
                <a16:creationId xmlns:a16="http://schemas.microsoft.com/office/drawing/2014/main" id="{A518A140-3447-288D-589C-0383D5A0959D}"/>
              </a:ext>
            </a:extLst>
          </p:cNvPr>
          <p:cNvSpPr txBox="1"/>
          <p:nvPr/>
        </p:nvSpPr>
        <p:spPr>
          <a:xfrm>
            <a:off x="192798" y="2742806"/>
            <a:ext cx="2270928" cy="307777"/>
          </a:xfrm>
          <a:prstGeom prst="rect">
            <a:avLst/>
          </a:prstGeom>
          <a:noFill/>
        </p:spPr>
        <p:txBody>
          <a:bodyPr wrap="square" rtlCol="0">
            <a:spAutoFit/>
          </a:bodyPr>
          <a:lstStyle/>
          <a:p>
            <a:pPr algn="ctr"/>
            <a:r>
              <a:rPr lang="en-CA" sz="1400" dirty="0">
                <a:latin typeface="Verdana" panose="020B0604030504040204" pitchFamily="34" charset="0"/>
                <a:ea typeface="Verdana" panose="020B0604030504040204" pitchFamily="34" charset="0"/>
              </a:rPr>
              <a:t>Low Frequency </a:t>
            </a:r>
          </a:p>
        </p:txBody>
      </p:sp>
      <p:sp>
        <p:nvSpPr>
          <p:cNvPr id="27" name="Up Arrow 60">
            <a:extLst>
              <a:ext uri="{FF2B5EF4-FFF2-40B4-BE49-F238E27FC236}">
                <a16:creationId xmlns:a16="http://schemas.microsoft.com/office/drawing/2014/main" id="{2C0F55AF-C443-04CC-5128-049B4A097985}"/>
              </a:ext>
            </a:extLst>
          </p:cNvPr>
          <p:cNvSpPr/>
          <p:nvPr/>
        </p:nvSpPr>
        <p:spPr>
          <a:xfrm rot="5400000">
            <a:off x="2754899" y="2701776"/>
            <a:ext cx="410308" cy="492369"/>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sp>
        <p:nvSpPr>
          <p:cNvPr id="40" name="TextBox 39">
            <a:extLst>
              <a:ext uri="{FF2B5EF4-FFF2-40B4-BE49-F238E27FC236}">
                <a16:creationId xmlns:a16="http://schemas.microsoft.com/office/drawing/2014/main" id="{AA04A3AF-A63B-B3B7-EF17-8BAC0978FCBC}"/>
              </a:ext>
            </a:extLst>
          </p:cNvPr>
          <p:cNvSpPr txBox="1"/>
          <p:nvPr/>
        </p:nvSpPr>
        <p:spPr>
          <a:xfrm>
            <a:off x="3379595" y="2742806"/>
            <a:ext cx="2270928" cy="307777"/>
          </a:xfrm>
          <a:prstGeom prst="rect">
            <a:avLst/>
          </a:prstGeom>
          <a:noFill/>
        </p:spPr>
        <p:txBody>
          <a:bodyPr wrap="square" rtlCol="0">
            <a:spAutoFit/>
          </a:bodyPr>
          <a:lstStyle/>
          <a:p>
            <a:pPr algn="ctr"/>
            <a:r>
              <a:rPr lang="en-CA" sz="1400">
                <a:latin typeface="Verdana" panose="020B0604030504040204" pitchFamily="34" charset="0"/>
                <a:ea typeface="Verdana" panose="020B0604030504040204" pitchFamily="34" charset="0"/>
              </a:rPr>
              <a:t>Longer Term Trend</a:t>
            </a:r>
          </a:p>
        </p:txBody>
      </p:sp>
      <p:sp>
        <p:nvSpPr>
          <p:cNvPr id="43" name="Rectangle 42">
            <a:extLst>
              <a:ext uri="{FF2B5EF4-FFF2-40B4-BE49-F238E27FC236}">
                <a16:creationId xmlns:a16="http://schemas.microsoft.com/office/drawing/2014/main" id="{E6A3C8B0-2B7D-1578-43B4-1174134821E1}"/>
              </a:ext>
            </a:extLst>
          </p:cNvPr>
          <p:cNvSpPr/>
          <p:nvPr/>
        </p:nvSpPr>
        <p:spPr>
          <a:xfrm>
            <a:off x="388076" y="3424084"/>
            <a:ext cx="5324629" cy="748437"/>
          </a:xfrm>
          <a:prstGeom prst="rect">
            <a:avLst/>
          </a:prstGeom>
          <a:noFill/>
          <a:ln w="12700">
            <a:solidFill>
              <a:srgbClr val="1D9A7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4" name="TextBox 43">
            <a:extLst>
              <a:ext uri="{FF2B5EF4-FFF2-40B4-BE49-F238E27FC236}">
                <a16:creationId xmlns:a16="http://schemas.microsoft.com/office/drawing/2014/main" id="{28F29215-232F-6B9C-B8CD-1696E5FA7D2C}"/>
              </a:ext>
            </a:extLst>
          </p:cNvPr>
          <p:cNvSpPr txBox="1"/>
          <p:nvPr/>
        </p:nvSpPr>
        <p:spPr>
          <a:xfrm>
            <a:off x="192798" y="3617788"/>
            <a:ext cx="2270928" cy="307777"/>
          </a:xfrm>
          <a:prstGeom prst="rect">
            <a:avLst/>
          </a:prstGeom>
          <a:noFill/>
        </p:spPr>
        <p:txBody>
          <a:bodyPr wrap="square" rtlCol="0">
            <a:spAutoFit/>
          </a:bodyPr>
          <a:lstStyle/>
          <a:p>
            <a:pPr algn="ctr"/>
            <a:r>
              <a:rPr lang="en-CA" sz="1400">
                <a:latin typeface="Verdana" panose="020B0604030504040204" pitchFamily="34" charset="0"/>
                <a:ea typeface="Verdana" panose="020B0604030504040204" pitchFamily="34" charset="0"/>
              </a:rPr>
              <a:t>High Frequency </a:t>
            </a:r>
          </a:p>
        </p:txBody>
      </p:sp>
      <p:sp>
        <p:nvSpPr>
          <p:cNvPr id="45" name="Up Arrow 60">
            <a:extLst>
              <a:ext uri="{FF2B5EF4-FFF2-40B4-BE49-F238E27FC236}">
                <a16:creationId xmlns:a16="http://schemas.microsoft.com/office/drawing/2014/main" id="{CD9D0E78-047D-3DA3-D1F4-A066F006D2D1}"/>
              </a:ext>
            </a:extLst>
          </p:cNvPr>
          <p:cNvSpPr/>
          <p:nvPr/>
        </p:nvSpPr>
        <p:spPr>
          <a:xfrm rot="5400000">
            <a:off x="2754899" y="3576758"/>
            <a:ext cx="410308" cy="492369"/>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sp>
        <p:nvSpPr>
          <p:cNvPr id="46" name="TextBox 45">
            <a:extLst>
              <a:ext uri="{FF2B5EF4-FFF2-40B4-BE49-F238E27FC236}">
                <a16:creationId xmlns:a16="http://schemas.microsoft.com/office/drawing/2014/main" id="{D4BA379D-FEC5-7671-E270-7B95C5009951}"/>
              </a:ext>
            </a:extLst>
          </p:cNvPr>
          <p:cNvSpPr txBox="1"/>
          <p:nvPr/>
        </p:nvSpPr>
        <p:spPr>
          <a:xfrm>
            <a:off x="3379595" y="3617788"/>
            <a:ext cx="2270928" cy="307777"/>
          </a:xfrm>
          <a:prstGeom prst="rect">
            <a:avLst/>
          </a:prstGeom>
          <a:noFill/>
        </p:spPr>
        <p:txBody>
          <a:bodyPr wrap="square" rtlCol="0">
            <a:spAutoFit/>
          </a:bodyPr>
          <a:lstStyle/>
          <a:p>
            <a:pPr algn="ctr"/>
            <a:r>
              <a:rPr lang="en-CA" sz="1400">
                <a:latin typeface="Verdana" panose="020B0604030504040204" pitchFamily="34" charset="0"/>
                <a:ea typeface="Verdana" panose="020B0604030504040204" pitchFamily="34" charset="0"/>
              </a:rPr>
              <a:t>Short-Term Cycles</a:t>
            </a:r>
          </a:p>
        </p:txBody>
      </p:sp>
      <p:pic>
        <p:nvPicPr>
          <p:cNvPr id="48" name="Picture 47">
            <a:extLst>
              <a:ext uri="{FF2B5EF4-FFF2-40B4-BE49-F238E27FC236}">
                <a16:creationId xmlns:a16="http://schemas.microsoft.com/office/drawing/2014/main" id="{A0692695-B948-DAC2-9369-D2C5A7151968}"/>
              </a:ext>
            </a:extLst>
          </p:cNvPr>
          <p:cNvPicPr>
            <a:picLocks noChangeAspect="1"/>
          </p:cNvPicPr>
          <p:nvPr/>
        </p:nvPicPr>
        <p:blipFill>
          <a:blip r:embed="rId8"/>
          <a:stretch>
            <a:fillRect/>
          </a:stretch>
        </p:blipFill>
        <p:spPr>
          <a:xfrm>
            <a:off x="6096000" y="2570143"/>
            <a:ext cx="5716454" cy="2464081"/>
          </a:xfrm>
          <a:prstGeom prst="rect">
            <a:avLst/>
          </a:prstGeom>
        </p:spPr>
      </p:pic>
      <p:sp>
        <p:nvSpPr>
          <p:cNvPr id="49" name="TextBox 48">
            <a:extLst>
              <a:ext uri="{FF2B5EF4-FFF2-40B4-BE49-F238E27FC236}">
                <a16:creationId xmlns:a16="http://schemas.microsoft.com/office/drawing/2014/main" id="{2A871FC3-623C-F4AE-4394-221F94894124}"/>
              </a:ext>
            </a:extLst>
          </p:cNvPr>
          <p:cNvSpPr txBox="1"/>
          <p:nvPr/>
        </p:nvSpPr>
        <p:spPr>
          <a:xfrm>
            <a:off x="490717" y="4275791"/>
            <a:ext cx="5130300" cy="307777"/>
          </a:xfrm>
          <a:prstGeom prst="rect">
            <a:avLst/>
          </a:prstGeom>
          <a:noFill/>
        </p:spPr>
        <p:txBody>
          <a:bodyPr wrap="square" rtlCol="0">
            <a:spAutoFit/>
          </a:bodyPr>
          <a:lstStyle/>
          <a:p>
            <a:pPr algn="ctr"/>
            <a:r>
              <a:rPr lang="en-CA" sz="1400" b="1" u="sng">
                <a:latin typeface="Verdana" panose="020B0604030504040204" pitchFamily="34" charset="0"/>
                <a:ea typeface="Verdana" panose="020B0604030504040204" pitchFamily="34" charset="0"/>
              </a:rPr>
              <a:t>Financial Analysis Implications</a:t>
            </a:r>
          </a:p>
        </p:txBody>
      </p:sp>
      <p:sp>
        <p:nvSpPr>
          <p:cNvPr id="50" name="TextBox 49">
            <a:extLst>
              <a:ext uri="{FF2B5EF4-FFF2-40B4-BE49-F238E27FC236}">
                <a16:creationId xmlns:a16="http://schemas.microsoft.com/office/drawing/2014/main" id="{CD7BD0C2-8906-64AA-0265-18A0B5E011FF}"/>
              </a:ext>
            </a:extLst>
          </p:cNvPr>
          <p:cNvSpPr txBox="1"/>
          <p:nvPr/>
        </p:nvSpPr>
        <p:spPr>
          <a:xfrm>
            <a:off x="379546" y="4564266"/>
            <a:ext cx="5343386" cy="1314527"/>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CA" sz="1400">
                <a:latin typeface="Verdana" panose="020B0604030504040204" pitchFamily="34" charset="0"/>
                <a:ea typeface="Verdana" panose="020B0604030504040204" pitchFamily="34" charset="0"/>
              </a:rPr>
              <a:t>Both Short and Long Investment Horizon</a:t>
            </a:r>
          </a:p>
          <a:p>
            <a:pPr marL="285750" indent="-285750">
              <a:lnSpc>
                <a:spcPct val="200000"/>
              </a:lnSpc>
              <a:buFont typeface="Arial" panose="020B0604020202020204" pitchFamily="34" charset="0"/>
              <a:buChar char="•"/>
            </a:pPr>
            <a:r>
              <a:rPr lang="en-CA" sz="1400">
                <a:latin typeface="Verdana" panose="020B0604030504040204" pitchFamily="34" charset="0"/>
                <a:ea typeface="Verdana" panose="020B0604030504040204" pitchFamily="34" charset="0"/>
              </a:rPr>
              <a:t>Anticipate Potential Fluctuations and Manage Risk</a:t>
            </a:r>
          </a:p>
          <a:p>
            <a:pPr marL="285750" indent="-285750">
              <a:lnSpc>
                <a:spcPct val="200000"/>
              </a:lnSpc>
              <a:buFont typeface="Arial" panose="020B0604020202020204" pitchFamily="34" charset="0"/>
              <a:buChar char="•"/>
            </a:pPr>
            <a:r>
              <a:rPr lang="en-CA" sz="1400">
                <a:latin typeface="Verdana" panose="020B0604030504040204" pitchFamily="34" charset="0"/>
                <a:ea typeface="Verdana" panose="020B0604030504040204" pitchFamily="34" charset="0"/>
              </a:rPr>
              <a:t>Optimize Entry and Exit Points </a:t>
            </a:r>
          </a:p>
        </p:txBody>
      </p:sp>
      <p:graphicFrame>
        <p:nvGraphicFramePr>
          <p:cNvPr id="261" name="Table 260">
            <a:extLst>
              <a:ext uri="{FF2B5EF4-FFF2-40B4-BE49-F238E27FC236}">
                <a16:creationId xmlns:a16="http://schemas.microsoft.com/office/drawing/2014/main" id="{D1113B7F-1AB5-6BD6-8BC2-FF513B7BB6DF}"/>
              </a:ext>
            </a:extLst>
          </p:cNvPr>
          <p:cNvGraphicFramePr>
            <a:graphicFrameLocks noGrp="1"/>
          </p:cNvGraphicFramePr>
          <p:nvPr>
            <p:extLst>
              <p:ext uri="{D42A27DB-BD31-4B8C-83A1-F6EECF244321}">
                <p14:modId xmlns:p14="http://schemas.microsoft.com/office/powerpoint/2010/main" val="2002945997"/>
              </p:ext>
            </p:extLst>
          </p:nvPr>
        </p:nvGraphicFramePr>
        <p:xfrm>
          <a:off x="6354538" y="5128486"/>
          <a:ext cx="5716455" cy="1417168"/>
        </p:xfrm>
        <a:graphic>
          <a:graphicData uri="http://schemas.openxmlformats.org/drawingml/2006/table">
            <a:tbl>
              <a:tblPr firstRow="1" bandRow="1">
                <a:tableStyleId>{5C22544A-7EE6-4342-B048-85BDC9FD1C3A}</a:tableStyleId>
              </a:tblPr>
              <a:tblGrid>
                <a:gridCol w="1905485">
                  <a:extLst>
                    <a:ext uri="{9D8B030D-6E8A-4147-A177-3AD203B41FA5}">
                      <a16:colId xmlns:a16="http://schemas.microsoft.com/office/drawing/2014/main" val="169485042"/>
                    </a:ext>
                  </a:extLst>
                </a:gridCol>
                <a:gridCol w="1905485">
                  <a:extLst>
                    <a:ext uri="{9D8B030D-6E8A-4147-A177-3AD203B41FA5}">
                      <a16:colId xmlns:a16="http://schemas.microsoft.com/office/drawing/2014/main" val="2148251882"/>
                    </a:ext>
                  </a:extLst>
                </a:gridCol>
                <a:gridCol w="1905485">
                  <a:extLst>
                    <a:ext uri="{9D8B030D-6E8A-4147-A177-3AD203B41FA5}">
                      <a16:colId xmlns:a16="http://schemas.microsoft.com/office/drawing/2014/main" val="1659702457"/>
                    </a:ext>
                  </a:extLst>
                </a:gridCol>
              </a:tblGrid>
              <a:tr h="449504">
                <a:tc>
                  <a:txBody>
                    <a:bodyPr/>
                    <a:lstStyle/>
                    <a:p>
                      <a:pPr algn="ctr"/>
                      <a:r>
                        <a:rPr lang="en-CA"/>
                        <a:t>Period </a:t>
                      </a:r>
                    </a:p>
                  </a:txBody>
                  <a:tcPr/>
                </a:tc>
                <a:tc>
                  <a:txBody>
                    <a:bodyPr/>
                    <a:lstStyle/>
                    <a:p>
                      <a:pPr algn="ctr"/>
                      <a:r>
                        <a:rPr lang="en-CA"/>
                        <a:t>Frequency</a:t>
                      </a:r>
                    </a:p>
                  </a:txBody>
                  <a:tcPr/>
                </a:tc>
                <a:tc>
                  <a:txBody>
                    <a:bodyPr/>
                    <a:lstStyle/>
                    <a:p>
                      <a:pPr algn="ctr"/>
                      <a:r>
                        <a:rPr lang="en-CA"/>
                        <a:t>Trend/Cycle</a:t>
                      </a:r>
                    </a:p>
                  </a:txBody>
                  <a:tcPr/>
                </a:tc>
                <a:extLst>
                  <a:ext uri="{0D108BD9-81ED-4DB2-BD59-A6C34878D82A}">
                    <a16:rowId xmlns:a16="http://schemas.microsoft.com/office/drawing/2014/main" val="2294799383"/>
                  </a:ext>
                </a:extLst>
              </a:tr>
              <a:tr h="449504">
                <a:tc>
                  <a:txBody>
                    <a:bodyPr/>
                    <a:lstStyle/>
                    <a:p>
                      <a:pPr algn="ctr"/>
                      <a:r>
                        <a:rPr lang="en-CA" sz="1400"/>
                        <a:t>565.60 Days</a:t>
                      </a:r>
                    </a:p>
                  </a:txBody>
                  <a:tcPr anchor="ctr"/>
                </a:tc>
                <a:tc>
                  <a:txBody>
                    <a:bodyPr/>
                    <a:lstStyle/>
                    <a:p>
                      <a:pPr algn="ctr"/>
                      <a:r>
                        <a:rPr lang="en-CA" sz="1400"/>
                        <a:t>0.0018</a:t>
                      </a:r>
                    </a:p>
                  </a:txBody>
                  <a:tcPr anchor="ctr"/>
                </a:tc>
                <a:tc>
                  <a:txBody>
                    <a:bodyPr/>
                    <a:lstStyle/>
                    <a:p>
                      <a:pPr algn="ctr"/>
                      <a:r>
                        <a:rPr lang="en-CA" sz="1400"/>
                        <a:t>Economic Cycle and Company Performance</a:t>
                      </a:r>
                    </a:p>
                  </a:txBody>
                  <a:tcPr anchor="ctr"/>
                </a:tc>
                <a:extLst>
                  <a:ext uri="{0D108BD9-81ED-4DB2-BD59-A6C34878D82A}">
                    <a16:rowId xmlns:a16="http://schemas.microsoft.com/office/drawing/2014/main" val="2106134131"/>
                  </a:ext>
                </a:extLst>
              </a:tr>
              <a:tr h="449504">
                <a:tc>
                  <a:txBody>
                    <a:bodyPr/>
                    <a:lstStyle/>
                    <a:p>
                      <a:pPr marL="0" algn="ctr" defTabSz="914400" rtl="0" eaLnBrk="1" latinLnBrk="0" hangingPunct="1"/>
                      <a:r>
                        <a:rPr lang="en-CA" sz="1400" kern="1200">
                          <a:solidFill>
                            <a:schemeClr val="dk1"/>
                          </a:solidFill>
                          <a:latin typeface="+mn-lt"/>
                          <a:ea typeface="+mn-ea"/>
                          <a:cs typeface="+mn-cs"/>
                        </a:rPr>
                        <a:t>113.60 Days</a:t>
                      </a:r>
                    </a:p>
                  </a:txBody>
                  <a:tcPr anchor="ctr"/>
                </a:tc>
                <a:tc>
                  <a:txBody>
                    <a:bodyPr/>
                    <a:lstStyle/>
                    <a:p>
                      <a:pPr marL="0" algn="ctr" defTabSz="914400" rtl="0" eaLnBrk="1" latinLnBrk="0" hangingPunct="1"/>
                      <a:r>
                        <a:rPr lang="en-CA" sz="1400" kern="1200">
                          <a:solidFill>
                            <a:schemeClr val="dk1"/>
                          </a:solidFill>
                          <a:latin typeface="+mn-lt"/>
                          <a:ea typeface="+mn-ea"/>
                          <a:cs typeface="+mn-cs"/>
                        </a:rPr>
                        <a:t>0.0088</a:t>
                      </a:r>
                    </a:p>
                  </a:txBody>
                  <a:tcPr anchor="ctr"/>
                </a:tc>
                <a:tc>
                  <a:txBody>
                    <a:bodyPr/>
                    <a:lstStyle/>
                    <a:p>
                      <a:pPr marL="0" algn="ctr" defTabSz="914400" rtl="0" eaLnBrk="1" latinLnBrk="0" hangingPunct="1"/>
                      <a:r>
                        <a:rPr lang="en-CA" sz="1400" kern="1200">
                          <a:solidFill>
                            <a:schemeClr val="dk1"/>
                          </a:solidFill>
                          <a:latin typeface="+mn-lt"/>
                          <a:ea typeface="+mn-ea"/>
                          <a:cs typeface="+mn-cs"/>
                        </a:rPr>
                        <a:t>Quarterly Reports</a:t>
                      </a:r>
                    </a:p>
                  </a:txBody>
                  <a:tcPr anchor="ctr"/>
                </a:tc>
                <a:extLst>
                  <a:ext uri="{0D108BD9-81ED-4DB2-BD59-A6C34878D82A}">
                    <a16:rowId xmlns:a16="http://schemas.microsoft.com/office/drawing/2014/main" val="1909538911"/>
                  </a:ext>
                </a:extLst>
              </a:tr>
            </a:tbl>
          </a:graphicData>
        </a:graphic>
      </p:graphicFrame>
    </p:spTree>
    <p:extLst>
      <p:ext uri="{BB962C8B-B14F-4D97-AF65-F5344CB8AC3E}">
        <p14:creationId xmlns:p14="http://schemas.microsoft.com/office/powerpoint/2010/main" val="37381884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7">
            <a:hlinkClick r:id="rId4"/>
            <a:extLst>
              <a:ext uri="{FF2B5EF4-FFF2-40B4-BE49-F238E27FC236}">
                <a16:creationId xmlns:a16="http://schemas.microsoft.com/office/drawing/2014/main" id="{3E75D156-641F-A9C9-8843-92D424F32966}"/>
              </a:ext>
            </a:extLst>
          </p:cNvPr>
          <p:cNvSpPr txBox="1">
            <a:spLocks/>
          </p:cNvSpPr>
          <p:nvPr/>
        </p:nvSpPr>
        <p:spPr>
          <a:xfrm>
            <a:off x="384174" y="1098891"/>
            <a:ext cx="11420475" cy="711263"/>
          </a:xfrm>
          <a:prstGeom prst="rect">
            <a:avLst/>
          </a:prstGeom>
          <a:solidFill>
            <a:schemeClr val="bg1">
              <a:lumMod val="95000"/>
            </a:schemeClr>
          </a:solidFill>
          <a:ln>
            <a:solidFill>
              <a:schemeClr val="accent1">
                <a:shade val="15000"/>
              </a:schemeClr>
            </a:solidFill>
            <a:prstDash val="dash"/>
          </a:ln>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1200">
                <a:solidFill>
                  <a:srgbClr val="000000"/>
                </a:solidFill>
              </a:rPr>
              <a:t>Technical Indictors: </a:t>
            </a:r>
            <a:r>
              <a:rPr lang="en-US" sz="1200" b="0">
                <a:solidFill>
                  <a:srgbClr val="000000"/>
                </a:solidFill>
              </a:rPr>
              <a:t>Calculations based on price, volume, or open interest that traders use to analyze securities and predict movements</a:t>
            </a:r>
            <a:endParaRPr kumimoji="0" lang="en-US" sz="12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6" name="Objeto 5" hidden="1">
            <a:extLst>
              <a:ext uri="{FF2B5EF4-FFF2-40B4-BE49-F238E27FC236}">
                <a16:creationId xmlns:a16="http://schemas.microsoft.com/office/drawing/2014/main" id="{CACA4D61-F04B-42E7-2D40-8921075DC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6" name="Objeto 5" hidden="1">
                        <a:extLst>
                          <a:ext uri="{FF2B5EF4-FFF2-40B4-BE49-F238E27FC236}">
                            <a16:creationId xmlns:a16="http://schemas.microsoft.com/office/drawing/2014/main" id="{CACA4D61-F04B-42E7-2D40-8921075DCB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A889A8D-C759-4AFA-51E1-2F2D342A129A}"/>
              </a:ext>
            </a:extLst>
          </p:cNvPr>
          <p:cNvSpPr>
            <a:spLocks noGrp="1"/>
          </p:cNvSpPr>
          <p:nvPr>
            <p:ph type="title"/>
          </p:nvPr>
        </p:nvSpPr>
        <p:spPr/>
        <p:txBody>
          <a:bodyPr vert="horz"/>
          <a:lstStyle/>
          <a:p>
            <a:r>
              <a:rPr lang="en-US"/>
              <a:t>Categories of Variables: Technical Indicators</a:t>
            </a:r>
          </a:p>
        </p:txBody>
      </p:sp>
      <p:grpSp>
        <p:nvGrpSpPr>
          <p:cNvPr id="2" name="Group 52">
            <a:extLst>
              <a:ext uri="{FF2B5EF4-FFF2-40B4-BE49-F238E27FC236}">
                <a16:creationId xmlns:a16="http://schemas.microsoft.com/office/drawing/2014/main" id="{E4C46F48-E034-7553-4409-39D13D195877}"/>
              </a:ext>
            </a:extLst>
          </p:cNvPr>
          <p:cNvGrpSpPr>
            <a:grpSpLocks noChangeAspect="1"/>
          </p:cNvGrpSpPr>
          <p:nvPr/>
        </p:nvGrpSpPr>
        <p:grpSpPr bwMode="auto">
          <a:xfrm>
            <a:off x="438939" y="1231003"/>
            <a:ext cx="481666" cy="481666"/>
            <a:chOff x="6539" y="439"/>
            <a:chExt cx="426" cy="426"/>
          </a:xfrm>
          <a:solidFill>
            <a:schemeClr val="tx2"/>
          </a:solidFill>
        </p:grpSpPr>
        <p:sp>
          <p:nvSpPr>
            <p:cNvPr id="7" name="Freeform 53">
              <a:extLst>
                <a:ext uri="{FF2B5EF4-FFF2-40B4-BE49-F238E27FC236}">
                  <a16:creationId xmlns:a16="http://schemas.microsoft.com/office/drawing/2014/main" id="{FF3E0C21-38FF-166B-9AC1-E12BC0BD60C7}"/>
                </a:ext>
              </a:extLst>
            </p:cNvPr>
            <p:cNvSpPr>
              <a:spLocks/>
            </p:cNvSpPr>
            <p:nvPr/>
          </p:nvSpPr>
          <p:spPr bwMode="auto">
            <a:xfrm>
              <a:off x="6539" y="439"/>
              <a:ext cx="426" cy="392"/>
            </a:xfrm>
            <a:custGeom>
              <a:avLst/>
              <a:gdLst>
                <a:gd name="T0" fmla="*/ 60 w 288"/>
                <a:gd name="T1" fmla="*/ 262 h 265"/>
                <a:gd name="T2" fmla="*/ 26 w 288"/>
                <a:gd name="T3" fmla="*/ 220 h 265"/>
                <a:gd name="T4" fmla="*/ 41 w 288"/>
                <a:gd name="T5" fmla="*/ 168 h 265"/>
                <a:gd name="T6" fmla="*/ 0 w 288"/>
                <a:gd name="T7" fmla="*/ 162 h 265"/>
                <a:gd name="T8" fmla="*/ 6 w 288"/>
                <a:gd name="T9" fmla="*/ 120 h 265"/>
                <a:gd name="T10" fmla="*/ 50 w 288"/>
                <a:gd name="T11" fmla="*/ 92 h 265"/>
                <a:gd name="T12" fmla="*/ 24 w 288"/>
                <a:gd name="T13" fmla="*/ 63 h 265"/>
                <a:gd name="T14" fmla="*/ 60 w 288"/>
                <a:gd name="T15" fmla="*/ 25 h 265"/>
                <a:gd name="T16" fmla="*/ 92 w 288"/>
                <a:gd name="T17" fmla="*/ 49 h 265"/>
                <a:gd name="T18" fmla="*/ 120 w 288"/>
                <a:gd name="T19" fmla="*/ 6 h 265"/>
                <a:gd name="T20" fmla="*/ 162 w 288"/>
                <a:gd name="T21" fmla="*/ 0 h 265"/>
                <a:gd name="T22" fmla="*/ 168 w 288"/>
                <a:gd name="T23" fmla="*/ 40 h 265"/>
                <a:gd name="T24" fmla="*/ 221 w 288"/>
                <a:gd name="T25" fmla="*/ 25 h 265"/>
                <a:gd name="T26" fmla="*/ 263 w 288"/>
                <a:gd name="T27" fmla="*/ 59 h 265"/>
                <a:gd name="T28" fmla="*/ 263 w 288"/>
                <a:gd name="T29" fmla="*/ 67 h 265"/>
                <a:gd name="T30" fmla="*/ 248 w 288"/>
                <a:gd name="T31" fmla="*/ 120 h 265"/>
                <a:gd name="T32" fmla="*/ 288 w 288"/>
                <a:gd name="T33" fmla="*/ 126 h 265"/>
                <a:gd name="T34" fmla="*/ 282 w 288"/>
                <a:gd name="T35" fmla="*/ 168 h 265"/>
                <a:gd name="T36" fmla="*/ 239 w 288"/>
                <a:gd name="T37" fmla="*/ 196 h 265"/>
                <a:gd name="T38" fmla="*/ 263 w 288"/>
                <a:gd name="T39" fmla="*/ 228 h 265"/>
                <a:gd name="T40" fmla="*/ 221 w 288"/>
                <a:gd name="T41" fmla="*/ 262 h 265"/>
                <a:gd name="T42" fmla="*/ 193 w 288"/>
                <a:gd name="T43" fmla="*/ 226 h 265"/>
                <a:gd name="T44" fmla="*/ 225 w 288"/>
                <a:gd name="T45" fmla="*/ 250 h 265"/>
                <a:gd name="T46" fmla="*/ 227 w 288"/>
                <a:gd name="T47" fmla="*/ 201 h 265"/>
                <a:gd name="T48" fmla="*/ 238 w 288"/>
                <a:gd name="T49" fmla="*/ 160 h 265"/>
                <a:gd name="T50" fmla="*/ 276 w 288"/>
                <a:gd name="T51" fmla="*/ 156 h 265"/>
                <a:gd name="T52" fmla="*/ 243 w 288"/>
                <a:gd name="T53" fmla="*/ 132 h 265"/>
                <a:gd name="T54" fmla="*/ 226 w 288"/>
                <a:gd name="T55" fmla="*/ 94 h 265"/>
                <a:gd name="T56" fmla="*/ 251 w 288"/>
                <a:gd name="T57" fmla="*/ 63 h 265"/>
                <a:gd name="T58" fmla="*/ 202 w 288"/>
                <a:gd name="T59" fmla="*/ 61 h 265"/>
                <a:gd name="T60" fmla="*/ 161 w 288"/>
                <a:gd name="T61" fmla="*/ 50 h 265"/>
                <a:gd name="T62" fmla="*/ 156 w 288"/>
                <a:gd name="T63" fmla="*/ 12 h 265"/>
                <a:gd name="T64" fmla="*/ 132 w 288"/>
                <a:gd name="T65" fmla="*/ 45 h 265"/>
                <a:gd name="T66" fmla="*/ 95 w 288"/>
                <a:gd name="T67" fmla="*/ 62 h 265"/>
                <a:gd name="T68" fmla="*/ 64 w 288"/>
                <a:gd name="T69" fmla="*/ 38 h 265"/>
                <a:gd name="T70" fmla="*/ 62 w 288"/>
                <a:gd name="T71" fmla="*/ 86 h 265"/>
                <a:gd name="T72" fmla="*/ 51 w 288"/>
                <a:gd name="T73" fmla="*/ 127 h 265"/>
                <a:gd name="T74" fmla="*/ 12 w 288"/>
                <a:gd name="T75" fmla="*/ 132 h 265"/>
                <a:gd name="T76" fmla="*/ 45 w 288"/>
                <a:gd name="T77" fmla="*/ 156 h 265"/>
                <a:gd name="T78" fmla="*/ 63 w 288"/>
                <a:gd name="T79" fmla="*/ 194 h 265"/>
                <a:gd name="T80" fmla="*/ 38 w 288"/>
                <a:gd name="T81" fmla="*/ 224 h 265"/>
                <a:gd name="T82" fmla="*/ 87 w 288"/>
                <a:gd name="T83" fmla="*/ 226 h 265"/>
                <a:gd name="T84" fmla="*/ 96 w 288"/>
                <a:gd name="T85" fmla="*/ 235 h 265"/>
                <a:gd name="T86" fmla="*/ 64 w 288"/>
                <a:gd name="T87" fmla="*/ 26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8" h="265">
                  <a:moveTo>
                    <a:pt x="64" y="264"/>
                  </a:moveTo>
                  <a:cubicBezTo>
                    <a:pt x="62" y="264"/>
                    <a:pt x="61" y="264"/>
                    <a:pt x="60" y="262"/>
                  </a:cubicBezTo>
                  <a:cubicBezTo>
                    <a:pt x="26" y="229"/>
                    <a:pt x="26" y="229"/>
                    <a:pt x="26" y="229"/>
                  </a:cubicBezTo>
                  <a:cubicBezTo>
                    <a:pt x="23" y="226"/>
                    <a:pt x="23" y="222"/>
                    <a:pt x="26" y="220"/>
                  </a:cubicBezTo>
                  <a:cubicBezTo>
                    <a:pt x="50" y="196"/>
                    <a:pt x="50" y="196"/>
                    <a:pt x="50" y="196"/>
                  </a:cubicBezTo>
                  <a:cubicBezTo>
                    <a:pt x="46" y="188"/>
                    <a:pt x="43" y="177"/>
                    <a:pt x="41" y="168"/>
                  </a:cubicBezTo>
                  <a:cubicBezTo>
                    <a:pt x="6" y="168"/>
                    <a:pt x="6" y="168"/>
                    <a:pt x="6" y="168"/>
                  </a:cubicBezTo>
                  <a:cubicBezTo>
                    <a:pt x="3" y="168"/>
                    <a:pt x="0" y="165"/>
                    <a:pt x="0" y="162"/>
                  </a:cubicBezTo>
                  <a:cubicBezTo>
                    <a:pt x="0" y="126"/>
                    <a:pt x="0" y="126"/>
                    <a:pt x="0" y="126"/>
                  </a:cubicBezTo>
                  <a:cubicBezTo>
                    <a:pt x="0" y="122"/>
                    <a:pt x="3" y="120"/>
                    <a:pt x="6" y="120"/>
                  </a:cubicBezTo>
                  <a:cubicBezTo>
                    <a:pt x="41" y="120"/>
                    <a:pt x="41" y="120"/>
                    <a:pt x="41" y="120"/>
                  </a:cubicBezTo>
                  <a:cubicBezTo>
                    <a:pt x="43" y="110"/>
                    <a:pt x="46" y="100"/>
                    <a:pt x="50" y="92"/>
                  </a:cubicBezTo>
                  <a:cubicBezTo>
                    <a:pt x="26" y="67"/>
                    <a:pt x="26" y="67"/>
                    <a:pt x="26" y="67"/>
                  </a:cubicBezTo>
                  <a:cubicBezTo>
                    <a:pt x="25" y="66"/>
                    <a:pt x="24" y="65"/>
                    <a:pt x="24" y="63"/>
                  </a:cubicBezTo>
                  <a:cubicBezTo>
                    <a:pt x="24" y="61"/>
                    <a:pt x="25" y="60"/>
                    <a:pt x="26" y="59"/>
                  </a:cubicBezTo>
                  <a:cubicBezTo>
                    <a:pt x="60" y="25"/>
                    <a:pt x="60" y="25"/>
                    <a:pt x="60" y="25"/>
                  </a:cubicBezTo>
                  <a:cubicBezTo>
                    <a:pt x="62" y="23"/>
                    <a:pt x="66" y="23"/>
                    <a:pt x="68" y="25"/>
                  </a:cubicBezTo>
                  <a:cubicBezTo>
                    <a:pt x="92" y="49"/>
                    <a:pt x="92" y="49"/>
                    <a:pt x="92" y="49"/>
                  </a:cubicBezTo>
                  <a:cubicBezTo>
                    <a:pt x="100" y="45"/>
                    <a:pt x="111" y="42"/>
                    <a:pt x="120" y="40"/>
                  </a:cubicBezTo>
                  <a:cubicBezTo>
                    <a:pt x="120" y="6"/>
                    <a:pt x="120" y="6"/>
                    <a:pt x="120" y="6"/>
                  </a:cubicBezTo>
                  <a:cubicBezTo>
                    <a:pt x="120" y="2"/>
                    <a:pt x="123" y="0"/>
                    <a:pt x="126" y="0"/>
                  </a:cubicBezTo>
                  <a:cubicBezTo>
                    <a:pt x="162" y="0"/>
                    <a:pt x="162" y="0"/>
                    <a:pt x="162" y="0"/>
                  </a:cubicBezTo>
                  <a:cubicBezTo>
                    <a:pt x="166" y="0"/>
                    <a:pt x="168" y="2"/>
                    <a:pt x="168" y="6"/>
                  </a:cubicBezTo>
                  <a:cubicBezTo>
                    <a:pt x="168" y="40"/>
                    <a:pt x="168" y="40"/>
                    <a:pt x="168" y="40"/>
                  </a:cubicBezTo>
                  <a:cubicBezTo>
                    <a:pt x="178" y="42"/>
                    <a:pt x="188" y="45"/>
                    <a:pt x="196" y="49"/>
                  </a:cubicBezTo>
                  <a:cubicBezTo>
                    <a:pt x="221" y="25"/>
                    <a:pt x="221" y="25"/>
                    <a:pt x="221" y="25"/>
                  </a:cubicBezTo>
                  <a:cubicBezTo>
                    <a:pt x="223" y="22"/>
                    <a:pt x="227" y="22"/>
                    <a:pt x="229" y="25"/>
                  </a:cubicBezTo>
                  <a:cubicBezTo>
                    <a:pt x="263" y="59"/>
                    <a:pt x="263" y="59"/>
                    <a:pt x="263" y="59"/>
                  </a:cubicBezTo>
                  <a:cubicBezTo>
                    <a:pt x="264" y="60"/>
                    <a:pt x="265" y="61"/>
                    <a:pt x="265" y="63"/>
                  </a:cubicBezTo>
                  <a:cubicBezTo>
                    <a:pt x="265" y="65"/>
                    <a:pt x="264" y="66"/>
                    <a:pt x="263" y="67"/>
                  </a:cubicBezTo>
                  <a:cubicBezTo>
                    <a:pt x="239" y="92"/>
                    <a:pt x="239" y="92"/>
                    <a:pt x="239" y="92"/>
                  </a:cubicBezTo>
                  <a:cubicBezTo>
                    <a:pt x="243" y="100"/>
                    <a:pt x="246" y="110"/>
                    <a:pt x="248" y="120"/>
                  </a:cubicBezTo>
                  <a:cubicBezTo>
                    <a:pt x="282" y="120"/>
                    <a:pt x="282" y="120"/>
                    <a:pt x="282" y="120"/>
                  </a:cubicBezTo>
                  <a:cubicBezTo>
                    <a:pt x="286" y="120"/>
                    <a:pt x="288" y="122"/>
                    <a:pt x="288" y="126"/>
                  </a:cubicBezTo>
                  <a:cubicBezTo>
                    <a:pt x="288" y="162"/>
                    <a:pt x="288" y="162"/>
                    <a:pt x="288" y="162"/>
                  </a:cubicBezTo>
                  <a:cubicBezTo>
                    <a:pt x="288" y="165"/>
                    <a:pt x="286" y="168"/>
                    <a:pt x="282" y="168"/>
                  </a:cubicBezTo>
                  <a:cubicBezTo>
                    <a:pt x="248" y="168"/>
                    <a:pt x="248" y="168"/>
                    <a:pt x="248" y="168"/>
                  </a:cubicBezTo>
                  <a:cubicBezTo>
                    <a:pt x="246" y="177"/>
                    <a:pt x="243" y="188"/>
                    <a:pt x="239" y="196"/>
                  </a:cubicBezTo>
                  <a:cubicBezTo>
                    <a:pt x="263" y="220"/>
                    <a:pt x="263" y="220"/>
                    <a:pt x="263" y="220"/>
                  </a:cubicBezTo>
                  <a:cubicBezTo>
                    <a:pt x="266" y="222"/>
                    <a:pt x="266" y="226"/>
                    <a:pt x="263" y="228"/>
                  </a:cubicBezTo>
                  <a:cubicBezTo>
                    <a:pt x="229" y="262"/>
                    <a:pt x="229" y="262"/>
                    <a:pt x="229" y="262"/>
                  </a:cubicBezTo>
                  <a:cubicBezTo>
                    <a:pt x="227" y="265"/>
                    <a:pt x="223" y="265"/>
                    <a:pt x="221" y="262"/>
                  </a:cubicBezTo>
                  <a:cubicBezTo>
                    <a:pt x="193" y="235"/>
                    <a:pt x="193" y="235"/>
                    <a:pt x="193" y="235"/>
                  </a:cubicBezTo>
                  <a:cubicBezTo>
                    <a:pt x="191" y="233"/>
                    <a:pt x="191" y="229"/>
                    <a:pt x="193" y="226"/>
                  </a:cubicBezTo>
                  <a:cubicBezTo>
                    <a:pt x="196" y="224"/>
                    <a:pt x="199" y="224"/>
                    <a:pt x="202" y="226"/>
                  </a:cubicBezTo>
                  <a:cubicBezTo>
                    <a:pt x="225" y="250"/>
                    <a:pt x="225" y="250"/>
                    <a:pt x="225" y="250"/>
                  </a:cubicBezTo>
                  <a:cubicBezTo>
                    <a:pt x="251" y="224"/>
                    <a:pt x="251" y="224"/>
                    <a:pt x="251" y="224"/>
                  </a:cubicBezTo>
                  <a:cubicBezTo>
                    <a:pt x="227" y="201"/>
                    <a:pt x="227" y="201"/>
                    <a:pt x="227" y="201"/>
                  </a:cubicBezTo>
                  <a:cubicBezTo>
                    <a:pt x="225" y="199"/>
                    <a:pt x="225" y="196"/>
                    <a:pt x="226" y="194"/>
                  </a:cubicBezTo>
                  <a:cubicBezTo>
                    <a:pt x="232" y="185"/>
                    <a:pt x="236" y="167"/>
                    <a:pt x="238" y="160"/>
                  </a:cubicBezTo>
                  <a:cubicBezTo>
                    <a:pt x="238" y="158"/>
                    <a:pt x="241" y="156"/>
                    <a:pt x="243" y="156"/>
                  </a:cubicBezTo>
                  <a:cubicBezTo>
                    <a:pt x="276" y="156"/>
                    <a:pt x="276" y="156"/>
                    <a:pt x="276" y="156"/>
                  </a:cubicBezTo>
                  <a:cubicBezTo>
                    <a:pt x="276" y="132"/>
                    <a:pt x="276" y="132"/>
                    <a:pt x="276" y="132"/>
                  </a:cubicBezTo>
                  <a:cubicBezTo>
                    <a:pt x="243" y="132"/>
                    <a:pt x="243" y="132"/>
                    <a:pt x="243" y="132"/>
                  </a:cubicBezTo>
                  <a:cubicBezTo>
                    <a:pt x="241" y="132"/>
                    <a:pt x="238" y="130"/>
                    <a:pt x="238" y="127"/>
                  </a:cubicBezTo>
                  <a:cubicBezTo>
                    <a:pt x="236" y="120"/>
                    <a:pt x="232" y="103"/>
                    <a:pt x="226" y="94"/>
                  </a:cubicBezTo>
                  <a:cubicBezTo>
                    <a:pt x="225" y="91"/>
                    <a:pt x="225" y="88"/>
                    <a:pt x="227" y="86"/>
                  </a:cubicBezTo>
                  <a:cubicBezTo>
                    <a:pt x="251" y="63"/>
                    <a:pt x="251" y="63"/>
                    <a:pt x="251" y="63"/>
                  </a:cubicBezTo>
                  <a:cubicBezTo>
                    <a:pt x="225" y="38"/>
                    <a:pt x="225" y="38"/>
                    <a:pt x="225" y="38"/>
                  </a:cubicBezTo>
                  <a:cubicBezTo>
                    <a:pt x="202" y="61"/>
                    <a:pt x="202" y="61"/>
                    <a:pt x="202" y="61"/>
                  </a:cubicBezTo>
                  <a:cubicBezTo>
                    <a:pt x="200" y="63"/>
                    <a:pt x="197" y="63"/>
                    <a:pt x="194" y="62"/>
                  </a:cubicBezTo>
                  <a:cubicBezTo>
                    <a:pt x="186" y="57"/>
                    <a:pt x="172" y="53"/>
                    <a:pt x="161"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1" y="50"/>
                    <a:pt x="128" y="50"/>
                  </a:cubicBezTo>
                  <a:cubicBezTo>
                    <a:pt x="117" y="53"/>
                    <a:pt x="103" y="57"/>
                    <a:pt x="95" y="62"/>
                  </a:cubicBezTo>
                  <a:cubicBezTo>
                    <a:pt x="92" y="63"/>
                    <a:pt x="89" y="63"/>
                    <a:pt x="87" y="61"/>
                  </a:cubicBezTo>
                  <a:cubicBezTo>
                    <a:pt x="64" y="38"/>
                    <a:pt x="64" y="38"/>
                    <a:pt x="64" y="38"/>
                  </a:cubicBezTo>
                  <a:cubicBezTo>
                    <a:pt x="38" y="63"/>
                    <a:pt x="38" y="63"/>
                    <a:pt x="38" y="63"/>
                  </a:cubicBezTo>
                  <a:cubicBezTo>
                    <a:pt x="62" y="86"/>
                    <a:pt x="62" y="86"/>
                    <a:pt x="62" y="86"/>
                  </a:cubicBezTo>
                  <a:cubicBezTo>
                    <a:pt x="64" y="88"/>
                    <a:pt x="64" y="91"/>
                    <a:pt x="63" y="94"/>
                  </a:cubicBezTo>
                  <a:cubicBezTo>
                    <a:pt x="57" y="103"/>
                    <a:pt x="53" y="120"/>
                    <a:pt x="51" y="127"/>
                  </a:cubicBezTo>
                  <a:cubicBezTo>
                    <a:pt x="51" y="130"/>
                    <a:pt x="48" y="132"/>
                    <a:pt x="45" y="132"/>
                  </a:cubicBezTo>
                  <a:cubicBezTo>
                    <a:pt x="12" y="132"/>
                    <a:pt x="12" y="132"/>
                    <a:pt x="12" y="132"/>
                  </a:cubicBezTo>
                  <a:cubicBezTo>
                    <a:pt x="12" y="156"/>
                    <a:pt x="12" y="156"/>
                    <a:pt x="12" y="156"/>
                  </a:cubicBezTo>
                  <a:cubicBezTo>
                    <a:pt x="45" y="156"/>
                    <a:pt x="45" y="156"/>
                    <a:pt x="45" y="156"/>
                  </a:cubicBezTo>
                  <a:cubicBezTo>
                    <a:pt x="48" y="156"/>
                    <a:pt x="51" y="158"/>
                    <a:pt x="51" y="160"/>
                  </a:cubicBezTo>
                  <a:cubicBezTo>
                    <a:pt x="53" y="167"/>
                    <a:pt x="57" y="185"/>
                    <a:pt x="63" y="194"/>
                  </a:cubicBezTo>
                  <a:cubicBezTo>
                    <a:pt x="64" y="196"/>
                    <a:pt x="64" y="199"/>
                    <a:pt x="62" y="201"/>
                  </a:cubicBezTo>
                  <a:cubicBezTo>
                    <a:pt x="38" y="224"/>
                    <a:pt x="38" y="224"/>
                    <a:pt x="38" y="224"/>
                  </a:cubicBezTo>
                  <a:cubicBezTo>
                    <a:pt x="64" y="250"/>
                    <a:pt x="64" y="250"/>
                    <a:pt x="64" y="250"/>
                  </a:cubicBezTo>
                  <a:cubicBezTo>
                    <a:pt x="87" y="226"/>
                    <a:pt x="87" y="226"/>
                    <a:pt x="87" y="226"/>
                  </a:cubicBezTo>
                  <a:cubicBezTo>
                    <a:pt x="89" y="224"/>
                    <a:pt x="93" y="224"/>
                    <a:pt x="96" y="226"/>
                  </a:cubicBezTo>
                  <a:cubicBezTo>
                    <a:pt x="98" y="229"/>
                    <a:pt x="98" y="233"/>
                    <a:pt x="96" y="235"/>
                  </a:cubicBezTo>
                  <a:cubicBezTo>
                    <a:pt x="68" y="262"/>
                    <a:pt x="68" y="262"/>
                    <a:pt x="68" y="262"/>
                  </a:cubicBezTo>
                  <a:cubicBezTo>
                    <a:pt x="67" y="264"/>
                    <a:pt x="65" y="264"/>
                    <a:pt x="64"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6207B"/>
                </a:solidFill>
                <a:effectLst/>
                <a:uLnTx/>
                <a:uFillTx/>
                <a:latin typeface="Graphik" charset="0"/>
                <a:ea typeface="+mn-ea"/>
                <a:cs typeface="Arial" charset="0"/>
              </a:endParaRPr>
            </a:p>
          </p:txBody>
        </p:sp>
        <p:sp>
          <p:nvSpPr>
            <p:cNvPr id="8" name="Freeform 54">
              <a:extLst>
                <a:ext uri="{FF2B5EF4-FFF2-40B4-BE49-F238E27FC236}">
                  <a16:creationId xmlns:a16="http://schemas.microsoft.com/office/drawing/2014/main" id="{4B0D1660-C4F2-B67E-5095-0730C23D2278}"/>
                </a:ext>
              </a:extLst>
            </p:cNvPr>
            <p:cNvSpPr>
              <a:spLocks/>
            </p:cNvSpPr>
            <p:nvPr/>
          </p:nvSpPr>
          <p:spPr bwMode="auto">
            <a:xfrm>
              <a:off x="6717" y="79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6" y="0"/>
                    <a:pt x="48" y="2"/>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6207B"/>
                </a:solidFill>
                <a:effectLst/>
                <a:uLnTx/>
                <a:uFillTx/>
                <a:latin typeface="Graphik" charset="0"/>
                <a:ea typeface="+mn-ea"/>
                <a:cs typeface="Arial" charset="0"/>
              </a:endParaRPr>
            </a:p>
          </p:txBody>
        </p:sp>
        <p:sp>
          <p:nvSpPr>
            <p:cNvPr id="9" name="Freeform 55">
              <a:extLst>
                <a:ext uri="{FF2B5EF4-FFF2-40B4-BE49-F238E27FC236}">
                  <a16:creationId xmlns:a16="http://schemas.microsoft.com/office/drawing/2014/main" id="{EE9ACCAA-3B92-FBAD-E2DF-EFEE7F0A4512}"/>
                </a:ext>
              </a:extLst>
            </p:cNvPr>
            <p:cNvSpPr>
              <a:spLocks/>
            </p:cNvSpPr>
            <p:nvPr/>
          </p:nvSpPr>
          <p:spPr bwMode="auto">
            <a:xfrm>
              <a:off x="6717" y="830"/>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6" y="0"/>
                    <a:pt x="48" y="2"/>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6207B"/>
                </a:solidFill>
                <a:effectLst/>
                <a:uLnTx/>
                <a:uFillTx/>
                <a:latin typeface="Graphik" charset="0"/>
                <a:ea typeface="+mn-ea"/>
                <a:cs typeface="Arial" charset="0"/>
              </a:endParaRPr>
            </a:p>
          </p:txBody>
        </p:sp>
        <p:sp>
          <p:nvSpPr>
            <p:cNvPr id="10" name="Freeform 56">
              <a:extLst>
                <a:ext uri="{FF2B5EF4-FFF2-40B4-BE49-F238E27FC236}">
                  <a16:creationId xmlns:a16="http://schemas.microsoft.com/office/drawing/2014/main" id="{4920A1E8-F2A7-1F77-02BC-38A0D78C166F}"/>
                </a:ext>
              </a:extLst>
            </p:cNvPr>
            <p:cNvSpPr>
              <a:spLocks/>
            </p:cNvSpPr>
            <p:nvPr/>
          </p:nvSpPr>
          <p:spPr bwMode="auto">
            <a:xfrm>
              <a:off x="6743" y="830"/>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1"/>
                    <a:pt x="0" y="18"/>
                  </a:cubicBezTo>
                  <a:cubicBezTo>
                    <a:pt x="0" y="6"/>
                    <a:pt x="0" y="6"/>
                    <a:pt x="0" y="6"/>
                  </a:cubicBezTo>
                  <a:cubicBezTo>
                    <a:pt x="0" y="2"/>
                    <a:pt x="3" y="0"/>
                    <a:pt x="6" y="0"/>
                  </a:cubicBezTo>
                  <a:cubicBezTo>
                    <a:pt x="10" y="0"/>
                    <a:pt x="12" y="2"/>
                    <a:pt x="12" y="6"/>
                  </a:cubicBezTo>
                  <a:cubicBezTo>
                    <a:pt x="12" y="18"/>
                    <a:pt x="12" y="18"/>
                    <a:pt x="12" y="18"/>
                  </a:cubicBezTo>
                  <a:cubicBezTo>
                    <a:pt x="12" y="21"/>
                    <a:pt x="10"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6207B"/>
                </a:solidFill>
                <a:effectLst/>
                <a:uLnTx/>
                <a:uFillTx/>
                <a:latin typeface="Graphik" charset="0"/>
                <a:ea typeface="+mn-ea"/>
                <a:cs typeface="Arial" charset="0"/>
              </a:endParaRPr>
            </a:p>
          </p:txBody>
        </p:sp>
        <p:sp>
          <p:nvSpPr>
            <p:cNvPr id="12" name="Freeform 57">
              <a:extLst>
                <a:ext uri="{FF2B5EF4-FFF2-40B4-BE49-F238E27FC236}">
                  <a16:creationId xmlns:a16="http://schemas.microsoft.com/office/drawing/2014/main" id="{0584205A-1884-5C4D-0109-84408E5216E2}"/>
                </a:ext>
              </a:extLst>
            </p:cNvPr>
            <p:cNvSpPr>
              <a:spLocks noEditPoints="1"/>
            </p:cNvSpPr>
            <p:nvPr/>
          </p:nvSpPr>
          <p:spPr bwMode="auto">
            <a:xfrm>
              <a:off x="6640" y="545"/>
              <a:ext cx="226" cy="231"/>
            </a:xfrm>
            <a:custGeom>
              <a:avLst/>
              <a:gdLst>
                <a:gd name="T0" fmla="*/ 94 w 153"/>
                <a:gd name="T1" fmla="*/ 156 h 156"/>
                <a:gd name="T2" fmla="*/ 58 w 153"/>
                <a:gd name="T3" fmla="*/ 156 h 156"/>
                <a:gd name="T4" fmla="*/ 52 w 153"/>
                <a:gd name="T5" fmla="*/ 150 h 156"/>
                <a:gd name="T6" fmla="*/ 52 w 153"/>
                <a:gd name="T7" fmla="*/ 140 h 156"/>
                <a:gd name="T8" fmla="*/ 0 w 153"/>
                <a:gd name="T9" fmla="*/ 72 h 156"/>
                <a:gd name="T10" fmla="*/ 76 w 153"/>
                <a:gd name="T11" fmla="*/ 0 h 156"/>
                <a:gd name="T12" fmla="*/ 153 w 153"/>
                <a:gd name="T13" fmla="*/ 72 h 156"/>
                <a:gd name="T14" fmla="*/ 100 w 153"/>
                <a:gd name="T15" fmla="*/ 140 h 156"/>
                <a:gd name="T16" fmla="*/ 100 w 153"/>
                <a:gd name="T17" fmla="*/ 150 h 156"/>
                <a:gd name="T18" fmla="*/ 94 w 153"/>
                <a:gd name="T19" fmla="*/ 156 h 156"/>
                <a:gd name="T20" fmla="*/ 64 w 153"/>
                <a:gd name="T21" fmla="*/ 144 h 156"/>
                <a:gd name="T22" fmla="*/ 88 w 153"/>
                <a:gd name="T23" fmla="*/ 144 h 156"/>
                <a:gd name="T24" fmla="*/ 88 w 153"/>
                <a:gd name="T25" fmla="*/ 136 h 156"/>
                <a:gd name="T26" fmla="*/ 93 w 153"/>
                <a:gd name="T27" fmla="*/ 130 h 156"/>
                <a:gd name="T28" fmla="*/ 141 w 153"/>
                <a:gd name="T29" fmla="*/ 72 h 156"/>
                <a:gd name="T30" fmla="*/ 76 w 153"/>
                <a:gd name="T31" fmla="*/ 12 h 156"/>
                <a:gd name="T32" fmla="*/ 12 w 153"/>
                <a:gd name="T33" fmla="*/ 72 h 156"/>
                <a:gd name="T34" fmla="*/ 60 w 153"/>
                <a:gd name="T35" fmla="*/ 130 h 156"/>
                <a:gd name="T36" fmla="*/ 64 w 153"/>
                <a:gd name="T37" fmla="*/ 136 h 156"/>
                <a:gd name="T38" fmla="*/ 64 w 153"/>
                <a:gd name="T3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3" h="156">
                  <a:moveTo>
                    <a:pt x="94" y="156"/>
                  </a:moveTo>
                  <a:cubicBezTo>
                    <a:pt x="58" y="156"/>
                    <a:pt x="58" y="156"/>
                    <a:pt x="58" y="156"/>
                  </a:cubicBezTo>
                  <a:cubicBezTo>
                    <a:pt x="55" y="156"/>
                    <a:pt x="52" y="153"/>
                    <a:pt x="52" y="150"/>
                  </a:cubicBezTo>
                  <a:cubicBezTo>
                    <a:pt x="52" y="140"/>
                    <a:pt x="52" y="140"/>
                    <a:pt x="52" y="140"/>
                  </a:cubicBezTo>
                  <a:cubicBezTo>
                    <a:pt x="21" y="130"/>
                    <a:pt x="0" y="103"/>
                    <a:pt x="0" y="72"/>
                  </a:cubicBezTo>
                  <a:cubicBezTo>
                    <a:pt x="0" y="32"/>
                    <a:pt x="34" y="0"/>
                    <a:pt x="76" y="0"/>
                  </a:cubicBezTo>
                  <a:cubicBezTo>
                    <a:pt x="119" y="0"/>
                    <a:pt x="153" y="32"/>
                    <a:pt x="153" y="72"/>
                  </a:cubicBezTo>
                  <a:cubicBezTo>
                    <a:pt x="153" y="103"/>
                    <a:pt x="132" y="130"/>
                    <a:pt x="100" y="140"/>
                  </a:cubicBezTo>
                  <a:cubicBezTo>
                    <a:pt x="100" y="150"/>
                    <a:pt x="100" y="150"/>
                    <a:pt x="100" y="150"/>
                  </a:cubicBezTo>
                  <a:cubicBezTo>
                    <a:pt x="100" y="153"/>
                    <a:pt x="98" y="156"/>
                    <a:pt x="94" y="156"/>
                  </a:cubicBezTo>
                  <a:close/>
                  <a:moveTo>
                    <a:pt x="64" y="144"/>
                  </a:moveTo>
                  <a:cubicBezTo>
                    <a:pt x="88" y="144"/>
                    <a:pt x="88" y="144"/>
                    <a:pt x="88" y="144"/>
                  </a:cubicBezTo>
                  <a:cubicBezTo>
                    <a:pt x="88" y="136"/>
                    <a:pt x="88" y="136"/>
                    <a:pt x="88" y="136"/>
                  </a:cubicBezTo>
                  <a:cubicBezTo>
                    <a:pt x="88" y="133"/>
                    <a:pt x="90" y="131"/>
                    <a:pt x="93" y="130"/>
                  </a:cubicBezTo>
                  <a:cubicBezTo>
                    <a:pt x="121" y="123"/>
                    <a:pt x="141" y="99"/>
                    <a:pt x="141" y="72"/>
                  </a:cubicBezTo>
                  <a:cubicBezTo>
                    <a:pt x="141" y="39"/>
                    <a:pt x="112" y="12"/>
                    <a:pt x="76" y="12"/>
                  </a:cubicBezTo>
                  <a:cubicBezTo>
                    <a:pt x="41" y="12"/>
                    <a:pt x="12" y="39"/>
                    <a:pt x="12" y="72"/>
                  </a:cubicBezTo>
                  <a:cubicBezTo>
                    <a:pt x="12" y="99"/>
                    <a:pt x="32" y="123"/>
                    <a:pt x="60" y="130"/>
                  </a:cubicBezTo>
                  <a:cubicBezTo>
                    <a:pt x="63" y="131"/>
                    <a:pt x="64" y="133"/>
                    <a:pt x="64" y="136"/>
                  </a:cubicBezTo>
                  <a:lnTo>
                    <a:pt x="6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16207B"/>
                </a:solidFill>
                <a:effectLst/>
                <a:uLnTx/>
                <a:uFillTx/>
                <a:latin typeface="Graphik" charset="0"/>
                <a:ea typeface="+mn-ea"/>
                <a:cs typeface="Arial" charset="0"/>
              </a:endParaRPr>
            </a:p>
          </p:txBody>
        </p:sp>
      </p:grpSp>
      <p:pic>
        <p:nvPicPr>
          <p:cNvPr id="14" name="Picture 13">
            <a:extLst>
              <a:ext uri="{FF2B5EF4-FFF2-40B4-BE49-F238E27FC236}">
                <a16:creationId xmlns:a16="http://schemas.microsoft.com/office/drawing/2014/main" id="{62294DF2-9C4E-477F-C708-6F2BFFAD7774}"/>
              </a:ext>
            </a:extLst>
          </p:cNvPr>
          <p:cNvPicPr>
            <a:picLocks noChangeAspect="1"/>
          </p:cNvPicPr>
          <p:nvPr/>
        </p:nvPicPr>
        <p:blipFill>
          <a:blip r:embed="rId7"/>
          <a:stretch>
            <a:fillRect/>
          </a:stretch>
        </p:blipFill>
        <p:spPr>
          <a:xfrm>
            <a:off x="6088194" y="4731770"/>
            <a:ext cx="5716455" cy="2010306"/>
          </a:xfrm>
          <a:prstGeom prst="rect">
            <a:avLst/>
          </a:prstGeom>
        </p:spPr>
      </p:pic>
      <p:pic>
        <p:nvPicPr>
          <p:cNvPr id="16" name="Picture 15">
            <a:extLst>
              <a:ext uri="{FF2B5EF4-FFF2-40B4-BE49-F238E27FC236}">
                <a16:creationId xmlns:a16="http://schemas.microsoft.com/office/drawing/2014/main" id="{AE4DEFA3-2826-06DA-E734-966B07C9FE70}"/>
              </a:ext>
            </a:extLst>
          </p:cNvPr>
          <p:cNvPicPr>
            <a:picLocks noChangeAspect="1"/>
          </p:cNvPicPr>
          <p:nvPr/>
        </p:nvPicPr>
        <p:blipFill>
          <a:blip r:embed="rId8"/>
          <a:stretch>
            <a:fillRect/>
          </a:stretch>
        </p:blipFill>
        <p:spPr>
          <a:xfrm>
            <a:off x="291402" y="4711402"/>
            <a:ext cx="5804598" cy="2030673"/>
          </a:xfrm>
          <a:prstGeom prst="rect">
            <a:avLst/>
          </a:prstGeom>
        </p:spPr>
      </p:pic>
      <p:sp>
        <p:nvSpPr>
          <p:cNvPr id="17" name="TextBox 16">
            <a:extLst>
              <a:ext uri="{FF2B5EF4-FFF2-40B4-BE49-F238E27FC236}">
                <a16:creationId xmlns:a16="http://schemas.microsoft.com/office/drawing/2014/main" id="{BBE4D09E-A09E-2E12-7123-3EF917727C72}"/>
              </a:ext>
            </a:extLst>
          </p:cNvPr>
          <p:cNvSpPr txBox="1"/>
          <p:nvPr/>
        </p:nvSpPr>
        <p:spPr>
          <a:xfrm>
            <a:off x="1282741" y="4373489"/>
            <a:ext cx="4019341" cy="307777"/>
          </a:xfrm>
          <a:prstGeom prst="rect">
            <a:avLst/>
          </a:prstGeom>
          <a:noFill/>
        </p:spPr>
        <p:txBody>
          <a:bodyPr wrap="square" rtlCol="0">
            <a:spAutoFit/>
          </a:bodyPr>
          <a:lstStyle/>
          <a:p>
            <a:pPr algn="ctr"/>
            <a:r>
              <a:rPr lang="en-CA" sz="1400" b="1" u="sng"/>
              <a:t>CMG: Relative Strength Index (Index)</a:t>
            </a:r>
          </a:p>
        </p:txBody>
      </p:sp>
      <p:sp>
        <p:nvSpPr>
          <p:cNvPr id="18" name="TextBox 17">
            <a:extLst>
              <a:ext uri="{FF2B5EF4-FFF2-40B4-BE49-F238E27FC236}">
                <a16:creationId xmlns:a16="http://schemas.microsoft.com/office/drawing/2014/main" id="{12A93C13-7D28-CD4A-DCD0-88D8E3F56BF9}"/>
              </a:ext>
            </a:extLst>
          </p:cNvPr>
          <p:cNvSpPr txBox="1"/>
          <p:nvPr/>
        </p:nvSpPr>
        <p:spPr>
          <a:xfrm>
            <a:off x="6889920" y="4373489"/>
            <a:ext cx="4335297" cy="307777"/>
          </a:xfrm>
          <a:prstGeom prst="rect">
            <a:avLst/>
          </a:prstGeom>
          <a:noFill/>
        </p:spPr>
        <p:txBody>
          <a:bodyPr wrap="square" rtlCol="0">
            <a:spAutoFit/>
          </a:bodyPr>
          <a:lstStyle/>
          <a:p>
            <a:pPr algn="ctr"/>
            <a:r>
              <a:rPr lang="en-CA" sz="1400" b="1" u="sng"/>
              <a:t>CMG Adjusted Closing Price with Bollinger Bands</a:t>
            </a:r>
          </a:p>
        </p:txBody>
      </p:sp>
      <p:sp>
        <p:nvSpPr>
          <p:cNvPr id="28" name="Rectangle 55">
            <a:extLst>
              <a:ext uri="{FF2B5EF4-FFF2-40B4-BE49-F238E27FC236}">
                <a16:creationId xmlns:a16="http://schemas.microsoft.com/office/drawing/2014/main" id="{D2E0DA1F-3968-FBDC-D78F-C321566EFE8E}"/>
              </a:ext>
            </a:extLst>
          </p:cNvPr>
          <p:cNvSpPr/>
          <p:nvPr/>
        </p:nvSpPr>
        <p:spPr>
          <a:xfrm>
            <a:off x="391980" y="2080060"/>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SI</a:t>
            </a:r>
          </a:p>
        </p:txBody>
      </p:sp>
      <p:sp>
        <p:nvSpPr>
          <p:cNvPr id="29" name="Rectangle 55">
            <a:extLst>
              <a:ext uri="{FF2B5EF4-FFF2-40B4-BE49-F238E27FC236}">
                <a16:creationId xmlns:a16="http://schemas.microsoft.com/office/drawing/2014/main" id="{B20B3BAF-4056-E4D8-F979-1AAC70EA7BC0}"/>
              </a:ext>
            </a:extLst>
          </p:cNvPr>
          <p:cNvSpPr/>
          <p:nvPr/>
        </p:nvSpPr>
        <p:spPr>
          <a:xfrm>
            <a:off x="391980" y="2945414"/>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CD</a:t>
            </a:r>
          </a:p>
        </p:txBody>
      </p:sp>
      <p:sp>
        <p:nvSpPr>
          <p:cNvPr id="30" name="Rectangle 55">
            <a:extLst>
              <a:ext uri="{FF2B5EF4-FFF2-40B4-BE49-F238E27FC236}">
                <a16:creationId xmlns:a16="http://schemas.microsoft.com/office/drawing/2014/main" id="{7ECED149-D7C3-538C-D3AF-A040EA5FFC7F}"/>
              </a:ext>
            </a:extLst>
          </p:cNvPr>
          <p:cNvSpPr/>
          <p:nvPr/>
        </p:nvSpPr>
        <p:spPr>
          <a:xfrm>
            <a:off x="391980" y="3805071"/>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X</a:t>
            </a:r>
          </a:p>
        </p:txBody>
      </p:sp>
      <p:sp>
        <p:nvSpPr>
          <p:cNvPr id="32" name="Rectangle 55">
            <a:extLst>
              <a:ext uri="{FF2B5EF4-FFF2-40B4-BE49-F238E27FC236}">
                <a16:creationId xmlns:a16="http://schemas.microsoft.com/office/drawing/2014/main" id="{C2E3E7EC-33E9-CB3D-40ED-9A34ABF6BDCF}"/>
              </a:ext>
            </a:extLst>
          </p:cNvPr>
          <p:cNvSpPr/>
          <p:nvPr/>
        </p:nvSpPr>
        <p:spPr>
          <a:xfrm>
            <a:off x="5902819" y="2080060"/>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ollinger Bands</a:t>
            </a:r>
          </a:p>
        </p:txBody>
      </p:sp>
      <p:sp>
        <p:nvSpPr>
          <p:cNvPr id="33" name="Rectangle 55">
            <a:extLst>
              <a:ext uri="{FF2B5EF4-FFF2-40B4-BE49-F238E27FC236}">
                <a16:creationId xmlns:a16="http://schemas.microsoft.com/office/drawing/2014/main" id="{F82ECCA7-85C0-39D4-A44E-0EC7898B8A6D}"/>
              </a:ext>
            </a:extLst>
          </p:cNvPr>
          <p:cNvSpPr/>
          <p:nvPr/>
        </p:nvSpPr>
        <p:spPr>
          <a:xfrm>
            <a:off x="5902819" y="2945414"/>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MA</a:t>
            </a:r>
          </a:p>
        </p:txBody>
      </p:sp>
      <p:sp>
        <p:nvSpPr>
          <p:cNvPr id="34" name="Rectangle 55">
            <a:extLst>
              <a:ext uri="{FF2B5EF4-FFF2-40B4-BE49-F238E27FC236}">
                <a16:creationId xmlns:a16="http://schemas.microsoft.com/office/drawing/2014/main" id="{50EE252A-E20F-06EB-FA51-6713E5517E52}"/>
              </a:ext>
            </a:extLst>
          </p:cNvPr>
          <p:cNvSpPr/>
          <p:nvPr/>
        </p:nvSpPr>
        <p:spPr>
          <a:xfrm>
            <a:off x="5902819" y="3805071"/>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MA</a:t>
            </a:r>
          </a:p>
        </p:txBody>
      </p:sp>
      <p:sp>
        <p:nvSpPr>
          <p:cNvPr id="35" name="Rectangle 34">
            <a:extLst>
              <a:ext uri="{FF2B5EF4-FFF2-40B4-BE49-F238E27FC236}">
                <a16:creationId xmlns:a16="http://schemas.microsoft.com/office/drawing/2014/main" id="{9D0A5EFF-207D-A2C8-2132-0AEFB4A8C748}"/>
              </a:ext>
            </a:extLst>
          </p:cNvPr>
          <p:cNvSpPr/>
          <p:nvPr/>
        </p:nvSpPr>
        <p:spPr>
          <a:xfrm>
            <a:off x="1071201" y="2080060"/>
            <a:ext cx="4445344"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Verdana" panose="020B0604030504040204" pitchFamily="34" charset="0"/>
                <a:ea typeface="Verdana" panose="020B0604030504040204" pitchFamily="34" charset="0"/>
              </a:rPr>
              <a:t>Measures the Speed and Change of Price Movements </a:t>
            </a:r>
          </a:p>
        </p:txBody>
      </p:sp>
      <p:sp>
        <p:nvSpPr>
          <p:cNvPr id="36" name="Rectangle 35">
            <a:extLst>
              <a:ext uri="{FF2B5EF4-FFF2-40B4-BE49-F238E27FC236}">
                <a16:creationId xmlns:a16="http://schemas.microsoft.com/office/drawing/2014/main" id="{15538BC6-76E8-839F-8B83-0DC6F3BC5631}"/>
              </a:ext>
            </a:extLst>
          </p:cNvPr>
          <p:cNvSpPr/>
          <p:nvPr/>
        </p:nvSpPr>
        <p:spPr>
          <a:xfrm>
            <a:off x="1071201" y="3008570"/>
            <a:ext cx="4445344"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Indicates the Strength and Direction of Trend</a:t>
            </a:r>
          </a:p>
        </p:txBody>
      </p:sp>
      <p:sp>
        <p:nvSpPr>
          <p:cNvPr id="37" name="Rectangle 36">
            <a:extLst>
              <a:ext uri="{FF2B5EF4-FFF2-40B4-BE49-F238E27FC236}">
                <a16:creationId xmlns:a16="http://schemas.microsoft.com/office/drawing/2014/main" id="{D31361B0-B836-5F2D-E423-D8696C8E9C70}"/>
              </a:ext>
            </a:extLst>
          </p:cNvPr>
          <p:cNvSpPr/>
          <p:nvPr/>
        </p:nvSpPr>
        <p:spPr>
          <a:xfrm>
            <a:off x="1071201" y="3805071"/>
            <a:ext cx="4445344"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Measures Trend Strength</a:t>
            </a:r>
          </a:p>
        </p:txBody>
      </p:sp>
      <p:sp>
        <p:nvSpPr>
          <p:cNvPr id="38" name="Rectangle 37">
            <a:extLst>
              <a:ext uri="{FF2B5EF4-FFF2-40B4-BE49-F238E27FC236}">
                <a16:creationId xmlns:a16="http://schemas.microsoft.com/office/drawing/2014/main" id="{00CD2A3E-4669-D400-DCBA-0CECEEAB6DE2}"/>
              </a:ext>
            </a:extLst>
          </p:cNvPr>
          <p:cNvSpPr/>
          <p:nvPr/>
        </p:nvSpPr>
        <p:spPr>
          <a:xfrm>
            <a:off x="6675454" y="2087898"/>
            <a:ext cx="4738203" cy="573112"/>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Middle Band (SMA) and Two Outer Bands (Standard Deviation)</a:t>
            </a:r>
          </a:p>
        </p:txBody>
      </p:sp>
      <p:sp>
        <p:nvSpPr>
          <p:cNvPr id="39" name="Rectangle 38">
            <a:extLst>
              <a:ext uri="{FF2B5EF4-FFF2-40B4-BE49-F238E27FC236}">
                <a16:creationId xmlns:a16="http://schemas.microsoft.com/office/drawing/2014/main" id="{2405944F-D58C-DFAD-9544-15BAF6D6247E}"/>
              </a:ext>
            </a:extLst>
          </p:cNvPr>
          <p:cNvSpPr/>
          <p:nvPr/>
        </p:nvSpPr>
        <p:spPr>
          <a:xfrm>
            <a:off x="6688466" y="2953251"/>
            <a:ext cx="4738203" cy="573112"/>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Exponential Moving Averages (12 and 26 Day)</a:t>
            </a:r>
          </a:p>
        </p:txBody>
      </p:sp>
      <p:sp>
        <p:nvSpPr>
          <p:cNvPr id="40" name="Rectangle 39">
            <a:extLst>
              <a:ext uri="{FF2B5EF4-FFF2-40B4-BE49-F238E27FC236}">
                <a16:creationId xmlns:a16="http://schemas.microsoft.com/office/drawing/2014/main" id="{0BAE67F8-5AC5-9727-5B88-8D492B94A878}"/>
              </a:ext>
            </a:extLst>
          </p:cNvPr>
          <p:cNvSpPr/>
          <p:nvPr/>
        </p:nvSpPr>
        <p:spPr>
          <a:xfrm>
            <a:off x="6688466" y="3800377"/>
            <a:ext cx="4738203" cy="573112"/>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Simple Moving Averages (50 and 200 Day)</a:t>
            </a:r>
          </a:p>
        </p:txBody>
      </p:sp>
    </p:spTree>
    <p:extLst>
      <p:ext uri="{BB962C8B-B14F-4D97-AF65-F5344CB8AC3E}">
        <p14:creationId xmlns:p14="http://schemas.microsoft.com/office/powerpoint/2010/main" val="3136288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7">
            <a:hlinkClick r:id="rId4"/>
            <a:extLst>
              <a:ext uri="{FF2B5EF4-FFF2-40B4-BE49-F238E27FC236}">
                <a16:creationId xmlns:a16="http://schemas.microsoft.com/office/drawing/2014/main" id="{3E75D156-641F-A9C9-8843-92D424F32966}"/>
              </a:ext>
            </a:extLst>
          </p:cNvPr>
          <p:cNvSpPr txBox="1">
            <a:spLocks/>
          </p:cNvSpPr>
          <p:nvPr/>
        </p:nvSpPr>
        <p:spPr>
          <a:xfrm>
            <a:off x="391980" y="1285232"/>
            <a:ext cx="11420475" cy="711263"/>
          </a:xfrm>
          <a:prstGeom prst="rect">
            <a:avLst/>
          </a:prstGeom>
          <a:solidFill>
            <a:schemeClr val="bg1">
              <a:lumMod val="95000"/>
            </a:schemeClr>
          </a:solidFill>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1200">
                <a:solidFill>
                  <a:srgbClr val="000000"/>
                </a:solidFill>
              </a:rPr>
              <a:t>Interaction Features: </a:t>
            </a:r>
            <a:r>
              <a:rPr lang="en-US" sz="1200" b="0">
                <a:solidFill>
                  <a:srgbClr val="000000"/>
                </a:solidFill>
              </a:rPr>
              <a:t>Created by Combining Two or More Existing Variables to Capture the Combined Effect</a:t>
            </a:r>
            <a:endParaRPr kumimoji="0" lang="en-US" sz="12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6" name="Objeto 5" hidden="1">
            <a:extLst>
              <a:ext uri="{FF2B5EF4-FFF2-40B4-BE49-F238E27FC236}">
                <a16:creationId xmlns:a16="http://schemas.microsoft.com/office/drawing/2014/main" id="{CACA4D61-F04B-42E7-2D40-8921075DC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6" name="Objeto 5" hidden="1">
                        <a:extLst>
                          <a:ext uri="{FF2B5EF4-FFF2-40B4-BE49-F238E27FC236}">
                            <a16:creationId xmlns:a16="http://schemas.microsoft.com/office/drawing/2014/main" id="{CACA4D61-F04B-42E7-2D40-8921075DCB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A889A8D-C759-4AFA-51E1-2F2D342A129A}"/>
              </a:ext>
            </a:extLst>
          </p:cNvPr>
          <p:cNvSpPr>
            <a:spLocks noGrp="1"/>
          </p:cNvSpPr>
          <p:nvPr>
            <p:ph type="title"/>
          </p:nvPr>
        </p:nvSpPr>
        <p:spPr/>
        <p:txBody>
          <a:bodyPr vert="horz"/>
          <a:lstStyle/>
          <a:p>
            <a:r>
              <a:rPr lang="en-US"/>
              <a:t>Categories of Variables: Interaction Features</a:t>
            </a:r>
          </a:p>
        </p:txBody>
      </p:sp>
      <p:sp>
        <p:nvSpPr>
          <p:cNvPr id="28" name="Rectangle 55">
            <a:extLst>
              <a:ext uri="{FF2B5EF4-FFF2-40B4-BE49-F238E27FC236}">
                <a16:creationId xmlns:a16="http://schemas.microsoft.com/office/drawing/2014/main" id="{D2E0DA1F-3968-FBDC-D78F-C321566EFE8E}"/>
              </a:ext>
            </a:extLst>
          </p:cNvPr>
          <p:cNvSpPr/>
          <p:nvPr/>
        </p:nvSpPr>
        <p:spPr>
          <a:xfrm>
            <a:off x="391980" y="2080060"/>
            <a:ext cx="1416723"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SI * </a:t>
            </a:r>
            <a:r>
              <a:rPr kumimoji="0" lang="en-GB" sz="100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j</a:t>
            </a: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Close</a:t>
            </a:r>
          </a:p>
        </p:txBody>
      </p:sp>
      <p:sp>
        <p:nvSpPr>
          <p:cNvPr id="29" name="Rectangle 55">
            <a:extLst>
              <a:ext uri="{FF2B5EF4-FFF2-40B4-BE49-F238E27FC236}">
                <a16:creationId xmlns:a16="http://schemas.microsoft.com/office/drawing/2014/main" id="{B20B3BAF-4056-E4D8-F979-1AAC70EA7BC0}"/>
              </a:ext>
            </a:extLst>
          </p:cNvPr>
          <p:cNvSpPr/>
          <p:nvPr/>
        </p:nvSpPr>
        <p:spPr>
          <a:xfrm>
            <a:off x="384173" y="3415837"/>
            <a:ext cx="1423848"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MA 12 * Volume</a:t>
            </a:r>
          </a:p>
        </p:txBody>
      </p:sp>
      <p:sp>
        <p:nvSpPr>
          <p:cNvPr id="30" name="Rectangle 55">
            <a:extLst>
              <a:ext uri="{FF2B5EF4-FFF2-40B4-BE49-F238E27FC236}">
                <a16:creationId xmlns:a16="http://schemas.microsoft.com/office/drawing/2014/main" id="{7ECED149-D7C3-538C-D3AF-A040EA5FFC7F}"/>
              </a:ext>
            </a:extLst>
          </p:cNvPr>
          <p:cNvSpPr/>
          <p:nvPr/>
        </p:nvSpPr>
        <p:spPr>
          <a:xfrm>
            <a:off x="391980" y="4810590"/>
            <a:ext cx="1416723"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toch </a:t>
            </a:r>
            <a:r>
              <a:rPr kumimoji="0" lang="en-GB" sz="100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sc</a:t>
            </a:r>
            <a:r>
              <a:rPr kumimoji="0" lang="en-GB" sz="100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 ADX</a:t>
            </a:r>
          </a:p>
        </p:txBody>
      </p:sp>
      <p:sp>
        <p:nvSpPr>
          <p:cNvPr id="35" name="Rectangle 34">
            <a:extLst>
              <a:ext uri="{FF2B5EF4-FFF2-40B4-BE49-F238E27FC236}">
                <a16:creationId xmlns:a16="http://schemas.microsoft.com/office/drawing/2014/main" id="{9D0A5EFF-207D-A2C8-2132-0AEFB4A8C748}"/>
              </a:ext>
            </a:extLst>
          </p:cNvPr>
          <p:cNvSpPr/>
          <p:nvPr/>
        </p:nvSpPr>
        <p:spPr>
          <a:xfrm>
            <a:off x="1904398" y="2080060"/>
            <a:ext cx="3244808" cy="580949"/>
          </a:xfrm>
          <a:prstGeom prst="rect">
            <a:avLst/>
          </a:prstGeom>
          <a:solidFill>
            <a:schemeClr val="accent2"/>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Verdana" panose="020B0604030504040204" pitchFamily="34" charset="0"/>
                <a:ea typeface="Verdana" panose="020B0604030504040204" pitchFamily="34" charset="0"/>
              </a:rPr>
              <a:t>Combines Momentum with Actual Price Levels</a:t>
            </a:r>
          </a:p>
        </p:txBody>
      </p:sp>
      <p:sp>
        <p:nvSpPr>
          <p:cNvPr id="36" name="Rectangle 35">
            <a:extLst>
              <a:ext uri="{FF2B5EF4-FFF2-40B4-BE49-F238E27FC236}">
                <a16:creationId xmlns:a16="http://schemas.microsoft.com/office/drawing/2014/main" id="{15538BC6-76E8-839F-8B83-0DC6F3BC5631}"/>
              </a:ext>
            </a:extLst>
          </p:cNvPr>
          <p:cNvSpPr/>
          <p:nvPr/>
        </p:nvSpPr>
        <p:spPr>
          <a:xfrm>
            <a:off x="391297" y="4080351"/>
            <a:ext cx="4757227" cy="580949"/>
          </a:xfrm>
          <a:prstGeom prst="rect">
            <a:avLst/>
          </a:prstGeom>
          <a:solidFill>
            <a:srgbClr val="F9F9F9"/>
          </a:solidFill>
          <a:ln w="6350">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High Values Volume suggest Strong Investor Interest and Confidence</a:t>
            </a:r>
          </a:p>
        </p:txBody>
      </p:sp>
      <p:sp>
        <p:nvSpPr>
          <p:cNvPr id="37" name="Rectangle 36">
            <a:extLst>
              <a:ext uri="{FF2B5EF4-FFF2-40B4-BE49-F238E27FC236}">
                <a16:creationId xmlns:a16="http://schemas.microsoft.com/office/drawing/2014/main" id="{D31361B0-B836-5F2D-E423-D8696C8E9C70}"/>
              </a:ext>
            </a:extLst>
          </p:cNvPr>
          <p:cNvSpPr/>
          <p:nvPr/>
        </p:nvSpPr>
        <p:spPr>
          <a:xfrm>
            <a:off x="391980" y="5490778"/>
            <a:ext cx="4757226" cy="580949"/>
          </a:xfrm>
          <a:prstGeom prst="rect">
            <a:avLst/>
          </a:prstGeom>
          <a:solidFill>
            <a:srgbClr val="F9F9F9"/>
          </a:solidFill>
          <a:ln w="6350">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Identify Changes in Trend Strength and Momentum</a:t>
            </a:r>
          </a:p>
        </p:txBody>
      </p:sp>
      <p:pic>
        <p:nvPicPr>
          <p:cNvPr id="5" name="Picture 4" descr="A black background with a black square&#10;&#10;Description automatically generated with medium confidence">
            <a:extLst>
              <a:ext uri="{FF2B5EF4-FFF2-40B4-BE49-F238E27FC236}">
                <a16:creationId xmlns:a16="http://schemas.microsoft.com/office/drawing/2014/main" id="{D978255B-8149-6211-0929-D3086201AA57}"/>
              </a:ext>
            </a:extLst>
          </p:cNvPr>
          <p:cNvPicPr>
            <a:picLocks noChangeAspect="1"/>
          </p:cNvPicPr>
          <p:nvPr/>
        </p:nvPicPr>
        <p:blipFill>
          <a:blip r:embed="rId7"/>
          <a:stretch>
            <a:fillRect/>
          </a:stretch>
        </p:blipFill>
        <p:spPr>
          <a:xfrm>
            <a:off x="408104" y="1356597"/>
            <a:ext cx="632061" cy="632061"/>
          </a:xfrm>
          <a:prstGeom prst="rect">
            <a:avLst/>
          </a:prstGeom>
        </p:spPr>
      </p:pic>
      <p:sp>
        <p:nvSpPr>
          <p:cNvPr id="13" name="Rectangle 12">
            <a:extLst>
              <a:ext uri="{FF2B5EF4-FFF2-40B4-BE49-F238E27FC236}">
                <a16:creationId xmlns:a16="http://schemas.microsoft.com/office/drawing/2014/main" id="{BD9E5D7C-96B9-7EC1-FD7D-030FFF9E793D}"/>
              </a:ext>
            </a:extLst>
          </p:cNvPr>
          <p:cNvSpPr/>
          <p:nvPr/>
        </p:nvSpPr>
        <p:spPr>
          <a:xfrm>
            <a:off x="384173" y="2736737"/>
            <a:ext cx="4765033" cy="580949"/>
          </a:xfrm>
          <a:prstGeom prst="rect">
            <a:avLst/>
          </a:prstGeom>
          <a:solidFill>
            <a:srgbClr val="F9F9F9"/>
          </a:solidFill>
          <a:ln w="6350">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Can Highlight Oversold or Overbought Conditions</a:t>
            </a:r>
          </a:p>
        </p:txBody>
      </p:sp>
      <p:sp>
        <p:nvSpPr>
          <p:cNvPr id="15" name="Rectangle 14">
            <a:extLst>
              <a:ext uri="{FF2B5EF4-FFF2-40B4-BE49-F238E27FC236}">
                <a16:creationId xmlns:a16="http://schemas.microsoft.com/office/drawing/2014/main" id="{4B2B4CDC-4579-1108-D0A7-F82D7AB58FF7}"/>
              </a:ext>
            </a:extLst>
          </p:cNvPr>
          <p:cNvSpPr/>
          <p:nvPr/>
        </p:nvSpPr>
        <p:spPr>
          <a:xfrm>
            <a:off x="1903716" y="3415837"/>
            <a:ext cx="3244808" cy="580949"/>
          </a:xfrm>
          <a:prstGeom prst="rect">
            <a:avLst/>
          </a:prstGeom>
          <a:solidFill>
            <a:schemeClr val="accent2"/>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Combines Trend Aspects with Trading Volume</a:t>
            </a:r>
          </a:p>
        </p:txBody>
      </p:sp>
      <p:sp>
        <p:nvSpPr>
          <p:cNvPr id="19" name="Rectangle 18">
            <a:extLst>
              <a:ext uri="{FF2B5EF4-FFF2-40B4-BE49-F238E27FC236}">
                <a16:creationId xmlns:a16="http://schemas.microsoft.com/office/drawing/2014/main" id="{433FB3C8-AD47-F9CF-D800-FEACED192AAB}"/>
              </a:ext>
            </a:extLst>
          </p:cNvPr>
          <p:cNvSpPr/>
          <p:nvPr/>
        </p:nvSpPr>
        <p:spPr>
          <a:xfrm>
            <a:off x="1904398" y="4800247"/>
            <a:ext cx="3244808" cy="580949"/>
          </a:xfrm>
          <a:prstGeom prst="rect">
            <a:avLst/>
          </a:prstGeom>
          <a:solidFill>
            <a:schemeClr val="accent2"/>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Combines Momentum Aspects with Trend Strength</a:t>
            </a:r>
          </a:p>
        </p:txBody>
      </p:sp>
      <p:sp>
        <p:nvSpPr>
          <p:cNvPr id="44" name="TextBox 43">
            <a:extLst>
              <a:ext uri="{FF2B5EF4-FFF2-40B4-BE49-F238E27FC236}">
                <a16:creationId xmlns:a16="http://schemas.microsoft.com/office/drawing/2014/main" id="{A8957F25-0AF0-F3BA-1D26-924A1AD8FE97}"/>
              </a:ext>
            </a:extLst>
          </p:cNvPr>
          <p:cNvSpPr txBox="1"/>
          <p:nvPr/>
        </p:nvSpPr>
        <p:spPr>
          <a:xfrm>
            <a:off x="5385916" y="2080060"/>
            <a:ext cx="5918479" cy="369332"/>
          </a:xfrm>
          <a:prstGeom prst="rect">
            <a:avLst/>
          </a:prstGeom>
          <a:noFill/>
        </p:spPr>
        <p:txBody>
          <a:bodyPr wrap="square" rtlCol="0">
            <a:spAutoFit/>
          </a:bodyPr>
          <a:lstStyle/>
          <a:p>
            <a:pPr algn="ctr"/>
            <a:r>
              <a:rPr lang="en-CA" b="1" u="sng"/>
              <a:t>CMG Performance Relative to Interaction Features</a:t>
            </a:r>
          </a:p>
        </p:txBody>
      </p:sp>
      <p:pic>
        <p:nvPicPr>
          <p:cNvPr id="46" name="Picture 45">
            <a:extLst>
              <a:ext uri="{FF2B5EF4-FFF2-40B4-BE49-F238E27FC236}">
                <a16:creationId xmlns:a16="http://schemas.microsoft.com/office/drawing/2014/main" id="{F924B5B5-DC43-A540-C542-213CA6D32D95}"/>
              </a:ext>
            </a:extLst>
          </p:cNvPr>
          <p:cNvPicPr>
            <a:picLocks noChangeAspect="1"/>
          </p:cNvPicPr>
          <p:nvPr/>
        </p:nvPicPr>
        <p:blipFill>
          <a:blip r:embed="rId8"/>
          <a:stretch>
            <a:fillRect/>
          </a:stretch>
        </p:blipFill>
        <p:spPr>
          <a:xfrm>
            <a:off x="5182830" y="2532957"/>
            <a:ext cx="6617190" cy="3633966"/>
          </a:xfrm>
          <a:prstGeom prst="rect">
            <a:avLst/>
          </a:prstGeom>
        </p:spPr>
      </p:pic>
    </p:spTree>
    <p:extLst>
      <p:ext uri="{BB962C8B-B14F-4D97-AF65-F5344CB8AC3E}">
        <p14:creationId xmlns:p14="http://schemas.microsoft.com/office/powerpoint/2010/main" val="21379816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262272" y="1995629"/>
            <a:ext cx="1976559"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dirty="0">
                <a:solidFill>
                  <a:srgbClr val="1D9A78"/>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bjective</a:t>
            </a:r>
          </a:p>
        </p:txBody>
      </p:sp>
      <p:sp>
        <p:nvSpPr>
          <p:cNvPr id="9" name="Rectangle 89">
            <a:extLst>
              <a:ext uri="{FF2B5EF4-FFF2-40B4-BE49-F238E27FC236}">
                <a16:creationId xmlns:a16="http://schemas.microsoft.com/office/drawing/2014/main" id="{0ECCBAAC-6E26-65EC-968A-810CBB9ACB1C}"/>
              </a:ext>
            </a:extLst>
          </p:cNvPr>
          <p:cNvSpPr/>
          <p:nvPr/>
        </p:nvSpPr>
        <p:spPr>
          <a:xfrm>
            <a:off x="2238826" y="1995629"/>
            <a:ext cx="9562027" cy="79028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he primary goal is to allocate $1 million USD across six target companies: Salesforce, Uber, Chipotle, Kraft Heinz, Estée Lauder, and Expedia for the week of July 22 to July 26 to maximize returns.</a:t>
            </a: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262271" y="3030358"/>
            <a:ext cx="1976559"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a:solidFill>
                  <a:srgbClr val="1D9A78"/>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ata Overview</a:t>
            </a:r>
          </a:p>
        </p:txBody>
      </p:sp>
      <p:sp>
        <p:nvSpPr>
          <p:cNvPr id="12" name="Rectangle 89">
            <a:extLst>
              <a:ext uri="{FF2B5EF4-FFF2-40B4-BE49-F238E27FC236}">
                <a16:creationId xmlns:a16="http://schemas.microsoft.com/office/drawing/2014/main" id="{BCBF67E6-E5F9-0DB9-2FD3-157A72E7479F}"/>
              </a:ext>
            </a:extLst>
          </p:cNvPr>
          <p:cNvSpPr/>
          <p:nvPr/>
        </p:nvSpPr>
        <p:spPr>
          <a:xfrm>
            <a:off x="2238827" y="3030358"/>
            <a:ext cx="9562027" cy="79028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4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We are analyzing the historic, and forward-looking, stock data of the companies that comprise the S&amp;P 500 to understand the market and identify patterns/insights to inform our portfolio allocation.</a:t>
            </a: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262270" y="4069427"/>
            <a:ext cx="1976559"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a:solidFill>
                  <a:srgbClr val="1D9A78"/>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odel Development</a:t>
            </a:r>
          </a:p>
        </p:txBody>
      </p:sp>
      <p:sp>
        <p:nvSpPr>
          <p:cNvPr id="15" name="Rectangle 89">
            <a:extLst>
              <a:ext uri="{FF2B5EF4-FFF2-40B4-BE49-F238E27FC236}">
                <a16:creationId xmlns:a16="http://schemas.microsoft.com/office/drawing/2014/main" id="{643F7EB3-4069-470F-086D-6E98C31D04EB}"/>
              </a:ext>
            </a:extLst>
          </p:cNvPr>
          <p:cNvSpPr/>
          <p:nvPr/>
        </p:nvSpPr>
        <p:spPr>
          <a:xfrm>
            <a:off x="2238828" y="4069427"/>
            <a:ext cx="9562027" cy="79028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4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We will deploy predictive models/techniques learned in class, including machine-based regression and classification, to create the most accurate and informative model.</a:t>
            </a: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262270" y="5111991"/>
            <a:ext cx="1976559"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a:solidFill>
                  <a:srgbClr val="1D9A78"/>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ployment</a:t>
            </a:r>
          </a:p>
        </p:txBody>
      </p:sp>
      <p:sp>
        <p:nvSpPr>
          <p:cNvPr id="18" name="Rectangle 89">
            <a:extLst>
              <a:ext uri="{FF2B5EF4-FFF2-40B4-BE49-F238E27FC236}">
                <a16:creationId xmlns:a16="http://schemas.microsoft.com/office/drawing/2014/main" id="{2CFC5DFA-34A9-7DE4-EB59-996283F23FCC}"/>
              </a:ext>
            </a:extLst>
          </p:cNvPr>
          <p:cNvSpPr/>
          <p:nvPr/>
        </p:nvSpPr>
        <p:spPr>
          <a:xfrm>
            <a:off x="2238829" y="5111991"/>
            <a:ext cx="9562027" cy="79028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4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he insights from our predictive models will be used to allocate the $1 million USD between the six target companies that we believe will yield the greatest return over the selected period.</a:t>
            </a:r>
          </a:p>
        </p:txBody>
      </p:sp>
      <p:sp>
        <p:nvSpPr>
          <p:cNvPr id="6" name="TextBox 24">
            <a:extLst>
              <a:ext uri="{FF2B5EF4-FFF2-40B4-BE49-F238E27FC236}">
                <a16:creationId xmlns:a16="http://schemas.microsoft.com/office/drawing/2014/main" id="{A1FCD546-7266-F9CA-CC1A-1EEF3811C21D}"/>
              </a:ext>
            </a:extLst>
          </p:cNvPr>
          <p:cNvSpPr txBox="1"/>
          <p:nvPr/>
        </p:nvSpPr>
        <p:spPr>
          <a:xfrm>
            <a:off x="288958" y="1389623"/>
            <a:ext cx="2679489" cy="307777"/>
          </a:xfrm>
          <a:prstGeom prst="rect">
            <a:avLst/>
          </a:prstGeom>
          <a:noFill/>
        </p:spPr>
        <p:txBody>
          <a:bodyPr wrap="square" lIns="0" tIns="0" rIns="0" bIns="0" rtlCol="0" anchor="b">
            <a:noAutofit/>
          </a:bodyPr>
          <a:lstStyle/>
          <a:p>
            <a:r>
              <a:rPr lang="en-US" b="1" dirty="0">
                <a:solidFill>
                  <a:srgbClr val="1D9A78"/>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ey Areas</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279125" y="1732070"/>
            <a:ext cx="1894317" cy="8629"/>
          </a:xfrm>
          <a:prstGeom prst="line">
            <a:avLst/>
          </a:prstGeom>
          <a:ln w="28575">
            <a:solidFill>
              <a:srgbClr val="ADB9CA"/>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448560" y="1389624"/>
            <a:ext cx="2489427" cy="316406"/>
          </a:xfrm>
          <a:prstGeom prst="rect">
            <a:avLst/>
          </a:prstGeom>
          <a:noFill/>
        </p:spPr>
        <p:txBody>
          <a:bodyPr wrap="square" lIns="0" tIns="0" rIns="0" bIns="0" rtlCol="0" anchor="b">
            <a:noAutofit/>
          </a:bodyPr>
          <a:lstStyle/>
          <a:p>
            <a:r>
              <a:rPr lang="en-US" b="1" dirty="0">
                <a:solidFill>
                  <a:srgbClr val="1D9A78"/>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scription</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448560" y="1740699"/>
            <a:ext cx="9356089" cy="0"/>
          </a:xfrm>
          <a:prstGeom prst="line">
            <a:avLst/>
          </a:prstGeom>
          <a:ln w="28575">
            <a:solidFill>
              <a:srgbClr val="ADB9CA"/>
            </a:solidFill>
          </a:ln>
        </p:spPr>
        <p:style>
          <a:lnRef idx="1">
            <a:schemeClr val="accent1"/>
          </a:lnRef>
          <a:fillRef idx="0">
            <a:schemeClr val="accent1"/>
          </a:fillRef>
          <a:effectRef idx="0">
            <a:schemeClr val="accent1"/>
          </a:effectRef>
          <a:fontRef idx="minor">
            <a:schemeClr val="tx1"/>
          </a:fontRef>
        </p:style>
      </p:cxnSp>
      <p:sp>
        <p:nvSpPr>
          <p:cNvPr id="5" name="Título 2">
            <a:extLst>
              <a:ext uri="{FF2B5EF4-FFF2-40B4-BE49-F238E27FC236}">
                <a16:creationId xmlns:a16="http://schemas.microsoft.com/office/drawing/2014/main" id="{77CA0603-3173-D0FE-613F-644D4987045A}"/>
              </a:ext>
            </a:extLst>
          </p:cNvPr>
          <p:cNvSpPr txBox="1">
            <a:spLocks/>
          </p:cNvSpPr>
          <p:nvPr/>
        </p:nvSpPr>
        <p:spPr>
          <a:xfrm>
            <a:off x="536574" y="533400"/>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b="0" dirty="0"/>
              <a:t>Task Description</a:t>
            </a:r>
          </a:p>
        </p:txBody>
      </p:sp>
    </p:spTree>
    <p:extLst>
      <p:ext uri="{BB962C8B-B14F-4D97-AF65-F5344CB8AC3E}">
        <p14:creationId xmlns:p14="http://schemas.microsoft.com/office/powerpoint/2010/main" val="9758836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00860E8-727D-8948-F0C7-D71A7660CBA3}"/>
              </a:ext>
            </a:extLst>
          </p:cNvPr>
          <p:cNvSpPr/>
          <p:nvPr/>
        </p:nvSpPr>
        <p:spPr>
          <a:xfrm>
            <a:off x="2846220" y="3196430"/>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a:extLst>
              <a:ext uri="{FF2B5EF4-FFF2-40B4-BE49-F238E27FC236}">
                <a16:creationId xmlns:a16="http://schemas.microsoft.com/office/drawing/2014/main" id="{3E9B6B88-0B39-765B-45D2-77A7A3C7D320}"/>
              </a:ext>
            </a:extLst>
          </p:cNvPr>
          <p:cNvSpPr/>
          <p:nvPr/>
        </p:nvSpPr>
        <p:spPr>
          <a:xfrm>
            <a:off x="2846220" y="4059779"/>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a:extLst>
              <a:ext uri="{FF2B5EF4-FFF2-40B4-BE49-F238E27FC236}">
                <a16:creationId xmlns:a16="http://schemas.microsoft.com/office/drawing/2014/main" id="{1C2662AD-9B0B-FBDB-D5D6-763B30481847}"/>
              </a:ext>
            </a:extLst>
          </p:cNvPr>
          <p:cNvSpPr/>
          <p:nvPr/>
        </p:nvSpPr>
        <p:spPr>
          <a:xfrm>
            <a:off x="2846220" y="4888910"/>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 name="Rectangle 33">
            <a:extLst>
              <a:ext uri="{FF2B5EF4-FFF2-40B4-BE49-F238E27FC236}">
                <a16:creationId xmlns:a16="http://schemas.microsoft.com/office/drawing/2014/main" id="{4EC29F21-55F9-68B7-1DD1-5C39BB223DF2}"/>
              </a:ext>
            </a:extLst>
          </p:cNvPr>
          <p:cNvSpPr/>
          <p:nvPr/>
        </p:nvSpPr>
        <p:spPr>
          <a:xfrm>
            <a:off x="2846219" y="5755752"/>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Marcador de texto 7">
            <a:hlinkClick r:id="rId4"/>
            <a:extLst>
              <a:ext uri="{FF2B5EF4-FFF2-40B4-BE49-F238E27FC236}">
                <a16:creationId xmlns:a16="http://schemas.microsoft.com/office/drawing/2014/main" id="{3E75D156-641F-A9C9-8843-92D424F32966}"/>
              </a:ext>
            </a:extLst>
          </p:cNvPr>
          <p:cNvSpPr txBox="1">
            <a:spLocks/>
          </p:cNvSpPr>
          <p:nvPr/>
        </p:nvSpPr>
        <p:spPr>
          <a:xfrm>
            <a:off x="391980" y="1285232"/>
            <a:ext cx="11420475" cy="711263"/>
          </a:xfrm>
          <a:prstGeom prst="rect">
            <a:avLst/>
          </a:prstGeom>
          <a:solidFill>
            <a:schemeClr val="bg1">
              <a:lumMod val="95000"/>
            </a:schemeClr>
          </a:solidFill>
        </p:spPr>
        <p:txBody>
          <a:bodyPr vert="horz" wrap="square" lIns="576000" tIns="0" rIns="0" bIns="0" rtlCol="0" anchor="ctr">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0" marR="0" lvl="0" indent="0" algn="l" defTabSz="228554" rtl="0" eaLnBrk="1" fontAlgn="auto" latinLnBrk="0" hangingPunct="1">
              <a:lnSpc>
                <a:spcPct val="100000"/>
              </a:lnSpc>
              <a:spcBef>
                <a:spcPts val="0"/>
              </a:spcBef>
              <a:spcAft>
                <a:spcPts val="1200"/>
              </a:spcAft>
              <a:buClrTx/>
              <a:buSzTx/>
              <a:buFont typeface="Arial" panose="020B0604020202020204" pitchFamily="34" charset="0"/>
              <a:buNone/>
              <a:tabLst/>
              <a:defRPr/>
            </a:pPr>
            <a:r>
              <a:rPr lang="en-US" sz="1200">
                <a:solidFill>
                  <a:srgbClr val="000000"/>
                </a:solidFill>
              </a:rPr>
              <a:t>Volume-Based Features: </a:t>
            </a:r>
            <a:r>
              <a:rPr lang="en-US" sz="1200" b="0">
                <a:solidFill>
                  <a:srgbClr val="000000"/>
                </a:solidFill>
              </a:rPr>
              <a:t>Analyzing trading volume data in conjunction with price movements  </a:t>
            </a:r>
            <a:endParaRPr kumimoji="0" lang="en-US" sz="12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6" name="Objeto 5" hidden="1">
            <a:extLst>
              <a:ext uri="{FF2B5EF4-FFF2-40B4-BE49-F238E27FC236}">
                <a16:creationId xmlns:a16="http://schemas.microsoft.com/office/drawing/2014/main" id="{CACA4D61-F04B-42E7-2D40-8921075DC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17" imgH="318" progId="TCLayout.ActiveDocument.1">
                  <p:embed/>
                </p:oleObj>
              </mc:Choice>
              <mc:Fallback>
                <p:oleObj name="think-cell Slide" r:id="rId5" imgW="317" imgH="318" progId="TCLayout.ActiveDocument.1">
                  <p:embed/>
                  <p:pic>
                    <p:nvPicPr>
                      <p:cNvPr id="6" name="Objeto 5" hidden="1">
                        <a:extLst>
                          <a:ext uri="{FF2B5EF4-FFF2-40B4-BE49-F238E27FC236}">
                            <a16:creationId xmlns:a16="http://schemas.microsoft.com/office/drawing/2014/main" id="{CACA4D61-F04B-42E7-2D40-8921075DCB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A889A8D-C759-4AFA-51E1-2F2D342A129A}"/>
              </a:ext>
            </a:extLst>
          </p:cNvPr>
          <p:cNvSpPr>
            <a:spLocks noGrp="1"/>
          </p:cNvSpPr>
          <p:nvPr>
            <p:ph type="title"/>
          </p:nvPr>
        </p:nvSpPr>
        <p:spPr/>
        <p:txBody>
          <a:bodyPr vert="horz"/>
          <a:lstStyle/>
          <a:p>
            <a:r>
              <a:rPr lang="en-US"/>
              <a:t>Categories of Variables: Volume-Based Features</a:t>
            </a:r>
          </a:p>
        </p:txBody>
      </p:sp>
      <p:pic>
        <p:nvPicPr>
          <p:cNvPr id="4" name="Picture 3" descr="A black background with a black square&#10;&#10;Description automatically generated with medium confidence">
            <a:extLst>
              <a:ext uri="{FF2B5EF4-FFF2-40B4-BE49-F238E27FC236}">
                <a16:creationId xmlns:a16="http://schemas.microsoft.com/office/drawing/2014/main" id="{3B9E96B3-DE0C-15F1-64E1-F5967161908A}"/>
              </a:ext>
            </a:extLst>
          </p:cNvPr>
          <p:cNvPicPr>
            <a:picLocks noChangeAspect="1"/>
          </p:cNvPicPr>
          <p:nvPr/>
        </p:nvPicPr>
        <p:blipFill>
          <a:blip r:embed="rId7"/>
          <a:stretch>
            <a:fillRect/>
          </a:stretch>
        </p:blipFill>
        <p:spPr>
          <a:xfrm>
            <a:off x="391980" y="1393594"/>
            <a:ext cx="602901" cy="602901"/>
          </a:xfrm>
          <a:prstGeom prst="rect">
            <a:avLst/>
          </a:prstGeom>
        </p:spPr>
      </p:pic>
      <p:sp>
        <p:nvSpPr>
          <p:cNvPr id="7" name="Rectangle 6">
            <a:extLst>
              <a:ext uri="{FF2B5EF4-FFF2-40B4-BE49-F238E27FC236}">
                <a16:creationId xmlns:a16="http://schemas.microsoft.com/office/drawing/2014/main" id="{D5B68EC3-50E9-6C7B-DE90-B848E7D86B27}"/>
              </a:ext>
            </a:extLst>
          </p:cNvPr>
          <p:cNvSpPr/>
          <p:nvPr/>
        </p:nvSpPr>
        <p:spPr>
          <a:xfrm>
            <a:off x="2846220" y="2341939"/>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21F4FCDB-7402-DEBE-9235-43855BA527A4}"/>
              </a:ext>
            </a:extLst>
          </p:cNvPr>
          <p:cNvSpPr/>
          <p:nvPr/>
        </p:nvSpPr>
        <p:spPr>
          <a:xfrm>
            <a:off x="978210" y="3200349"/>
            <a:ext cx="1724483"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A4081949-5BF3-B8BC-FF53-D801335202EC}"/>
              </a:ext>
            </a:extLst>
          </p:cNvPr>
          <p:cNvSpPr/>
          <p:nvPr/>
        </p:nvSpPr>
        <p:spPr>
          <a:xfrm>
            <a:off x="976932" y="4063698"/>
            <a:ext cx="1724483"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3680C403-23B9-FEB4-160F-E58552F833FB}"/>
              </a:ext>
            </a:extLst>
          </p:cNvPr>
          <p:cNvSpPr/>
          <p:nvPr/>
        </p:nvSpPr>
        <p:spPr>
          <a:xfrm>
            <a:off x="979488" y="4937440"/>
            <a:ext cx="1724483"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Rectangle 11">
            <a:extLst>
              <a:ext uri="{FF2B5EF4-FFF2-40B4-BE49-F238E27FC236}">
                <a16:creationId xmlns:a16="http://schemas.microsoft.com/office/drawing/2014/main" id="{3598CF96-70EE-35F9-ED03-A721EB0E63E2}"/>
              </a:ext>
            </a:extLst>
          </p:cNvPr>
          <p:cNvSpPr/>
          <p:nvPr/>
        </p:nvSpPr>
        <p:spPr>
          <a:xfrm>
            <a:off x="980766" y="2345858"/>
            <a:ext cx="1724483"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400">
              <a:latin typeface="Verdana" panose="020B0604030504040204" pitchFamily="34" charset="0"/>
              <a:ea typeface="Verdana" panose="020B0604030504040204" pitchFamily="34" charset="0"/>
            </a:endParaRPr>
          </a:p>
        </p:txBody>
      </p:sp>
      <p:sp>
        <p:nvSpPr>
          <p:cNvPr id="14" name="Rectangle 55">
            <a:extLst>
              <a:ext uri="{FF2B5EF4-FFF2-40B4-BE49-F238E27FC236}">
                <a16:creationId xmlns:a16="http://schemas.microsoft.com/office/drawing/2014/main" id="{4F9E51A7-BEF6-43D0-1ED6-8AC414BB8B20}"/>
              </a:ext>
            </a:extLst>
          </p:cNvPr>
          <p:cNvSpPr/>
          <p:nvPr/>
        </p:nvSpPr>
        <p:spPr>
          <a:xfrm>
            <a:off x="348725" y="2341939"/>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PT</a:t>
            </a:r>
          </a:p>
        </p:txBody>
      </p:sp>
      <p:sp>
        <p:nvSpPr>
          <p:cNvPr id="16" name="Rectangle 55">
            <a:extLst>
              <a:ext uri="{FF2B5EF4-FFF2-40B4-BE49-F238E27FC236}">
                <a16:creationId xmlns:a16="http://schemas.microsoft.com/office/drawing/2014/main" id="{456732F5-CE4C-1439-10AB-9DDF2806193B}"/>
              </a:ext>
            </a:extLst>
          </p:cNvPr>
          <p:cNvSpPr/>
          <p:nvPr/>
        </p:nvSpPr>
        <p:spPr>
          <a:xfrm>
            <a:off x="348725" y="3196430"/>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BV</a:t>
            </a:r>
          </a:p>
        </p:txBody>
      </p:sp>
      <p:sp>
        <p:nvSpPr>
          <p:cNvPr id="17" name="Rectangle 55">
            <a:extLst>
              <a:ext uri="{FF2B5EF4-FFF2-40B4-BE49-F238E27FC236}">
                <a16:creationId xmlns:a16="http://schemas.microsoft.com/office/drawing/2014/main" id="{BDF0464A-8F4B-B293-6AE2-5ECC7565E754}"/>
              </a:ext>
            </a:extLst>
          </p:cNvPr>
          <p:cNvSpPr/>
          <p:nvPr/>
        </p:nvSpPr>
        <p:spPr>
          <a:xfrm>
            <a:off x="348725" y="4059779"/>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a:t>
            </a:r>
          </a:p>
        </p:txBody>
      </p:sp>
      <p:sp>
        <p:nvSpPr>
          <p:cNvPr id="18" name="Rectangle 55">
            <a:extLst>
              <a:ext uri="{FF2B5EF4-FFF2-40B4-BE49-F238E27FC236}">
                <a16:creationId xmlns:a16="http://schemas.microsoft.com/office/drawing/2014/main" id="{06496EF3-BC63-AE85-56AC-6DAD22546468}"/>
              </a:ext>
            </a:extLst>
          </p:cNvPr>
          <p:cNvSpPr/>
          <p:nvPr/>
        </p:nvSpPr>
        <p:spPr>
          <a:xfrm>
            <a:off x="348725" y="4931438"/>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MF</a:t>
            </a:r>
            <a:endParaRPr kumimoji="0" lang="en-GB"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TextBox 19">
            <a:extLst>
              <a:ext uri="{FF2B5EF4-FFF2-40B4-BE49-F238E27FC236}">
                <a16:creationId xmlns:a16="http://schemas.microsoft.com/office/drawing/2014/main" id="{189865BD-6AF7-2917-2851-F575D4356EA6}"/>
              </a:ext>
            </a:extLst>
          </p:cNvPr>
          <p:cNvSpPr txBox="1"/>
          <p:nvPr/>
        </p:nvSpPr>
        <p:spPr>
          <a:xfrm>
            <a:off x="1065281" y="2470219"/>
            <a:ext cx="1587640" cy="307777"/>
          </a:xfrm>
          <a:prstGeom prst="rect">
            <a:avLst/>
          </a:prstGeom>
          <a:noFill/>
        </p:spPr>
        <p:txBody>
          <a:bodyPr wrap="square" rtlCol="0">
            <a:spAutoFit/>
          </a:bodyPr>
          <a:lstStyle/>
          <a:p>
            <a:pPr algn="ctr"/>
            <a:r>
              <a:rPr lang="en-CA" sz="1400"/>
              <a:t>Volume Price Trend</a:t>
            </a:r>
          </a:p>
        </p:txBody>
      </p:sp>
      <p:sp>
        <p:nvSpPr>
          <p:cNvPr id="21" name="TextBox 20">
            <a:extLst>
              <a:ext uri="{FF2B5EF4-FFF2-40B4-BE49-F238E27FC236}">
                <a16:creationId xmlns:a16="http://schemas.microsoft.com/office/drawing/2014/main" id="{F718FD7E-B15B-6AD7-6F8A-F37986A14F49}"/>
              </a:ext>
            </a:extLst>
          </p:cNvPr>
          <p:cNvSpPr txBox="1"/>
          <p:nvPr/>
        </p:nvSpPr>
        <p:spPr>
          <a:xfrm>
            <a:off x="994881" y="3205421"/>
            <a:ext cx="1587640" cy="276999"/>
          </a:xfrm>
          <a:prstGeom prst="rect">
            <a:avLst/>
          </a:prstGeom>
          <a:noFill/>
        </p:spPr>
        <p:txBody>
          <a:bodyPr wrap="square" rtlCol="0">
            <a:spAutoFit/>
          </a:bodyPr>
          <a:lstStyle/>
          <a:p>
            <a:pPr algn="ctr"/>
            <a:r>
              <a:rPr lang="en-CA" sz="1100">
                <a:latin typeface="Verdana" panose="020B0604030504040204" pitchFamily="34" charset="0"/>
                <a:ea typeface="Verdana" panose="020B0604030504040204" pitchFamily="34" charset="0"/>
              </a:rPr>
              <a:t>On-Balance</a:t>
            </a:r>
            <a:r>
              <a:rPr lang="en-CA" sz="1200">
                <a:latin typeface="Verdana" panose="020B0604030504040204" pitchFamily="34" charset="0"/>
                <a:ea typeface="Verdana" panose="020B0604030504040204" pitchFamily="34" charset="0"/>
              </a:rPr>
              <a:t> </a:t>
            </a:r>
            <a:r>
              <a:rPr lang="en-CA" sz="1100">
                <a:latin typeface="Verdana" panose="020B0604030504040204" pitchFamily="34" charset="0"/>
                <a:ea typeface="Verdana" panose="020B0604030504040204" pitchFamily="34" charset="0"/>
              </a:rPr>
              <a:t>Volume</a:t>
            </a:r>
            <a:endParaRPr lang="en-CA" sz="1200">
              <a:latin typeface="Verdana" panose="020B0604030504040204" pitchFamily="34" charset="0"/>
              <a:ea typeface="Verdana" panose="020B0604030504040204" pitchFamily="34" charset="0"/>
            </a:endParaRPr>
          </a:p>
        </p:txBody>
      </p:sp>
      <p:sp>
        <p:nvSpPr>
          <p:cNvPr id="22" name="TextBox 21">
            <a:extLst>
              <a:ext uri="{FF2B5EF4-FFF2-40B4-BE49-F238E27FC236}">
                <a16:creationId xmlns:a16="http://schemas.microsoft.com/office/drawing/2014/main" id="{BFA12A78-2E2E-97A7-2A75-CF7CCD4A2668}"/>
              </a:ext>
            </a:extLst>
          </p:cNvPr>
          <p:cNvSpPr txBox="1"/>
          <p:nvPr/>
        </p:nvSpPr>
        <p:spPr>
          <a:xfrm>
            <a:off x="1045353" y="4097623"/>
            <a:ext cx="1587640" cy="430887"/>
          </a:xfrm>
          <a:prstGeom prst="rect">
            <a:avLst/>
          </a:prstGeom>
          <a:noFill/>
        </p:spPr>
        <p:txBody>
          <a:bodyPr wrap="square" rtlCol="0">
            <a:spAutoFit/>
          </a:bodyPr>
          <a:lstStyle/>
          <a:p>
            <a:pPr algn="ctr"/>
            <a:r>
              <a:rPr lang="en-CA" sz="1100">
                <a:latin typeface="Verdana" panose="020B0604030504040204" pitchFamily="34" charset="0"/>
                <a:ea typeface="Verdana" panose="020B0604030504040204" pitchFamily="34" charset="0"/>
              </a:rPr>
              <a:t>Accumulation/ Distribution Index</a:t>
            </a:r>
          </a:p>
        </p:txBody>
      </p:sp>
      <p:sp>
        <p:nvSpPr>
          <p:cNvPr id="23" name="TextBox 22">
            <a:extLst>
              <a:ext uri="{FF2B5EF4-FFF2-40B4-BE49-F238E27FC236}">
                <a16:creationId xmlns:a16="http://schemas.microsoft.com/office/drawing/2014/main" id="{4D141722-6BD5-CF56-7DB0-B7BBA8ADB77D}"/>
              </a:ext>
            </a:extLst>
          </p:cNvPr>
          <p:cNvSpPr txBox="1"/>
          <p:nvPr/>
        </p:nvSpPr>
        <p:spPr>
          <a:xfrm>
            <a:off x="1045353" y="4964221"/>
            <a:ext cx="1587640" cy="261610"/>
          </a:xfrm>
          <a:prstGeom prst="rect">
            <a:avLst/>
          </a:prstGeom>
          <a:noFill/>
        </p:spPr>
        <p:txBody>
          <a:bodyPr wrap="square" rtlCol="0">
            <a:spAutoFit/>
          </a:bodyPr>
          <a:lstStyle/>
          <a:p>
            <a:pPr algn="ctr"/>
            <a:r>
              <a:rPr lang="en-CA" sz="1100" err="1">
                <a:latin typeface="Verdana" panose="020B0604030504040204" pitchFamily="34" charset="0"/>
                <a:ea typeface="Verdana" panose="020B0604030504040204" pitchFamily="34" charset="0"/>
              </a:rPr>
              <a:t>Chaikin</a:t>
            </a:r>
            <a:r>
              <a:rPr lang="en-CA" sz="1100">
                <a:latin typeface="Verdana" panose="020B0604030504040204" pitchFamily="34" charset="0"/>
                <a:ea typeface="Verdana" panose="020B0604030504040204" pitchFamily="34" charset="0"/>
              </a:rPr>
              <a:t> Money Flow</a:t>
            </a:r>
          </a:p>
        </p:txBody>
      </p:sp>
      <p:sp>
        <p:nvSpPr>
          <p:cNvPr id="24" name="TextBox 23">
            <a:extLst>
              <a:ext uri="{FF2B5EF4-FFF2-40B4-BE49-F238E27FC236}">
                <a16:creationId xmlns:a16="http://schemas.microsoft.com/office/drawing/2014/main" id="{D4CD0F57-8064-9322-8239-AA068BB056AC}"/>
              </a:ext>
            </a:extLst>
          </p:cNvPr>
          <p:cNvSpPr txBox="1"/>
          <p:nvPr/>
        </p:nvSpPr>
        <p:spPr>
          <a:xfrm>
            <a:off x="2819829" y="2328936"/>
            <a:ext cx="2612571" cy="577081"/>
          </a:xfrm>
          <a:prstGeom prst="rect">
            <a:avLst/>
          </a:prstGeom>
          <a:noFill/>
        </p:spPr>
        <p:txBody>
          <a:bodyPr wrap="square" rtlCol="0">
            <a:spAutoFit/>
          </a:bodyPr>
          <a:lstStyle/>
          <a:p>
            <a:pPr algn="ctr"/>
            <a:r>
              <a:rPr lang="en-CA" sz="1050" dirty="0">
                <a:solidFill>
                  <a:srgbClr val="F9F9F9"/>
                </a:solidFill>
                <a:latin typeface="Verdana" panose="020B0604030504040204" pitchFamily="34" charset="0"/>
                <a:ea typeface="Verdana" panose="020B0604030504040204" pitchFamily="34" charset="0"/>
              </a:rPr>
              <a:t>Combines price and volume to indicate the strength of price movements </a:t>
            </a:r>
          </a:p>
        </p:txBody>
      </p:sp>
      <p:sp>
        <p:nvSpPr>
          <p:cNvPr id="31" name="Rectangle 30">
            <a:extLst>
              <a:ext uri="{FF2B5EF4-FFF2-40B4-BE49-F238E27FC236}">
                <a16:creationId xmlns:a16="http://schemas.microsoft.com/office/drawing/2014/main" id="{408EE926-D0F8-60C4-3A33-8719841ADE7B}"/>
              </a:ext>
            </a:extLst>
          </p:cNvPr>
          <p:cNvSpPr/>
          <p:nvPr/>
        </p:nvSpPr>
        <p:spPr>
          <a:xfrm>
            <a:off x="979487" y="5761754"/>
            <a:ext cx="1724483" cy="580949"/>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55">
            <a:extLst>
              <a:ext uri="{FF2B5EF4-FFF2-40B4-BE49-F238E27FC236}">
                <a16:creationId xmlns:a16="http://schemas.microsoft.com/office/drawing/2014/main" id="{22CB9B3B-F565-6C94-53EA-E4F3E4496469}"/>
              </a:ext>
            </a:extLst>
          </p:cNvPr>
          <p:cNvSpPr/>
          <p:nvPr/>
        </p:nvSpPr>
        <p:spPr>
          <a:xfrm>
            <a:off x="348724" y="5755752"/>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I</a:t>
            </a:r>
          </a:p>
        </p:txBody>
      </p:sp>
      <p:sp>
        <p:nvSpPr>
          <p:cNvPr id="33" name="TextBox 32">
            <a:extLst>
              <a:ext uri="{FF2B5EF4-FFF2-40B4-BE49-F238E27FC236}">
                <a16:creationId xmlns:a16="http://schemas.microsoft.com/office/drawing/2014/main" id="{6ED723C2-E7BD-68F3-D7A1-BBE7C41E3CF4}"/>
              </a:ext>
            </a:extLst>
          </p:cNvPr>
          <p:cNvSpPr txBox="1"/>
          <p:nvPr/>
        </p:nvSpPr>
        <p:spPr>
          <a:xfrm>
            <a:off x="980765" y="5865479"/>
            <a:ext cx="1587640" cy="307777"/>
          </a:xfrm>
          <a:prstGeom prst="rect">
            <a:avLst/>
          </a:prstGeom>
          <a:noFill/>
        </p:spPr>
        <p:txBody>
          <a:bodyPr wrap="square" rtlCol="0">
            <a:spAutoFit/>
          </a:bodyPr>
          <a:lstStyle/>
          <a:p>
            <a:pPr algn="ctr"/>
            <a:r>
              <a:rPr lang="en-CA" sz="1400">
                <a:latin typeface="Verdana" panose="020B0604030504040204" pitchFamily="34" charset="0"/>
                <a:ea typeface="Verdana" panose="020B0604030504040204" pitchFamily="34" charset="0"/>
              </a:rPr>
              <a:t>Force Index</a:t>
            </a:r>
          </a:p>
        </p:txBody>
      </p:sp>
      <p:sp>
        <p:nvSpPr>
          <p:cNvPr id="40" name="TextBox 39">
            <a:extLst>
              <a:ext uri="{FF2B5EF4-FFF2-40B4-BE49-F238E27FC236}">
                <a16:creationId xmlns:a16="http://schemas.microsoft.com/office/drawing/2014/main" id="{37468E1F-9008-879E-CA28-FB1B2ACBA923}"/>
              </a:ext>
            </a:extLst>
          </p:cNvPr>
          <p:cNvSpPr txBox="1"/>
          <p:nvPr/>
        </p:nvSpPr>
        <p:spPr>
          <a:xfrm>
            <a:off x="2811098" y="3259058"/>
            <a:ext cx="2612571" cy="430887"/>
          </a:xfrm>
          <a:prstGeom prst="rect">
            <a:avLst/>
          </a:prstGeom>
          <a:noFill/>
        </p:spPr>
        <p:txBody>
          <a:bodyPr wrap="square" rtlCol="0">
            <a:spAutoFit/>
          </a:bodyPr>
          <a:lstStyle/>
          <a:p>
            <a:pPr algn="ctr"/>
            <a:r>
              <a:rPr lang="en-CA" sz="1050" dirty="0">
                <a:solidFill>
                  <a:srgbClr val="F9F9F9"/>
                </a:solidFill>
                <a:latin typeface="Verdana" panose="020B0604030504040204" pitchFamily="34" charset="0"/>
                <a:ea typeface="Verdana" panose="020B0604030504040204" pitchFamily="34" charset="0"/>
              </a:rPr>
              <a:t>Measures buying and selling pressures </a:t>
            </a:r>
          </a:p>
        </p:txBody>
      </p:sp>
      <p:sp>
        <p:nvSpPr>
          <p:cNvPr id="41" name="TextBox 40">
            <a:extLst>
              <a:ext uri="{FF2B5EF4-FFF2-40B4-BE49-F238E27FC236}">
                <a16:creationId xmlns:a16="http://schemas.microsoft.com/office/drawing/2014/main" id="{73CB9B3F-B558-C701-28E7-7FF8A0731FC0}"/>
              </a:ext>
            </a:extLst>
          </p:cNvPr>
          <p:cNvSpPr txBox="1"/>
          <p:nvPr/>
        </p:nvSpPr>
        <p:spPr>
          <a:xfrm>
            <a:off x="2705540" y="5760569"/>
            <a:ext cx="2841148" cy="577081"/>
          </a:xfrm>
          <a:prstGeom prst="rect">
            <a:avLst/>
          </a:prstGeom>
          <a:noFill/>
        </p:spPr>
        <p:txBody>
          <a:bodyPr wrap="square" rtlCol="0">
            <a:spAutoFit/>
          </a:bodyPr>
          <a:lstStyle/>
          <a:p>
            <a:pPr algn="ctr"/>
            <a:r>
              <a:rPr lang="en-CA" sz="1050">
                <a:solidFill>
                  <a:srgbClr val="F9F9F9"/>
                </a:solidFill>
                <a:latin typeface="Verdana" panose="020B0604030504040204" pitchFamily="34" charset="0"/>
                <a:ea typeface="Verdana" panose="020B0604030504040204" pitchFamily="34" charset="0"/>
              </a:rPr>
              <a:t>Combines price and volume to measure the strength of price movements</a:t>
            </a:r>
          </a:p>
        </p:txBody>
      </p:sp>
      <p:sp>
        <p:nvSpPr>
          <p:cNvPr id="42" name="TextBox 41">
            <a:extLst>
              <a:ext uri="{FF2B5EF4-FFF2-40B4-BE49-F238E27FC236}">
                <a16:creationId xmlns:a16="http://schemas.microsoft.com/office/drawing/2014/main" id="{FA936432-8119-491C-0D4A-5AAEF449A41B}"/>
              </a:ext>
            </a:extLst>
          </p:cNvPr>
          <p:cNvSpPr txBox="1"/>
          <p:nvPr/>
        </p:nvSpPr>
        <p:spPr>
          <a:xfrm>
            <a:off x="2846219" y="5001079"/>
            <a:ext cx="2612571" cy="430887"/>
          </a:xfrm>
          <a:prstGeom prst="rect">
            <a:avLst/>
          </a:prstGeom>
          <a:noFill/>
        </p:spPr>
        <p:txBody>
          <a:bodyPr wrap="square" rtlCol="0">
            <a:spAutoFit/>
          </a:bodyPr>
          <a:lstStyle/>
          <a:p>
            <a:pPr algn="ctr"/>
            <a:r>
              <a:rPr lang="en-CA" sz="1050">
                <a:solidFill>
                  <a:srgbClr val="F9F9F9"/>
                </a:solidFill>
                <a:latin typeface="Verdana" panose="020B0604030504040204" pitchFamily="34" charset="0"/>
                <a:ea typeface="Verdana" panose="020B0604030504040204" pitchFamily="34" charset="0"/>
              </a:rPr>
              <a:t>Measures the money flow volume over a specific period</a:t>
            </a:r>
          </a:p>
        </p:txBody>
      </p:sp>
      <p:sp>
        <p:nvSpPr>
          <p:cNvPr id="43" name="TextBox 42">
            <a:extLst>
              <a:ext uri="{FF2B5EF4-FFF2-40B4-BE49-F238E27FC236}">
                <a16:creationId xmlns:a16="http://schemas.microsoft.com/office/drawing/2014/main" id="{38185062-04B4-0E29-C86D-A56C04646CF7}"/>
              </a:ext>
            </a:extLst>
          </p:cNvPr>
          <p:cNvSpPr txBox="1"/>
          <p:nvPr/>
        </p:nvSpPr>
        <p:spPr>
          <a:xfrm>
            <a:off x="2819829" y="4154010"/>
            <a:ext cx="2612571" cy="430887"/>
          </a:xfrm>
          <a:prstGeom prst="rect">
            <a:avLst/>
          </a:prstGeom>
          <a:noFill/>
        </p:spPr>
        <p:txBody>
          <a:bodyPr wrap="square" rtlCol="0">
            <a:spAutoFit/>
          </a:bodyPr>
          <a:lstStyle/>
          <a:p>
            <a:pPr algn="ctr"/>
            <a:r>
              <a:rPr lang="en-CA" sz="1050">
                <a:solidFill>
                  <a:srgbClr val="F9F9F9"/>
                </a:solidFill>
                <a:latin typeface="Verdana" panose="020B0604030504040204" pitchFamily="34" charset="0"/>
                <a:ea typeface="Verdana" panose="020B0604030504040204" pitchFamily="34" charset="0"/>
              </a:rPr>
              <a:t>Combines price and volume to show supply and demand</a:t>
            </a:r>
          </a:p>
        </p:txBody>
      </p:sp>
      <p:pic>
        <p:nvPicPr>
          <p:cNvPr id="47" name="Picture 46">
            <a:extLst>
              <a:ext uri="{FF2B5EF4-FFF2-40B4-BE49-F238E27FC236}">
                <a16:creationId xmlns:a16="http://schemas.microsoft.com/office/drawing/2014/main" id="{ACE01DC7-519A-9A62-C250-ECB1B762FE63}"/>
              </a:ext>
            </a:extLst>
          </p:cNvPr>
          <p:cNvPicPr>
            <a:picLocks noChangeAspect="1"/>
          </p:cNvPicPr>
          <p:nvPr/>
        </p:nvPicPr>
        <p:blipFill>
          <a:blip r:embed="rId8"/>
          <a:stretch>
            <a:fillRect/>
          </a:stretch>
        </p:blipFill>
        <p:spPr>
          <a:xfrm>
            <a:off x="5546688" y="2631495"/>
            <a:ext cx="6257961" cy="3709125"/>
          </a:xfrm>
          <a:prstGeom prst="rect">
            <a:avLst/>
          </a:prstGeom>
        </p:spPr>
      </p:pic>
      <p:sp>
        <p:nvSpPr>
          <p:cNvPr id="48" name="TextBox 47">
            <a:extLst>
              <a:ext uri="{FF2B5EF4-FFF2-40B4-BE49-F238E27FC236}">
                <a16:creationId xmlns:a16="http://schemas.microsoft.com/office/drawing/2014/main" id="{B8F8F28F-1EB4-868E-C596-1090257C1D76}"/>
              </a:ext>
            </a:extLst>
          </p:cNvPr>
          <p:cNvSpPr txBox="1"/>
          <p:nvPr/>
        </p:nvSpPr>
        <p:spPr>
          <a:xfrm>
            <a:off x="5292755" y="2262163"/>
            <a:ext cx="5918479" cy="369332"/>
          </a:xfrm>
          <a:prstGeom prst="rect">
            <a:avLst/>
          </a:prstGeom>
          <a:noFill/>
        </p:spPr>
        <p:txBody>
          <a:bodyPr wrap="square" rtlCol="0">
            <a:spAutoFit/>
          </a:bodyPr>
          <a:lstStyle/>
          <a:p>
            <a:pPr algn="ctr"/>
            <a:r>
              <a:rPr lang="en-CA" b="1" u="sng"/>
              <a:t>CMG Stock Price, ADI, and ADX Trends</a:t>
            </a:r>
          </a:p>
        </p:txBody>
      </p:sp>
    </p:spTree>
    <p:extLst>
      <p:ext uri="{BB962C8B-B14F-4D97-AF65-F5344CB8AC3E}">
        <p14:creationId xmlns:p14="http://schemas.microsoft.com/office/powerpoint/2010/main" val="16608723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odelling</a:t>
            </a:r>
          </a:p>
        </p:txBody>
      </p:sp>
      <p:sp>
        <p:nvSpPr>
          <p:cNvPr id="3" name="TextBox 47">
            <a:extLst>
              <a:ext uri="{FF2B5EF4-FFF2-40B4-BE49-F238E27FC236}">
                <a16:creationId xmlns:a16="http://schemas.microsoft.com/office/drawing/2014/main" id="{BF39D44D-A565-CC98-662F-ECC2D8E187D7}"/>
              </a:ext>
            </a:extLst>
          </p:cNvPr>
          <p:cNvSpPr txBox="1"/>
          <p:nvPr/>
        </p:nvSpPr>
        <p:spPr>
          <a:xfrm>
            <a:off x="384174" y="3573593"/>
            <a:ext cx="5783264" cy="461665"/>
          </a:xfrm>
          <a:prstGeom prst="rect">
            <a:avLst/>
          </a:prstGeom>
          <a:noFill/>
        </p:spPr>
        <p:txBody>
          <a:bodyPr wrap="square" rtlCol="0" anchor="ctr">
            <a:spAutoFit/>
          </a:bodyPr>
          <a:lstStyle/>
          <a:p>
            <a:r>
              <a:rPr lang="en-US"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RISP-DM Model Part 4</a:t>
            </a:r>
          </a:p>
        </p:txBody>
      </p:sp>
      <p:pic>
        <p:nvPicPr>
          <p:cNvPr id="5" name="Graphic 4" descr="Downward trend graph with solid fill">
            <a:extLst>
              <a:ext uri="{FF2B5EF4-FFF2-40B4-BE49-F238E27FC236}">
                <a16:creationId xmlns:a16="http://schemas.microsoft.com/office/drawing/2014/main" id="{BADDF5AB-5CE0-6B27-8DFE-97666B8352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81791" y="1797422"/>
            <a:ext cx="2872635" cy="2872635"/>
          </a:xfrm>
          <a:prstGeom prst="rect">
            <a:avLst/>
          </a:prstGeom>
        </p:spPr>
      </p:pic>
    </p:spTree>
    <p:extLst>
      <p:ext uri="{BB962C8B-B14F-4D97-AF65-F5344CB8AC3E}">
        <p14:creationId xmlns:p14="http://schemas.microsoft.com/office/powerpoint/2010/main" val="23577537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en-CA"/>
              <a:t>Historical Model Building</a:t>
            </a:r>
            <a:endParaRPr lang="en-GB"/>
          </a:p>
        </p:txBody>
      </p:sp>
      <p:sp>
        <p:nvSpPr>
          <p:cNvPr id="5" name="Rectangle: Rounded Corners 4">
            <a:extLst>
              <a:ext uri="{FF2B5EF4-FFF2-40B4-BE49-F238E27FC236}">
                <a16:creationId xmlns:a16="http://schemas.microsoft.com/office/drawing/2014/main" id="{200883B1-3AFF-2E68-632C-842E687C7A0C}"/>
              </a:ext>
            </a:extLst>
          </p:cNvPr>
          <p:cNvSpPr/>
          <p:nvPr/>
        </p:nvSpPr>
        <p:spPr>
          <a:xfrm>
            <a:off x="609600" y="948486"/>
            <a:ext cx="2111868" cy="118755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600" dirty="0">
                <a:latin typeface="Verdana" panose="020B0604030504040204" pitchFamily="34" charset="0"/>
                <a:ea typeface="Verdana" panose="020B0604030504040204" pitchFamily="34" charset="0"/>
              </a:rPr>
              <a:t>1. Linear Regression</a:t>
            </a:r>
          </a:p>
        </p:txBody>
      </p:sp>
      <p:sp>
        <p:nvSpPr>
          <p:cNvPr id="9" name="Rectangle: Rounded Corners 8">
            <a:extLst>
              <a:ext uri="{FF2B5EF4-FFF2-40B4-BE49-F238E27FC236}">
                <a16:creationId xmlns:a16="http://schemas.microsoft.com/office/drawing/2014/main" id="{DC97904E-5153-131E-88D4-A1108C6E2387}"/>
              </a:ext>
            </a:extLst>
          </p:cNvPr>
          <p:cNvSpPr/>
          <p:nvPr/>
        </p:nvSpPr>
        <p:spPr>
          <a:xfrm>
            <a:off x="3290752" y="948486"/>
            <a:ext cx="3318569" cy="118755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latin typeface="Verdana" panose="020B0604030504040204" pitchFamily="34" charset="0"/>
                <a:ea typeface="Verdana" panose="020B0604030504040204" pitchFamily="34" charset="0"/>
              </a:rPr>
              <a:t>We used our created variables as ‘X’ and Adj Close as ‘Y’ and evaluated the MSE of each model we've covered. Linear Regression was consistently the strongest</a:t>
            </a:r>
            <a:endParaRPr lang="en-CA" sz="1200" dirty="0">
              <a:latin typeface="Verdana" panose="020B0604030504040204" pitchFamily="34" charset="0"/>
              <a:ea typeface="Verdana" panose="020B0604030504040204" pitchFamily="34" charset="0"/>
            </a:endParaRPr>
          </a:p>
        </p:txBody>
      </p:sp>
      <p:sp>
        <p:nvSpPr>
          <p:cNvPr id="13" name="Rectangle: Rounded Corners 12">
            <a:extLst>
              <a:ext uri="{FF2B5EF4-FFF2-40B4-BE49-F238E27FC236}">
                <a16:creationId xmlns:a16="http://schemas.microsoft.com/office/drawing/2014/main" id="{663ED3C5-D3BA-EF19-3F10-CF86149A3250}"/>
              </a:ext>
            </a:extLst>
          </p:cNvPr>
          <p:cNvSpPr/>
          <p:nvPr/>
        </p:nvSpPr>
        <p:spPr>
          <a:xfrm>
            <a:off x="609600" y="2934038"/>
            <a:ext cx="2111869" cy="118755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600">
                <a:latin typeface="Verdana" panose="020B0604030504040204" pitchFamily="34" charset="0"/>
                <a:ea typeface="Verdana" panose="020B0604030504040204" pitchFamily="34" charset="0"/>
              </a:rPr>
              <a:t>2. lag1, MA_5, MA_100, EMA_12, lag5</a:t>
            </a:r>
          </a:p>
        </p:txBody>
      </p:sp>
      <p:sp>
        <p:nvSpPr>
          <p:cNvPr id="15" name="Rectangle: Rounded Corners 14">
            <a:extLst>
              <a:ext uri="{FF2B5EF4-FFF2-40B4-BE49-F238E27FC236}">
                <a16:creationId xmlns:a16="http://schemas.microsoft.com/office/drawing/2014/main" id="{EC2E5243-B10C-997A-C250-F3ECA2E69CE3}"/>
              </a:ext>
            </a:extLst>
          </p:cNvPr>
          <p:cNvSpPr/>
          <p:nvPr/>
        </p:nvSpPr>
        <p:spPr>
          <a:xfrm>
            <a:off x="3290752" y="2934037"/>
            <a:ext cx="3318569" cy="11875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Verdana" panose="020B0604030504040204" pitchFamily="34" charset="0"/>
                <a:ea typeface="Verdana" panose="020B0604030504040204" pitchFamily="34" charset="0"/>
              </a:rPr>
              <a:t>We tested the R squared of each individual variable on Adj Close to determine the 5 strongest in explaining variance. These variables predominately focus on historical moving averages</a:t>
            </a:r>
            <a:endParaRPr lang="en-CA" sz="1200">
              <a:latin typeface="Verdana" panose="020B0604030504040204" pitchFamily="34" charset="0"/>
              <a:ea typeface="Verdana" panose="020B0604030504040204" pitchFamily="34" charset="0"/>
            </a:endParaRPr>
          </a:p>
        </p:txBody>
      </p:sp>
      <p:sp>
        <p:nvSpPr>
          <p:cNvPr id="19" name="Rectangle: Rounded Corners 18">
            <a:extLst>
              <a:ext uri="{FF2B5EF4-FFF2-40B4-BE49-F238E27FC236}">
                <a16:creationId xmlns:a16="http://schemas.microsoft.com/office/drawing/2014/main" id="{2EDB8817-2B18-B4D8-E4BE-162F2047CB70}"/>
              </a:ext>
            </a:extLst>
          </p:cNvPr>
          <p:cNvSpPr/>
          <p:nvPr/>
        </p:nvSpPr>
        <p:spPr>
          <a:xfrm>
            <a:off x="609600" y="5012132"/>
            <a:ext cx="2111868" cy="11875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600">
                <a:latin typeface="Verdana" panose="020B0604030504040204" pitchFamily="34" charset="0"/>
                <a:ea typeface="Verdana" panose="020B0604030504040204" pitchFamily="34" charset="0"/>
              </a:rPr>
              <a:t>3. Create the Model</a:t>
            </a:r>
          </a:p>
        </p:txBody>
      </p:sp>
      <p:sp>
        <p:nvSpPr>
          <p:cNvPr id="20" name="Rectangle: Rounded Corners 19">
            <a:extLst>
              <a:ext uri="{FF2B5EF4-FFF2-40B4-BE49-F238E27FC236}">
                <a16:creationId xmlns:a16="http://schemas.microsoft.com/office/drawing/2014/main" id="{7C61BAF5-A91C-A4B4-CDDD-B904EB3E755A}"/>
              </a:ext>
            </a:extLst>
          </p:cNvPr>
          <p:cNvSpPr/>
          <p:nvPr/>
        </p:nvSpPr>
        <p:spPr>
          <a:xfrm>
            <a:off x="3290751" y="5012132"/>
            <a:ext cx="3318569" cy="11875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Verdana" panose="020B0604030504040204" pitchFamily="34" charset="0"/>
                <a:ea typeface="Verdana" panose="020B0604030504040204" pitchFamily="34" charset="0"/>
              </a:rPr>
              <a:t>We ran the model for each stock overlaying it with historical prices</a:t>
            </a:r>
            <a:endParaRPr lang="en-CA" sz="1200">
              <a:latin typeface="Verdana" panose="020B0604030504040204" pitchFamily="34" charset="0"/>
              <a:ea typeface="Verdana" panose="020B0604030504040204" pitchFamily="34" charset="0"/>
            </a:endParaRPr>
          </a:p>
        </p:txBody>
      </p:sp>
      <p:sp>
        <p:nvSpPr>
          <p:cNvPr id="23" name="Isosceles Triangle 22">
            <a:extLst>
              <a:ext uri="{FF2B5EF4-FFF2-40B4-BE49-F238E27FC236}">
                <a16:creationId xmlns:a16="http://schemas.microsoft.com/office/drawing/2014/main" id="{D06C4C24-0B62-83FF-2BBD-25154CD7F171}"/>
              </a:ext>
            </a:extLst>
          </p:cNvPr>
          <p:cNvSpPr/>
          <p:nvPr/>
        </p:nvSpPr>
        <p:spPr>
          <a:xfrm rot="5400000">
            <a:off x="2428333" y="5491609"/>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3" name="Isosceles Triangle 32">
            <a:extLst>
              <a:ext uri="{FF2B5EF4-FFF2-40B4-BE49-F238E27FC236}">
                <a16:creationId xmlns:a16="http://schemas.microsoft.com/office/drawing/2014/main" id="{55B12070-C0EF-C40C-20FE-A1A950F6A4F3}"/>
              </a:ext>
            </a:extLst>
          </p:cNvPr>
          <p:cNvSpPr/>
          <p:nvPr/>
        </p:nvSpPr>
        <p:spPr>
          <a:xfrm rot="5400000">
            <a:off x="6284185" y="5491609"/>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 name="Isosceles Triangle 33">
            <a:extLst>
              <a:ext uri="{FF2B5EF4-FFF2-40B4-BE49-F238E27FC236}">
                <a16:creationId xmlns:a16="http://schemas.microsoft.com/office/drawing/2014/main" id="{9463ED83-9F10-1A07-549C-D9E8BB3E8327}"/>
              </a:ext>
            </a:extLst>
          </p:cNvPr>
          <p:cNvSpPr/>
          <p:nvPr/>
        </p:nvSpPr>
        <p:spPr>
          <a:xfrm rot="5400000">
            <a:off x="2428333" y="1427962"/>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Isosceles Triangle 34">
            <a:extLst>
              <a:ext uri="{FF2B5EF4-FFF2-40B4-BE49-F238E27FC236}">
                <a16:creationId xmlns:a16="http://schemas.microsoft.com/office/drawing/2014/main" id="{85CBE873-9EBF-238A-6AFE-FDB44913C394}"/>
              </a:ext>
            </a:extLst>
          </p:cNvPr>
          <p:cNvSpPr/>
          <p:nvPr/>
        </p:nvSpPr>
        <p:spPr>
          <a:xfrm rot="5400000">
            <a:off x="2428333" y="3413514"/>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Isosceles Triangle 35">
            <a:extLst>
              <a:ext uri="{FF2B5EF4-FFF2-40B4-BE49-F238E27FC236}">
                <a16:creationId xmlns:a16="http://schemas.microsoft.com/office/drawing/2014/main" id="{BA0602AC-8A15-FC22-31CC-EABF564C6AAB}"/>
              </a:ext>
            </a:extLst>
          </p:cNvPr>
          <p:cNvSpPr/>
          <p:nvPr/>
        </p:nvSpPr>
        <p:spPr>
          <a:xfrm rot="5400000">
            <a:off x="6284185" y="3413514"/>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Isosceles Triangle 36">
            <a:extLst>
              <a:ext uri="{FF2B5EF4-FFF2-40B4-BE49-F238E27FC236}">
                <a16:creationId xmlns:a16="http://schemas.microsoft.com/office/drawing/2014/main" id="{5BB1DF12-96C3-4F3A-C59E-06A1C4E50E38}"/>
              </a:ext>
            </a:extLst>
          </p:cNvPr>
          <p:cNvSpPr/>
          <p:nvPr/>
        </p:nvSpPr>
        <p:spPr>
          <a:xfrm rot="5400000">
            <a:off x="6284185" y="1427962"/>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 name="Picture 1">
            <a:extLst>
              <a:ext uri="{FF2B5EF4-FFF2-40B4-BE49-F238E27FC236}">
                <a16:creationId xmlns:a16="http://schemas.microsoft.com/office/drawing/2014/main" id="{85672DF7-80B8-8A12-8A55-CBB174855F34}"/>
              </a:ext>
            </a:extLst>
          </p:cNvPr>
          <p:cNvPicPr>
            <a:picLocks noChangeAspect="1"/>
          </p:cNvPicPr>
          <p:nvPr/>
        </p:nvPicPr>
        <p:blipFill>
          <a:blip r:embed="rId5"/>
          <a:stretch>
            <a:fillRect/>
          </a:stretch>
        </p:blipFill>
        <p:spPr>
          <a:xfrm>
            <a:off x="8108251" y="554415"/>
            <a:ext cx="2842223" cy="1975693"/>
          </a:xfrm>
          <a:prstGeom prst="rect">
            <a:avLst/>
          </a:prstGeom>
        </p:spPr>
      </p:pic>
      <p:pic>
        <p:nvPicPr>
          <p:cNvPr id="4" name="Picture 3">
            <a:extLst>
              <a:ext uri="{FF2B5EF4-FFF2-40B4-BE49-F238E27FC236}">
                <a16:creationId xmlns:a16="http://schemas.microsoft.com/office/drawing/2014/main" id="{F369B13F-7E45-051D-6B21-8F12D90F5351}"/>
              </a:ext>
            </a:extLst>
          </p:cNvPr>
          <p:cNvPicPr>
            <a:picLocks noChangeAspect="1"/>
          </p:cNvPicPr>
          <p:nvPr/>
        </p:nvPicPr>
        <p:blipFill>
          <a:blip r:embed="rId6"/>
          <a:stretch>
            <a:fillRect/>
          </a:stretch>
        </p:blipFill>
        <p:spPr>
          <a:xfrm>
            <a:off x="8335758" y="2724261"/>
            <a:ext cx="2387207" cy="1607105"/>
          </a:xfrm>
          <a:prstGeom prst="rect">
            <a:avLst/>
          </a:prstGeom>
        </p:spPr>
      </p:pic>
      <p:pic>
        <p:nvPicPr>
          <p:cNvPr id="7" name="Picture 6">
            <a:extLst>
              <a:ext uri="{FF2B5EF4-FFF2-40B4-BE49-F238E27FC236}">
                <a16:creationId xmlns:a16="http://schemas.microsoft.com/office/drawing/2014/main" id="{8ABC0122-D5DF-74D2-58B5-D6D4BE33DE3E}"/>
              </a:ext>
            </a:extLst>
          </p:cNvPr>
          <p:cNvPicPr>
            <a:picLocks noChangeAspect="1"/>
          </p:cNvPicPr>
          <p:nvPr/>
        </p:nvPicPr>
        <p:blipFill>
          <a:blip r:embed="rId7"/>
          <a:stretch>
            <a:fillRect/>
          </a:stretch>
        </p:blipFill>
        <p:spPr>
          <a:xfrm>
            <a:off x="7254075" y="4548451"/>
            <a:ext cx="4550574" cy="2114915"/>
          </a:xfrm>
          <a:prstGeom prst="rect">
            <a:avLst/>
          </a:prstGeom>
        </p:spPr>
      </p:pic>
    </p:spTree>
    <p:extLst>
      <p:ext uri="{BB962C8B-B14F-4D97-AF65-F5344CB8AC3E}">
        <p14:creationId xmlns:p14="http://schemas.microsoft.com/office/powerpoint/2010/main" val="4043452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en-CA"/>
              <a:t>Historical Model Building</a:t>
            </a:r>
            <a:endParaRPr lang="en-GB"/>
          </a:p>
        </p:txBody>
      </p:sp>
      <p:sp>
        <p:nvSpPr>
          <p:cNvPr id="5" name="Rectangle: Rounded Corners 4">
            <a:extLst>
              <a:ext uri="{FF2B5EF4-FFF2-40B4-BE49-F238E27FC236}">
                <a16:creationId xmlns:a16="http://schemas.microsoft.com/office/drawing/2014/main" id="{200883B1-3AFF-2E68-632C-842E687C7A0C}"/>
              </a:ext>
            </a:extLst>
          </p:cNvPr>
          <p:cNvSpPr/>
          <p:nvPr/>
        </p:nvSpPr>
        <p:spPr>
          <a:xfrm>
            <a:off x="609600" y="948486"/>
            <a:ext cx="2111868" cy="118755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600">
                <a:latin typeface="Verdana" panose="020B0604030504040204" pitchFamily="34" charset="0"/>
                <a:ea typeface="Verdana" panose="020B0604030504040204" pitchFamily="34" charset="0"/>
              </a:rPr>
              <a:t>4. Evaluate the Model</a:t>
            </a:r>
          </a:p>
        </p:txBody>
      </p:sp>
      <p:sp>
        <p:nvSpPr>
          <p:cNvPr id="9" name="Rectangle: Rounded Corners 8">
            <a:extLst>
              <a:ext uri="{FF2B5EF4-FFF2-40B4-BE49-F238E27FC236}">
                <a16:creationId xmlns:a16="http://schemas.microsoft.com/office/drawing/2014/main" id="{DC97904E-5153-131E-88D4-A1108C6E2387}"/>
              </a:ext>
            </a:extLst>
          </p:cNvPr>
          <p:cNvSpPr/>
          <p:nvPr/>
        </p:nvSpPr>
        <p:spPr>
          <a:xfrm>
            <a:off x="3290752" y="948486"/>
            <a:ext cx="3318569" cy="118755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Verdana" panose="020B0604030504040204" pitchFamily="34" charset="0"/>
                <a:ea typeface="Verdana" panose="020B0604030504040204" pitchFamily="34" charset="0"/>
              </a:rPr>
              <a:t>Each model had an R square value &gt;0.98, a reasonable MSE score and cross </a:t>
            </a:r>
            <a:r>
              <a:rPr lang="en-US" sz="1200" err="1">
                <a:latin typeface="Verdana" panose="020B0604030504040204" pitchFamily="34" charset="0"/>
                <a:ea typeface="Verdana" panose="020B0604030504040204" pitchFamily="34" charset="0"/>
              </a:rPr>
              <a:t>val</a:t>
            </a:r>
            <a:r>
              <a:rPr lang="en-US" sz="1200">
                <a:latin typeface="Verdana" panose="020B0604030504040204" pitchFamily="34" charset="0"/>
                <a:ea typeface="Verdana" panose="020B0604030504040204" pitchFamily="34" charset="0"/>
              </a:rPr>
              <a:t> score on R squared &gt;0.96 showing strong predictability, unbiased and strong fitting</a:t>
            </a:r>
            <a:endParaRPr lang="en-CA" sz="1200">
              <a:latin typeface="Verdana" panose="020B0604030504040204" pitchFamily="34" charset="0"/>
              <a:ea typeface="Verdana" panose="020B0604030504040204" pitchFamily="34" charset="0"/>
            </a:endParaRPr>
          </a:p>
        </p:txBody>
      </p:sp>
      <p:sp>
        <p:nvSpPr>
          <p:cNvPr id="13" name="Rectangle: Rounded Corners 12">
            <a:extLst>
              <a:ext uri="{FF2B5EF4-FFF2-40B4-BE49-F238E27FC236}">
                <a16:creationId xmlns:a16="http://schemas.microsoft.com/office/drawing/2014/main" id="{663ED3C5-D3BA-EF19-3F10-CF86149A3250}"/>
              </a:ext>
            </a:extLst>
          </p:cNvPr>
          <p:cNvSpPr/>
          <p:nvPr/>
        </p:nvSpPr>
        <p:spPr>
          <a:xfrm>
            <a:off x="609600" y="2934038"/>
            <a:ext cx="2111869" cy="118755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600">
                <a:latin typeface="Verdana" panose="020B0604030504040204" pitchFamily="34" charset="0"/>
                <a:ea typeface="Verdana" panose="020B0604030504040204" pitchFamily="34" charset="0"/>
              </a:rPr>
              <a:t>5. Predict Future Values</a:t>
            </a:r>
          </a:p>
        </p:txBody>
      </p:sp>
      <p:sp>
        <p:nvSpPr>
          <p:cNvPr id="15" name="Rectangle: Rounded Corners 14">
            <a:extLst>
              <a:ext uri="{FF2B5EF4-FFF2-40B4-BE49-F238E27FC236}">
                <a16:creationId xmlns:a16="http://schemas.microsoft.com/office/drawing/2014/main" id="{EC2E5243-B10C-997A-C250-F3ECA2E69CE3}"/>
              </a:ext>
            </a:extLst>
          </p:cNvPr>
          <p:cNvSpPr/>
          <p:nvPr/>
        </p:nvSpPr>
        <p:spPr>
          <a:xfrm>
            <a:off x="3290752" y="2934037"/>
            <a:ext cx="3318569" cy="11875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Verdana" panose="020B0604030504040204" pitchFamily="34" charset="0"/>
                <a:ea typeface="Verdana" panose="020B0604030504040204" pitchFamily="34" charset="0"/>
              </a:rPr>
              <a:t>Using a random window approach along with a random shock based on historic data for volatility we predicted from the end of our data to 2024-07-19</a:t>
            </a:r>
            <a:endParaRPr lang="en-CA" sz="1200">
              <a:latin typeface="Verdana" panose="020B0604030504040204" pitchFamily="34" charset="0"/>
              <a:ea typeface="Verdana" panose="020B0604030504040204" pitchFamily="34" charset="0"/>
            </a:endParaRPr>
          </a:p>
        </p:txBody>
      </p:sp>
      <p:sp>
        <p:nvSpPr>
          <p:cNvPr id="19" name="Rectangle: Rounded Corners 18">
            <a:extLst>
              <a:ext uri="{FF2B5EF4-FFF2-40B4-BE49-F238E27FC236}">
                <a16:creationId xmlns:a16="http://schemas.microsoft.com/office/drawing/2014/main" id="{2EDB8817-2B18-B4D8-E4BE-162F2047CB70}"/>
              </a:ext>
            </a:extLst>
          </p:cNvPr>
          <p:cNvSpPr/>
          <p:nvPr/>
        </p:nvSpPr>
        <p:spPr>
          <a:xfrm>
            <a:off x="609600" y="5012132"/>
            <a:ext cx="2111868" cy="11875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600">
                <a:latin typeface="Verdana" panose="020B0604030504040204" pitchFamily="34" charset="0"/>
                <a:ea typeface="Verdana" panose="020B0604030504040204" pitchFamily="34" charset="0"/>
              </a:rPr>
              <a:t>6. Create the Model</a:t>
            </a:r>
          </a:p>
        </p:txBody>
      </p:sp>
      <p:sp>
        <p:nvSpPr>
          <p:cNvPr id="20" name="Rectangle: Rounded Corners 19">
            <a:extLst>
              <a:ext uri="{FF2B5EF4-FFF2-40B4-BE49-F238E27FC236}">
                <a16:creationId xmlns:a16="http://schemas.microsoft.com/office/drawing/2014/main" id="{7C61BAF5-A91C-A4B4-CDDD-B904EB3E755A}"/>
              </a:ext>
            </a:extLst>
          </p:cNvPr>
          <p:cNvSpPr/>
          <p:nvPr/>
        </p:nvSpPr>
        <p:spPr>
          <a:xfrm>
            <a:off x="3290751" y="5012132"/>
            <a:ext cx="3318569" cy="11875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atin typeface="Verdana" panose="020B0604030504040204" pitchFamily="34" charset="0"/>
                <a:ea typeface="Verdana" panose="020B0604030504040204" pitchFamily="34" charset="0"/>
              </a:rPr>
              <a:t>We then predict to 2024-07-26 and obtain a return from the two projected dates</a:t>
            </a:r>
            <a:endParaRPr lang="en-CA" sz="1200">
              <a:latin typeface="Verdana" panose="020B0604030504040204" pitchFamily="34" charset="0"/>
              <a:ea typeface="Verdana" panose="020B0604030504040204" pitchFamily="34" charset="0"/>
            </a:endParaRPr>
          </a:p>
        </p:txBody>
      </p:sp>
      <p:sp>
        <p:nvSpPr>
          <p:cNvPr id="23" name="Isosceles Triangle 22">
            <a:extLst>
              <a:ext uri="{FF2B5EF4-FFF2-40B4-BE49-F238E27FC236}">
                <a16:creationId xmlns:a16="http://schemas.microsoft.com/office/drawing/2014/main" id="{D06C4C24-0B62-83FF-2BBD-25154CD7F171}"/>
              </a:ext>
            </a:extLst>
          </p:cNvPr>
          <p:cNvSpPr/>
          <p:nvPr/>
        </p:nvSpPr>
        <p:spPr>
          <a:xfrm rot="5400000">
            <a:off x="2428333" y="5491609"/>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2" name="Picture 21">
            <a:extLst>
              <a:ext uri="{FF2B5EF4-FFF2-40B4-BE49-F238E27FC236}">
                <a16:creationId xmlns:a16="http://schemas.microsoft.com/office/drawing/2014/main" id="{F7AA27E1-7D7C-3315-0486-B4CEBB601732}"/>
              </a:ext>
            </a:extLst>
          </p:cNvPr>
          <p:cNvPicPr>
            <a:picLocks noChangeAspect="1"/>
          </p:cNvPicPr>
          <p:nvPr/>
        </p:nvPicPr>
        <p:blipFill>
          <a:blip r:embed="rId5"/>
          <a:stretch>
            <a:fillRect/>
          </a:stretch>
        </p:blipFill>
        <p:spPr>
          <a:xfrm>
            <a:off x="7289433" y="4575961"/>
            <a:ext cx="4475291" cy="2059896"/>
          </a:xfrm>
          <a:prstGeom prst="rect">
            <a:avLst/>
          </a:prstGeom>
        </p:spPr>
      </p:pic>
      <p:pic>
        <p:nvPicPr>
          <p:cNvPr id="27" name="Picture 26">
            <a:extLst>
              <a:ext uri="{FF2B5EF4-FFF2-40B4-BE49-F238E27FC236}">
                <a16:creationId xmlns:a16="http://schemas.microsoft.com/office/drawing/2014/main" id="{A7B7A216-E070-60B7-6EEC-C52345938BB9}"/>
              </a:ext>
            </a:extLst>
          </p:cNvPr>
          <p:cNvPicPr>
            <a:picLocks noChangeAspect="1"/>
          </p:cNvPicPr>
          <p:nvPr/>
        </p:nvPicPr>
        <p:blipFill>
          <a:blip r:embed="rId6"/>
          <a:stretch>
            <a:fillRect/>
          </a:stretch>
        </p:blipFill>
        <p:spPr>
          <a:xfrm>
            <a:off x="7289433" y="2559488"/>
            <a:ext cx="4475291" cy="1936653"/>
          </a:xfrm>
          <a:prstGeom prst="rect">
            <a:avLst/>
          </a:prstGeom>
        </p:spPr>
      </p:pic>
      <p:pic>
        <p:nvPicPr>
          <p:cNvPr id="30" name="Picture 29">
            <a:extLst>
              <a:ext uri="{FF2B5EF4-FFF2-40B4-BE49-F238E27FC236}">
                <a16:creationId xmlns:a16="http://schemas.microsoft.com/office/drawing/2014/main" id="{40DFBFE0-1715-F05B-7E73-0BFDB10090A2}"/>
              </a:ext>
            </a:extLst>
          </p:cNvPr>
          <p:cNvPicPr>
            <a:picLocks noChangeAspect="1"/>
          </p:cNvPicPr>
          <p:nvPr/>
        </p:nvPicPr>
        <p:blipFill>
          <a:blip r:embed="rId7"/>
          <a:stretch>
            <a:fillRect/>
          </a:stretch>
        </p:blipFill>
        <p:spPr>
          <a:xfrm>
            <a:off x="7289432" y="604856"/>
            <a:ext cx="4475291" cy="1874812"/>
          </a:xfrm>
          <a:prstGeom prst="rect">
            <a:avLst/>
          </a:prstGeom>
        </p:spPr>
      </p:pic>
      <p:sp>
        <p:nvSpPr>
          <p:cNvPr id="33" name="Isosceles Triangle 32">
            <a:extLst>
              <a:ext uri="{FF2B5EF4-FFF2-40B4-BE49-F238E27FC236}">
                <a16:creationId xmlns:a16="http://schemas.microsoft.com/office/drawing/2014/main" id="{55B12070-C0EF-C40C-20FE-A1A950F6A4F3}"/>
              </a:ext>
            </a:extLst>
          </p:cNvPr>
          <p:cNvSpPr/>
          <p:nvPr/>
        </p:nvSpPr>
        <p:spPr>
          <a:xfrm rot="5400000">
            <a:off x="6284185" y="5491609"/>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 name="Isosceles Triangle 33">
            <a:extLst>
              <a:ext uri="{FF2B5EF4-FFF2-40B4-BE49-F238E27FC236}">
                <a16:creationId xmlns:a16="http://schemas.microsoft.com/office/drawing/2014/main" id="{9463ED83-9F10-1A07-549C-D9E8BB3E8327}"/>
              </a:ext>
            </a:extLst>
          </p:cNvPr>
          <p:cNvSpPr/>
          <p:nvPr/>
        </p:nvSpPr>
        <p:spPr>
          <a:xfrm rot="5400000">
            <a:off x="2428333" y="1427962"/>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Isosceles Triangle 34">
            <a:extLst>
              <a:ext uri="{FF2B5EF4-FFF2-40B4-BE49-F238E27FC236}">
                <a16:creationId xmlns:a16="http://schemas.microsoft.com/office/drawing/2014/main" id="{85CBE873-9EBF-238A-6AFE-FDB44913C394}"/>
              </a:ext>
            </a:extLst>
          </p:cNvPr>
          <p:cNvSpPr/>
          <p:nvPr/>
        </p:nvSpPr>
        <p:spPr>
          <a:xfrm rot="5400000">
            <a:off x="2428333" y="3413514"/>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Isosceles Triangle 35">
            <a:extLst>
              <a:ext uri="{FF2B5EF4-FFF2-40B4-BE49-F238E27FC236}">
                <a16:creationId xmlns:a16="http://schemas.microsoft.com/office/drawing/2014/main" id="{BA0602AC-8A15-FC22-31CC-EABF564C6AAB}"/>
              </a:ext>
            </a:extLst>
          </p:cNvPr>
          <p:cNvSpPr/>
          <p:nvPr/>
        </p:nvSpPr>
        <p:spPr>
          <a:xfrm rot="5400000">
            <a:off x="6284185" y="3413514"/>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Isosceles Triangle 36">
            <a:extLst>
              <a:ext uri="{FF2B5EF4-FFF2-40B4-BE49-F238E27FC236}">
                <a16:creationId xmlns:a16="http://schemas.microsoft.com/office/drawing/2014/main" id="{5BB1DF12-96C3-4F3A-C59E-06A1C4E50E38}"/>
              </a:ext>
            </a:extLst>
          </p:cNvPr>
          <p:cNvSpPr/>
          <p:nvPr/>
        </p:nvSpPr>
        <p:spPr>
          <a:xfrm rot="5400000">
            <a:off x="6284185" y="1427962"/>
            <a:ext cx="1187555" cy="228600"/>
          </a:xfrm>
          <a:prstGeom prst="triangle">
            <a:avLst/>
          </a:prstGeom>
          <a:solidFill>
            <a:srgbClr val="5AE0B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9480646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en-CA"/>
              <a:t>Historical Model Performance</a:t>
            </a:r>
            <a:endParaRPr lang="en-GB"/>
          </a:p>
        </p:txBody>
      </p:sp>
      <p:graphicFrame>
        <p:nvGraphicFramePr>
          <p:cNvPr id="7" name="Table 6">
            <a:extLst>
              <a:ext uri="{FF2B5EF4-FFF2-40B4-BE49-F238E27FC236}">
                <a16:creationId xmlns:a16="http://schemas.microsoft.com/office/drawing/2014/main" id="{4FC8121B-5999-3EF3-3DF6-C44B1A456703}"/>
              </a:ext>
            </a:extLst>
          </p:cNvPr>
          <p:cNvGraphicFramePr>
            <a:graphicFrameLocks noGrp="1"/>
          </p:cNvGraphicFramePr>
          <p:nvPr>
            <p:extLst>
              <p:ext uri="{D42A27DB-BD31-4B8C-83A1-F6EECF244321}">
                <p14:modId xmlns:p14="http://schemas.microsoft.com/office/powerpoint/2010/main" val="1018489603"/>
              </p:ext>
            </p:extLst>
          </p:nvPr>
        </p:nvGraphicFramePr>
        <p:xfrm>
          <a:off x="289871" y="944288"/>
          <a:ext cx="5096252" cy="5532709"/>
        </p:xfrm>
        <a:graphic>
          <a:graphicData uri="http://schemas.openxmlformats.org/drawingml/2006/table">
            <a:tbl>
              <a:tblPr firstRow="1" bandRow="1">
                <a:tableStyleId>{5C22544A-7EE6-4342-B048-85BDC9FD1C3A}</a:tableStyleId>
              </a:tblPr>
              <a:tblGrid>
                <a:gridCol w="1791592">
                  <a:extLst>
                    <a:ext uri="{9D8B030D-6E8A-4147-A177-3AD203B41FA5}">
                      <a16:colId xmlns:a16="http://schemas.microsoft.com/office/drawing/2014/main" val="4245256249"/>
                    </a:ext>
                  </a:extLst>
                </a:gridCol>
                <a:gridCol w="1179095">
                  <a:extLst>
                    <a:ext uri="{9D8B030D-6E8A-4147-A177-3AD203B41FA5}">
                      <a16:colId xmlns:a16="http://schemas.microsoft.com/office/drawing/2014/main" val="3122895160"/>
                    </a:ext>
                  </a:extLst>
                </a:gridCol>
                <a:gridCol w="1010653">
                  <a:extLst>
                    <a:ext uri="{9D8B030D-6E8A-4147-A177-3AD203B41FA5}">
                      <a16:colId xmlns:a16="http://schemas.microsoft.com/office/drawing/2014/main" val="1801644092"/>
                    </a:ext>
                  </a:extLst>
                </a:gridCol>
                <a:gridCol w="1114912">
                  <a:extLst>
                    <a:ext uri="{9D8B030D-6E8A-4147-A177-3AD203B41FA5}">
                      <a16:colId xmlns:a16="http://schemas.microsoft.com/office/drawing/2014/main" val="4134210389"/>
                    </a:ext>
                  </a:extLst>
                </a:gridCol>
              </a:tblGrid>
              <a:tr h="675229">
                <a:tc>
                  <a:txBody>
                    <a:bodyPr/>
                    <a:lstStyle/>
                    <a:p>
                      <a:pPr algn="ctr"/>
                      <a:r>
                        <a:rPr lang="en-CA" sz="1050" dirty="0">
                          <a:solidFill>
                            <a:schemeClr val="bg1"/>
                          </a:solidFill>
                          <a:latin typeface="Verdana" panose="020B0604030504040204" pitchFamily="34" charset="0"/>
                          <a:ea typeface="Verdana" panose="020B0604030504040204" pitchFamily="34" charset="0"/>
                          <a:cs typeface="Arial" panose="020B0604020202020204" pitchFamily="34" charset="0"/>
                        </a:rPr>
                        <a:t>Compan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50" b="1" dirty="0">
                          <a:solidFill>
                            <a:schemeClr val="bg1"/>
                          </a:solidFill>
                          <a:latin typeface="Verdana" panose="020B0604030504040204" pitchFamily="34" charset="0"/>
                          <a:ea typeface="Verdana" panose="020B0604030504040204" pitchFamily="34" charset="0"/>
                          <a:cs typeface="Arial" panose="020B0604020202020204" pitchFamily="34" charset="0"/>
                        </a:rPr>
                        <a:t>2024-07-22 Opening Price</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2024-07-26 Projected Close</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Return (%)</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164215"/>
                  </a:ext>
                </a:extLst>
              </a:tr>
              <a:tr h="809580">
                <a:tc>
                  <a:txBody>
                    <a:bodyPr/>
                    <a:lstStyle/>
                    <a:p>
                      <a:endParaRPr lang="en-CA" sz="1400">
                        <a:latin typeface="Verdana" panose="020B0604030504040204" pitchFamily="34" charset="0"/>
                        <a:ea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dirty="0">
                          <a:latin typeface="Verdana" panose="020B0604030504040204" pitchFamily="34" charset="0"/>
                          <a:ea typeface="Verdana" panose="020B0604030504040204" pitchFamily="34" charset="0"/>
                        </a:rPr>
                        <a:t>$53.4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rPr>
                        <a:t>$62.6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solidFill>
                            <a:srgbClr val="347170"/>
                          </a:solidFill>
                          <a:latin typeface="Verdana" panose="020B0604030504040204" pitchFamily="34" charset="0"/>
                          <a:ea typeface="Verdana" panose="020B0604030504040204" pitchFamily="34" charset="0"/>
                        </a:rPr>
                        <a:t>+17.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6562464"/>
                  </a:ext>
                </a:extLst>
              </a:tr>
              <a:tr h="809580">
                <a:tc>
                  <a:txBody>
                    <a:bodyPr/>
                    <a:lstStyle/>
                    <a:p>
                      <a:endParaRPr lang="en-CA" sz="1400">
                        <a:latin typeface="Verdana" panose="020B0604030504040204" pitchFamily="34" charset="0"/>
                        <a:ea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rPr>
                        <a:t>$33.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dirty="0">
                          <a:latin typeface="Verdana" panose="020B0604030504040204" pitchFamily="34" charset="0"/>
                          <a:ea typeface="Verdana" panose="020B0604030504040204" pitchFamily="34" charset="0"/>
                        </a:rPr>
                        <a:t>$31.7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solidFill>
                            <a:srgbClr val="347170"/>
                          </a:solidFill>
                          <a:latin typeface="Verdana" panose="020B0604030504040204" pitchFamily="34" charset="0"/>
                          <a:ea typeface="Verdana" panose="020B0604030504040204" pitchFamily="34" charset="0"/>
                        </a:rPr>
                        <a:t>+4.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64940320"/>
                  </a:ext>
                </a:extLst>
              </a:tr>
              <a:tr h="809580">
                <a:tc>
                  <a:txBody>
                    <a:bodyPr/>
                    <a:lstStyle/>
                    <a:p>
                      <a:endParaRPr lang="en-CA" sz="1400">
                        <a:latin typeface="Verdana" panose="020B0604030504040204" pitchFamily="34" charset="0"/>
                        <a:ea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rPr>
                        <a:t>$67.5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dirty="0">
                          <a:latin typeface="Verdana" panose="020B0604030504040204" pitchFamily="34" charset="0"/>
                          <a:ea typeface="Verdana" panose="020B0604030504040204" pitchFamily="34" charset="0"/>
                        </a:rPr>
                        <a:t>$69.7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solidFill>
                            <a:srgbClr val="347170"/>
                          </a:solidFill>
                          <a:latin typeface="Verdana" panose="020B0604030504040204" pitchFamily="34" charset="0"/>
                          <a:ea typeface="Verdana" panose="020B0604030504040204" pitchFamily="34" charset="0"/>
                        </a:rPr>
                        <a:t>+3.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3813982"/>
                  </a:ext>
                </a:extLst>
              </a:tr>
              <a:tr h="809580">
                <a:tc>
                  <a:txBody>
                    <a:bodyPr/>
                    <a:lstStyle/>
                    <a:p>
                      <a:endParaRPr lang="en-CA" sz="1400">
                        <a:latin typeface="Verdana" panose="020B0604030504040204" pitchFamily="34" charset="0"/>
                        <a:ea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rPr>
                        <a:t>$98.8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dirty="0">
                          <a:latin typeface="Verdana" panose="020B0604030504040204" pitchFamily="34" charset="0"/>
                          <a:ea typeface="Verdana" panose="020B0604030504040204" pitchFamily="34" charset="0"/>
                        </a:rPr>
                        <a:t>$103.6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solidFill>
                            <a:srgbClr val="347170"/>
                          </a:solidFill>
                          <a:latin typeface="Verdana" panose="020B0604030504040204" pitchFamily="34" charset="0"/>
                          <a:ea typeface="Verdana" panose="020B0604030504040204" pitchFamily="34" charset="0"/>
                        </a:rPr>
                        <a:t>+4.8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43450301"/>
                  </a:ext>
                </a:extLst>
              </a:tr>
              <a:tr h="809580">
                <a:tc>
                  <a:txBody>
                    <a:bodyPr/>
                    <a:lstStyle/>
                    <a:p>
                      <a:endParaRPr lang="en-CA" sz="1400">
                        <a:latin typeface="Verdana" panose="020B0604030504040204" pitchFamily="34" charset="0"/>
                        <a:ea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rPr>
                        <a:t>$134.8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dirty="0">
                          <a:latin typeface="Verdana" panose="020B0604030504040204" pitchFamily="34" charset="0"/>
                          <a:ea typeface="Verdana" panose="020B0604030504040204" pitchFamily="34" charset="0"/>
                        </a:rPr>
                        <a:t>$123.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dirty="0">
                          <a:solidFill>
                            <a:srgbClr val="FF0000"/>
                          </a:solidFill>
                          <a:latin typeface="Verdana" panose="020B0604030504040204" pitchFamily="34" charset="0"/>
                          <a:ea typeface="Verdana" panose="020B0604030504040204" pitchFamily="34" charset="0"/>
                        </a:rPr>
                        <a:t>-8.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77002060"/>
                  </a:ext>
                </a:extLst>
              </a:tr>
              <a:tr h="809580">
                <a:tc>
                  <a:txBody>
                    <a:bodyPr/>
                    <a:lstStyle/>
                    <a:p>
                      <a:endParaRPr lang="en-CA" sz="1400">
                        <a:latin typeface="Verdana" panose="020B0604030504040204" pitchFamily="34" charset="0"/>
                        <a:ea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rPr>
                        <a:t>$248.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rPr>
                        <a:t>$247.7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dirty="0">
                          <a:solidFill>
                            <a:srgbClr val="FF0000"/>
                          </a:solidFill>
                          <a:latin typeface="Verdana" panose="020B0604030504040204" pitchFamily="34" charset="0"/>
                          <a:ea typeface="Verdana" panose="020B0604030504040204" pitchFamily="34" charset="0"/>
                        </a:rPr>
                        <a:t>-0.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47152163"/>
                  </a:ext>
                </a:extLst>
              </a:tr>
            </a:tbl>
          </a:graphicData>
        </a:graphic>
      </p:graphicFrame>
      <p:pic>
        <p:nvPicPr>
          <p:cNvPr id="1026" name="Picture 2" descr="Chipotle Mexican Grill Logo PNG ...">
            <a:extLst>
              <a:ext uri="{FF2B5EF4-FFF2-40B4-BE49-F238E27FC236}">
                <a16:creationId xmlns:a16="http://schemas.microsoft.com/office/drawing/2014/main" id="{AB3F4AD1-CA84-CE5D-901A-DDFB24D089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8384" y="1684744"/>
            <a:ext cx="686635" cy="686635"/>
          </a:xfrm>
          <a:prstGeom prst="ellipse">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F4FFDE12-1B1E-26B7-1BFC-611AABF4753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9152" y="2674360"/>
            <a:ext cx="1625100" cy="32790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alesforce Logo and symbol, meaning, history, PNG, brand">
            <a:extLst>
              <a:ext uri="{FF2B5EF4-FFF2-40B4-BE49-F238E27FC236}">
                <a16:creationId xmlns:a16="http://schemas.microsoft.com/office/drawing/2014/main" id="{B5E9244F-FBBE-43A0-D540-DE3B7229D6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8285" y="5701544"/>
            <a:ext cx="1126837" cy="74048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5E4E515D-1AFA-CC2B-881B-E6C4A818661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6320" y="4994411"/>
            <a:ext cx="1690765" cy="49297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Uber - Social media &amp; Logos Icons">
            <a:extLst>
              <a:ext uri="{FF2B5EF4-FFF2-40B4-BE49-F238E27FC236}">
                <a16:creationId xmlns:a16="http://schemas.microsoft.com/office/drawing/2014/main" id="{069476EC-5E38-709C-1B70-98474D54EE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6094" y="3294065"/>
            <a:ext cx="671216" cy="67121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CAA0D395-4C03-9B70-6E44-77F0D4E75D2A}"/>
              </a:ext>
            </a:extLst>
          </p:cNvPr>
          <p:cNvPicPr>
            <a:picLocks noChangeAspect="1"/>
          </p:cNvPicPr>
          <p:nvPr/>
        </p:nvPicPr>
        <p:blipFill>
          <a:blip r:embed="rId10"/>
          <a:stretch>
            <a:fillRect/>
          </a:stretch>
        </p:blipFill>
        <p:spPr>
          <a:xfrm>
            <a:off x="6137803" y="1224054"/>
            <a:ext cx="4887102" cy="2238301"/>
          </a:xfrm>
          <a:prstGeom prst="rect">
            <a:avLst/>
          </a:prstGeom>
        </p:spPr>
      </p:pic>
      <p:sp>
        <p:nvSpPr>
          <p:cNvPr id="22" name="TextBox 21">
            <a:extLst>
              <a:ext uri="{FF2B5EF4-FFF2-40B4-BE49-F238E27FC236}">
                <a16:creationId xmlns:a16="http://schemas.microsoft.com/office/drawing/2014/main" id="{126EB4E3-6290-C579-619D-41396A7FF463}"/>
              </a:ext>
            </a:extLst>
          </p:cNvPr>
          <p:cNvSpPr txBox="1"/>
          <p:nvPr/>
        </p:nvSpPr>
        <p:spPr>
          <a:xfrm>
            <a:off x="5826804" y="721839"/>
            <a:ext cx="5509102" cy="430887"/>
          </a:xfrm>
          <a:prstGeom prst="rect">
            <a:avLst/>
          </a:prstGeom>
          <a:solidFill>
            <a:srgbClr val="5AE0BB"/>
          </a:solidFill>
        </p:spPr>
        <p:txBody>
          <a:bodyPr wrap="square" rtlCol="0">
            <a:spAutoFit/>
          </a:bodyPr>
          <a:lstStyle/>
          <a:p>
            <a:pPr algn="ctr"/>
            <a:r>
              <a:rPr lang="en-CA" sz="1100" dirty="0">
                <a:latin typeface="Verdana" panose="020B0604030504040204" pitchFamily="34" charset="0"/>
                <a:ea typeface="Verdana" panose="020B0604030504040204" pitchFamily="34" charset="0"/>
              </a:rPr>
              <a:t>Residual plot shows the model predictions are unbiased and consistent over time</a:t>
            </a:r>
          </a:p>
        </p:txBody>
      </p:sp>
      <p:pic>
        <p:nvPicPr>
          <p:cNvPr id="24" name="Picture 23">
            <a:extLst>
              <a:ext uri="{FF2B5EF4-FFF2-40B4-BE49-F238E27FC236}">
                <a16:creationId xmlns:a16="http://schemas.microsoft.com/office/drawing/2014/main" id="{6848F009-4F3A-1058-8AE4-00A8F1F4E41E}"/>
              </a:ext>
            </a:extLst>
          </p:cNvPr>
          <p:cNvPicPr>
            <a:picLocks noChangeAspect="1"/>
          </p:cNvPicPr>
          <p:nvPr/>
        </p:nvPicPr>
        <p:blipFill>
          <a:blip r:embed="rId11"/>
          <a:stretch>
            <a:fillRect/>
          </a:stretch>
        </p:blipFill>
        <p:spPr>
          <a:xfrm>
            <a:off x="6137804" y="4035078"/>
            <a:ext cx="4887101" cy="2576587"/>
          </a:xfrm>
          <a:prstGeom prst="rect">
            <a:avLst/>
          </a:prstGeom>
        </p:spPr>
      </p:pic>
      <p:sp>
        <p:nvSpPr>
          <p:cNvPr id="25" name="TextBox 24">
            <a:extLst>
              <a:ext uri="{FF2B5EF4-FFF2-40B4-BE49-F238E27FC236}">
                <a16:creationId xmlns:a16="http://schemas.microsoft.com/office/drawing/2014/main" id="{9F152E9D-2DA4-73A2-A615-4EC26E47538A}"/>
              </a:ext>
            </a:extLst>
          </p:cNvPr>
          <p:cNvSpPr txBox="1"/>
          <p:nvPr/>
        </p:nvSpPr>
        <p:spPr>
          <a:xfrm>
            <a:off x="5826804" y="3532863"/>
            <a:ext cx="5509102" cy="430887"/>
          </a:xfrm>
          <a:prstGeom prst="rect">
            <a:avLst/>
          </a:prstGeom>
          <a:solidFill>
            <a:srgbClr val="5AE0BB"/>
          </a:solidFill>
        </p:spPr>
        <p:txBody>
          <a:bodyPr wrap="square" rtlCol="0">
            <a:spAutoFit/>
          </a:bodyPr>
          <a:lstStyle/>
          <a:p>
            <a:pPr algn="ctr"/>
            <a:r>
              <a:rPr lang="en-CA" sz="1100">
                <a:latin typeface="Verdana" panose="020B0604030504040204" pitchFamily="34" charset="0"/>
                <a:ea typeface="Verdana" panose="020B0604030504040204" pitchFamily="34" charset="0"/>
              </a:rPr>
              <a:t>The model closely followed actual prices and continued the volatility into the predictions</a:t>
            </a:r>
          </a:p>
        </p:txBody>
      </p:sp>
      <p:pic>
        <p:nvPicPr>
          <p:cNvPr id="2" name="Picture 8">
            <a:extLst>
              <a:ext uri="{FF2B5EF4-FFF2-40B4-BE49-F238E27FC236}">
                <a16:creationId xmlns:a16="http://schemas.microsoft.com/office/drawing/2014/main" id="{5CEAD7D6-0DB6-EB82-4909-94AA284D2034}"/>
              </a:ext>
            </a:extLst>
          </p:cNvPr>
          <p:cNvPicPr>
            <a:picLocks noChangeAspect="1" noChangeArrowheads="1"/>
          </p:cNvPicPr>
          <p:nvPr/>
        </p:nvPicPr>
        <p:blipFill rotWithShape="1">
          <a:blip r:embed="rId12">
            <a:extLst>
              <a:ext uri="{837473B0-CC2E-450A-ABE3-18F120FF3D39}">
                <a1611:picAttrSrcUrl xmlns:a1611="http://schemas.microsoft.com/office/drawing/2016/11/main" r:id="rId13"/>
              </a:ext>
            </a:extLst>
          </a:blip>
          <a:srcRect l="-632" t="-1" r="2186" b="-300"/>
          <a:stretch/>
        </p:blipFill>
        <p:spPr bwMode="auto">
          <a:xfrm>
            <a:off x="634665" y="4152721"/>
            <a:ext cx="1114072" cy="638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8135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5A6160-BB28-4B8E-C4A6-E0EDB41C8FF2}"/>
              </a:ext>
            </a:extLst>
          </p:cNvPr>
          <p:cNvSpPr>
            <a:spLocks noGrp="1"/>
          </p:cNvSpPr>
          <p:nvPr>
            <p:ph type="title"/>
          </p:nvPr>
        </p:nvSpPr>
        <p:spPr/>
        <p:txBody>
          <a:bodyPr/>
          <a:lstStyle/>
          <a:p>
            <a:r>
              <a:rPr lang="en-US"/>
              <a:t>Forward Predictive Model Building</a:t>
            </a:r>
          </a:p>
        </p:txBody>
      </p:sp>
      <p:sp>
        <p:nvSpPr>
          <p:cNvPr id="7" name="Diagrama de flujo: disco magnético 6">
            <a:extLst>
              <a:ext uri="{FF2B5EF4-FFF2-40B4-BE49-F238E27FC236}">
                <a16:creationId xmlns:a16="http://schemas.microsoft.com/office/drawing/2014/main" id="{21BDC1AA-0619-B47A-1972-181CA395DB47}"/>
              </a:ext>
            </a:extLst>
          </p:cNvPr>
          <p:cNvSpPr/>
          <p:nvPr/>
        </p:nvSpPr>
        <p:spPr>
          <a:xfrm>
            <a:off x="9490073" y="4929732"/>
            <a:ext cx="2298700" cy="1306984"/>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Verdana"/>
                <a:ea typeface="+mn-ea"/>
                <a:cs typeface="+mn-cs"/>
              </a:rPr>
              <a:t>5</a:t>
            </a:r>
          </a:p>
        </p:txBody>
      </p:sp>
      <p:sp>
        <p:nvSpPr>
          <p:cNvPr id="8" name="Diagrama de flujo: disco magnético 7">
            <a:extLst>
              <a:ext uri="{FF2B5EF4-FFF2-40B4-BE49-F238E27FC236}">
                <a16:creationId xmlns:a16="http://schemas.microsoft.com/office/drawing/2014/main" id="{3CB5F467-5B16-AAD5-6434-8F9820801389}"/>
              </a:ext>
            </a:extLst>
          </p:cNvPr>
          <p:cNvSpPr/>
          <p:nvPr/>
        </p:nvSpPr>
        <p:spPr>
          <a:xfrm>
            <a:off x="9490073" y="3889247"/>
            <a:ext cx="2298700" cy="1306984"/>
          </a:xfrm>
          <a:prstGeom prst="flowChartMagneticDisk">
            <a:avLst/>
          </a:prstGeom>
          <a:solidFill>
            <a:schemeClr val="accent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Verdana"/>
                <a:ea typeface="+mn-ea"/>
                <a:cs typeface="+mn-cs"/>
              </a:rPr>
              <a:t>4</a:t>
            </a:r>
          </a:p>
        </p:txBody>
      </p:sp>
      <p:sp>
        <p:nvSpPr>
          <p:cNvPr id="9" name="Diagrama de flujo: disco magnético 8">
            <a:extLst>
              <a:ext uri="{FF2B5EF4-FFF2-40B4-BE49-F238E27FC236}">
                <a16:creationId xmlns:a16="http://schemas.microsoft.com/office/drawing/2014/main" id="{D7638434-4A69-999F-C848-E4710B961CEC}"/>
              </a:ext>
            </a:extLst>
          </p:cNvPr>
          <p:cNvSpPr/>
          <p:nvPr/>
        </p:nvSpPr>
        <p:spPr>
          <a:xfrm>
            <a:off x="9490073" y="2848761"/>
            <a:ext cx="2298700" cy="1306984"/>
          </a:xfrm>
          <a:prstGeom prst="flowChartMagneticDisk">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Verdana"/>
                <a:ea typeface="+mn-ea"/>
                <a:cs typeface="+mn-cs"/>
              </a:rPr>
              <a:t>3</a:t>
            </a:r>
          </a:p>
        </p:txBody>
      </p:sp>
      <p:sp>
        <p:nvSpPr>
          <p:cNvPr id="10" name="Diagrama de flujo: disco magnético 9">
            <a:extLst>
              <a:ext uri="{FF2B5EF4-FFF2-40B4-BE49-F238E27FC236}">
                <a16:creationId xmlns:a16="http://schemas.microsoft.com/office/drawing/2014/main" id="{108F2A53-F8E6-8B16-E6B9-67D813356E45}"/>
              </a:ext>
            </a:extLst>
          </p:cNvPr>
          <p:cNvSpPr/>
          <p:nvPr/>
        </p:nvSpPr>
        <p:spPr>
          <a:xfrm>
            <a:off x="9490073" y="1808276"/>
            <a:ext cx="2298700" cy="1306984"/>
          </a:xfrm>
          <a:prstGeom prst="flowChartMagneticDisk">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Verdana"/>
                <a:ea typeface="+mn-ea"/>
                <a:cs typeface="+mn-cs"/>
              </a:rPr>
              <a:t>2</a:t>
            </a:r>
          </a:p>
        </p:txBody>
      </p:sp>
      <p:sp>
        <p:nvSpPr>
          <p:cNvPr id="11" name="Diagrama de flujo: disco magnético 10">
            <a:extLst>
              <a:ext uri="{FF2B5EF4-FFF2-40B4-BE49-F238E27FC236}">
                <a16:creationId xmlns:a16="http://schemas.microsoft.com/office/drawing/2014/main" id="{A016E1B1-1734-FE99-3086-5798C8B85DDB}"/>
              </a:ext>
            </a:extLst>
          </p:cNvPr>
          <p:cNvSpPr/>
          <p:nvPr/>
        </p:nvSpPr>
        <p:spPr>
          <a:xfrm>
            <a:off x="9490073" y="767791"/>
            <a:ext cx="2298700" cy="1306984"/>
          </a:xfrm>
          <a:prstGeom prst="flowChartMagneticDisk">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21600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Verdana"/>
                <a:ea typeface="+mn-ea"/>
                <a:cs typeface="+mn-cs"/>
              </a:rPr>
              <a:t>1</a:t>
            </a:r>
          </a:p>
        </p:txBody>
      </p:sp>
      <p:sp>
        <p:nvSpPr>
          <p:cNvPr id="12" name="Flecha: pentágono 11">
            <a:extLst>
              <a:ext uri="{FF2B5EF4-FFF2-40B4-BE49-F238E27FC236}">
                <a16:creationId xmlns:a16="http://schemas.microsoft.com/office/drawing/2014/main" id="{4F3AD6B1-DF7C-D9AD-F2FF-670E5585E057}"/>
              </a:ext>
            </a:extLst>
          </p:cNvPr>
          <p:cNvSpPr/>
          <p:nvPr/>
        </p:nvSpPr>
        <p:spPr>
          <a:xfrm>
            <a:off x="253998" y="942696"/>
            <a:ext cx="9151471" cy="957175"/>
          </a:xfrm>
          <a:prstGeom prst="homePlate">
            <a:avLst>
              <a:gd name="adj" fmla="val 19186"/>
            </a:avLst>
          </a:prstGeom>
          <a:gradFill flip="none" rotWithShape="1">
            <a:gsLst>
              <a:gs pos="0">
                <a:schemeClr val="bg1"/>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Verdana"/>
                <a:ea typeface="+mn-ea"/>
                <a:cs typeface="+mn-cs"/>
              </a:rPr>
              <a:t>Objective</a:t>
            </a:r>
            <a:r>
              <a:rPr kumimoji="0" lang="en-US" sz="1400" b="0" i="0" u="none" strike="noStrike" kern="1200" cap="none" spc="0" normalizeH="0" baseline="0" noProof="0" dirty="0">
                <a:ln>
                  <a:noFill/>
                </a:ln>
                <a:solidFill>
                  <a:schemeClr val="accent1"/>
                </a:solidFill>
                <a:effectLst/>
                <a:uLnTx/>
                <a:uFillTx/>
                <a:latin typeface="Verdana"/>
                <a:ea typeface="+mn-ea"/>
                <a:cs typeface="+mn-cs"/>
              </a:rPr>
              <a:t>:</a:t>
            </a:r>
            <a:r>
              <a:rPr kumimoji="0" lang="en-US" sz="1400" b="0" i="0" u="none" strike="noStrike" kern="1200" cap="none" spc="0" normalizeH="0" baseline="0" noProof="0" dirty="0">
                <a:ln>
                  <a:noFill/>
                </a:ln>
                <a:solidFill>
                  <a:srgbClr val="000000"/>
                </a:solidFill>
                <a:effectLst/>
                <a:uLnTx/>
                <a:uFillTx/>
                <a:latin typeface="Verdana"/>
                <a:ea typeface="+mn-ea"/>
                <a:cs typeface="+mn-cs"/>
              </a:rPr>
              <a:t> Forecast stock prices 21 trading days ahead (between June 26 and July 26) with minimal error margins to inform portfolio allocation</a:t>
            </a:r>
          </a:p>
        </p:txBody>
      </p:sp>
      <p:sp>
        <p:nvSpPr>
          <p:cNvPr id="14" name="Flecha: pentágono 13">
            <a:extLst>
              <a:ext uri="{FF2B5EF4-FFF2-40B4-BE49-F238E27FC236}">
                <a16:creationId xmlns:a16="http://schemas.microsoft.com/office/drawing/2014/main" id="{D0329306-C05B-B7D3-B7B0-83BD2C1C5D67}"/>
              </a:ext>
            </a:extLst>
          </p:cNvPr>
          <p:cNvSpPr/>
          <p:nvPr/>
        </p:nvSpPr>
        <p:spPr>
          <a:xfrm>
            <a:off x="253993" y="1983181"/>
            <a:ext cx="9151471" cy="957175"/>
          </a:xfrm>
          <a:prstGeom prst="homePlate">
            <a:avLst>
              <a:gd name="adj" fmla="val 19186"/>
            </a:avLst>
          </a:prstGeom>
          <a:gradFill flip="none" rotWithShape="1">
            <a:gsLst>
              <a:gs pos="0">
                <a:schemeClr val="bg1"/>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Verdana"/>
                <a:ea typeface="+mn-ea"/>
                <a:cs typeface="+mn-cs"/>
              </a:rPr>
              <a:t>Create Forward Lag Variable:</a:t>
            </a:r>
            <a:r>
              <a:rPr kumimoji="0" lang="en-US" sz="1400" b="0" i="0" u="none" strike="noStrike" kern="1200" cap="none" spc="0" normalizeH="0" baseline="0" noProof="0" dirty="0">
                <a:ln>
                  <a:noFill/>
                </a:ln>
                <a:solidFill>
                  <a:schemeClr val="accent1"/>
                </a:solidFill>
                <a:effectLst/>
                <a:uLnTx/>
                <a:uFillTx/>
                <a:latin typeface="Verdana"/>
                <a:ea typeface="+mn-ea"/>
                <a:cs typeface="+mn-cs"/>
              </a:rPr>
              <a:t> </a:t>
            </a:r>
            <a:r>
              <a:rPr kumimoji="0" lang="en-US" sz="1400" b="0" i="0" u="none" strike="noStrike" kern="1200" cap="none" spc="0" normalizeH="0" baseline="0" noProof="0" dirty="0">
                <a:ln>
                  <a:noFill/>
                </a:ln>
                <a:solidFill>
                  <a:srgbClr val="000000"/>
                </a:solidFill>
                <a:effectLst/>
                <a:uLnTx/>
                <a:uFillTx/>
                <a:latin typeface="Verdana"/>
                <a:ea typeface="+mn-ea"/>
                <a:cs typeface="+mn-cs"/>
              </a:rPr>
              <a:t>Captures the gap between the end of historical data and the sale 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Calls the Adjusted Closing Price of the sto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Verdana"/>
              </a:rPr>
              <a:t>Allows for direct comparison and prediction of a forward price based on a given day’s data</a:t>
            </a:r>
            <a:endParaRPr kumimoji="0" lang="en-US"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5" name="Flecha: pentágono 14">
            <a:extLst>
              <a:ext uri="{FF2B5EF4-FFF2-40B4-BE49-F238E27FC236}">
                <a16:creationId xmlns:a16="http://schemas.microsoft.com/office/drawing/2014/main" id="{B4D79D13-B265-03BA-5C93-26362E62705A}"/>
              </a:ext>
            </a:extLst>
          </p:cNvPr>
          <p:cNvSpPr/>
          <p:nvPr/>
        </p:nvSpPr>
        <p:spPr>
          <a:xfrm>
            <a:off x="253994" y="3023666"/>
            <a:ext cx="9151471" cy="957175"/>
          </a:xfrm>
          <a:prstGeom prst="homePlate">
            <a:avLst>
              <a:gd name="adj" fmla="val 19186"/>
            </a:avLst>
          </a:prstGeom>
          <a:gradFill flip="none" rotWithShape="1">
            <a:gsLst>
              <a:gs pos="0">
                <a:schemeClr val="bg1"/>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Verdana"/>
                <a:ea typeface="+mn-ea"/>
                <a:cs typeface="+mn-cs"/>
              </a:rPr>
              <a:t>Variable Selection Process:</a:t>
            </a:r>
            <a:r>
              <a:rPr kumimoji="0" lang="en-US" sz="1400" i="0" u="none" strike="noStrike" kern="1200" cap="none" spc="0" normalizeH="0" baseline="0" noProof="0" dirty="0">
                <a:ln>
                  <a:noFill/>
                </a:ln>
                <a:solidFill>
                  <a:schemeClr val="accent1"/>
                </a:solidFill>
                <a:effectLst/>
                <a:uLnTx/>
                <a:uFillTx/>
                <a:latin typeface="Verdana"/>
                <a:ea typeface="+mn-ea"/>
                <a:cs typeface="+mn-cs"/>
              </a:rPr>
              <a:t> </a:t>
            </a:r>
            <a:r>
              <a:rPr kumimoji="0" lang="en-US" sz="1400" i="0" u="none" strike="noStrike" kern="1200" cap="none" spc="0" normalizeH="0" baseline="0" noProof="0" dirty="0">
                <a:ln>
                  <a:noFill/>
                </a:ln>
                <a:solidFill>
                  <a:srgbClr val="000000"/>
                </a:solidFill>
                <a:effectLst/>
                <a:uLnTx/>
                <a:uFillTx/>
                <a:latin typeface="Verdana"/>
                <a:ea typeface="+mn-ea"/>
                <a:cs typeface="+mn-cs"/>
              </a:rPr>
              <a:t>Focused on the most influential predictors to enhance accura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Verdana"/>
                <a:ea typeface="+mn-ea"/>
                <a:cs typeface="+mn-cs"/>
              </a:rPr>
              <a:t>Defined function to select best performing variables through a random forest regress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Verdana"/>
                <a:ea typeface="+mn-ea"/>
                <a:cs typeface="+mn-cs"/>
              </a:rPr>
              <a:t>Ranked variables based on importance in explaining change to target variable</a:t>
            </a:r>
          </a:p>
        </p:txBody>
      </p:sp>
      <p:sp>
        <p:nvSpPr>
          <p:cNvPr id="16" name="Flecha: pentágono 15">
            <a:extLst>
              <a:ext uri="{FF2B5EF4-FFF2-40B4-BE49-F238E27FC236}">
                <a16:creationId xmlns:a16="http://schemas.microsoft.com/office/drawing/2014/main" id="{BF4A6EA1-0FAE-D8FD-ED6E-93DB65BC9CF7}"/>
              </a:ext>
            </a:extLst>
          </p:cNvPr>
          <p:cNvSpPr/>
          <p:nvPr/>
        </p:nvSpPr>
        <p:spPr>
          <a:xfrm>
            <a:off x="253995" y="4064151"/>
            <a:ext cx="9151471" cy="957175"/>
          </a:xfrm>
          <a:prstGeom prst="homePlate">
            <a:avLst>
              <a:gd name="adj" fmla="val 19186"/>
            </a:avLst>
          </a:prstGeom>
          <a:gradFill flip="none" rotWithShape="1">
            <a:gsLst>
              <a:gs pos="0">
                <a:schemeClr val="bg1"/>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Verdana"/>
                <a:ea typeface="+mn-ea"/>
                <a:cs typeface="+mn-cs"/>
              </a:rPr>
              <a:t>Best-Performing Model:</a:t>
            </a:r>
            <a:r>
              <a:rPr kumimoji="0" lang="en-US" sz="1400" b="0" i="0" u="none" strike="noStrike" kern="1200" cap="none" spc="0" normalizeH="0" baseline="0" noProof="0">
                <a:ln>
                  <a:noFill/>
                </a:ln>
                <a:solidFill>
                  <a:schemeClr val="accent1"/>
                </a:solidFill>
                <a:effectLst/>
                <a:uLnTx/>
                <a:uFillTx/>
                <a:latin typeface="Verdana"/>
                <a:ea typeface="+mn-ea"/>
                <a:cs typeface="+mn-cs"/>
              </a:rPr>
              <a:t> </a:t>
            </a:r>
            <a:r>
              <a:rPr kumimoji="0" lang="en-US" sz="1400" b="0" i="0" u="none" strike="noStrike" kern="1200" cap="none" spc="0" normalizeH="0" baseline="0" noProof="0">
                <a:ln>
                  <a:noFill/>
                </a:ln>
                <a:solidFill>
                  <a:srgbClr val="000000"/>
                </a:solidFill>
                <a:effectLst/>
                <a:uLnTx/>
                <a:uFillTx/>
                <a:latin typeface="Verdana"/>
                <a:ea typeface="+mn-ea"/>
                <a:cs typeface="+mn-cs"/>
              </a:rPr>
              <a:t>Iterated through various models to identify the top perform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Verdana"/>
                <a:ea typeface="+mn-ea"/>
                <a:cs typeface="+mn-cs"/>
              </a:rPr>
              <a:t>Tested all models covered in class with the selected predictive vari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000000"/>
                </a:solidFill>
                <a:latin typeface="Verdana"/>
              </a:rPr>
              <a:t>Selected the model with the lowest MSE score to be used in price predictions</a:t>
            </a: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sp>
        <p:nvSpPr>
          <p:cNvPr id="17" name="Flecha: pentágono 16">
            <a:extLst>
              <a:ext uri="{FF2B5EF4-FFF2-40B4-BE49-F238E27FC236}">
                <a16:creationId xmlns:a16="http://schemas.microsoft.com/office/drawing/2014/main" id="{238F00B1-A825-ACCA-FD5B-DE08A37E5836}"/>
              </a:ext>
            </a:extLst>
          </p:cNvPr>
          <p:cNvSpPr/>
          <p:nvPr/>
        </p:nvSpPr>
        <p:spPr>
          <a:xfrm>
            <a:off x="253996" y="5104637"/>
            <a:ext cx="9151471" cy="957175"/>
          </a:xfrm>
          <a:prstGeom prst="homePlate">
            <a:avLst>
              <a:gd name="adj" fmla="val 19186"/>
            </a:avLst>
          </a:prstGeom>
          <a:gradFill flip="none" rotWithShape="1">
            <a:gsLst>
              <a:gs pos="0">
                <a:schemeClr val="bg1"/>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Verdana"/>
                <a:ea typeface="+mn-ea"/>
                <a:cs typeface="+mn-cs"/>
              </a:rPr>
              <a:t>Price Prediction: </a:t>
            </a:r>
            <a:r>
              <a:rPr kumimoji="0" lang="en-US" sz="1400" b="0" i="0" u="none" strike="noStrike" kern="1200" cap="none" spc="0" normalizeH="0" baseline="0" noProof="0">
                <a:ln>
                  <a:noFill/>
                </a:ln>
                <a:solidFill>
                  <a:srgbClr val="000000"/>
                </a:solidFill>
                <a:effectLst/>
                <a:uLnTx/>
                <a:uFillTx/>
                <a:latin typeface="Verdana"/>
                <a:ea typeface="+mn-ea"/>
                <a:cs typeface="+mn-cs"/>
              </a:rPr>
              <a:t>Used the last 5 days of available data in the dataset to provide a detailed forecast for the week of July 22, 2024, to July 26, 2024, to offer insights into expected market trends for the week</a:t>
            </a:r>
          </a:p>
        </p:txBody>
      </p:sp>
    </p:spTree>
    <p:extLst>
      <p:ext uri="{BB962C8B-B14F-4D97-AF65-F5344CB8AC3E}">
        <p14:creationId xmlns:p14="http://schemas.microsoft.com/office/powerpoint/2010/main" val="4782996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9CFBCD9-33B2-0CCD-CFED-0247CECD13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17" imgH="318" progId="TCLayout.ActiveDocument.1">
                  <p:embed/>
                </p:oleObj>
              </mc:Choice>
              <mc:Fallback>
                <p:oleObj name="Diapositiva de think-cell" r:id="rId4" imgW="317" imgH="318" progId="TCLayout.ActiveDocument.1">
                  <p:embed/>
                  <p:pic>
                    <p:nvPicPr>
                      <p:cNvPr id="6" name="Objeto 5" hidden="1">
                        <a:extLst>
                          <a:ext uri="{FF2B5EF4-FFF2-40B4-BE49-F238E27FC236}">
                            <a16:creationId xmlns:a16="http://schemas.microsoft.com/office/drawing/2014/main" id="{39CFBCD9-33B2-0CCD-CFED-0247CECD13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Tabla 6">
            <a:extLst>
              <a:ext uri="{FF2B5EF4-FFF2-40B4-BE49-F238E27FC236}">
                <a16:creationId xmlns:a16="http://schemas.microsoft.com/office/drawing/2014/main" id="{88A6E1A8-0F88-A24F-67A1-49CB7F0C297A}"/>
              </a:ext>
            </a:extLst>
          </p:cNvPr>
          <p:cNvGraphicFramePr>
            <a:graphicFrameLocks noGrp="1"/>
          </p:cNvGraphicFramePr>
          <p:nvPr>
            <p:extLst>
              <p:ext uri="{D42A27DB-BD31-4B8C-83A1-F6EECF244321}">
                <p14:modId xmlns:p14="http://schemas.microsoft.com/office/powerpoint/2010/main" val="1701257024"/>
              </p:ext>
            </p:extLst>
          </p:nvPr>
        </p:nvGraphicFramePr>
        <p:xfrm>
          <a:off x="384174" y="1792965"/>
          <a:ext cx="11420475" cy="4558039"/>
        </p:xfrm>
        <a:graphic>
          <a:graphicData uri="http://schemas.openxmlformats.org/drawingml/2006/table">
            <a:tbl>
              <a:tblPr firstRow="1" bandRow="1">
                <a:tableStyleId>{5C22544A-7EE6-4342-B048-85BDC9FD1C3A}</a:tableStyleId>
              </a:tblPr>
              <a:tblGrid>
                <a:gridCol w="2032893">
                  <a:extLst>
                    <a:ext uri="{9D8B030D-6E8A-4147-A177-3AD203B41FA5}">
                      <a16:colId xmlns:a16="http://schemas.microsoft.com/office/drawing/2014/main" val="1369404724"/>
                    </a:ext>
                  </a:extLst>
                </a:gridCol>
                <a:gridCol w="1564597">
                  <a:extLst>
                    <a:ext uri="{9D8B030D-6E8A-4147-A177-3AD203B41FA5}">
                      <a16:colId xmlns:a16="http://schemas.microsoft.com/office/drawing/2014/main" val="808400863"/>
                    </a:ext>
                  </a:extLst>
                </a:gridCol>
                <a:gridCol w="1564597">
                  <a:extLst>
                    <a:ext uri="{9D8B030D-6E8A-4147-A177-3AD203B41FA5}">
                      <a16:colId xmlns:a16="http://schemas.microsoft.com/office/drawing/2014/main" val="2784267480"/>
                    </a:ext>
                  </a:extLst>
                </a:gridCol>
                <a:gridCol w="1564597">
                  <a:extLst>
                    <a:ext uri="{9D8B030D-6E8A-4147-A177-3AD203B41FA5}">
                      <a16:colId xmlns:a16="http://schemas.microsoft.com/office/drawing/2014/main" val="2388248176"/>
                    </a:ext>
                  </a:extLst>
                </a:gridCol>
                <a:gridCol w="1564597">
                  <a:extLst>
                    <a:ext uri="{9D8B030D-6E8A-4147-A177-3AD203B41FA5}">
                      <a16:colId xmlns:a16="http://schemas.microsoft.com/office/drawing/2014/main" val="650080674"/>
                    </a:ext>
                  </a:extLst>
                </a:gridCol>
                <a:gridCol w="1564597">
                  <a:extLst>
                    <a:ext uri="{9D8B030D-6E8A-4147-A177-3AD203B41FA5}">
                      <a16:colId xmlns:a16="http://schemas.microsoft.com/office/drawing/2014/main" val="325066844"/>
                    </a:ext>
                  </a:extLst>
                </a:gridCol>
                <a:gridCol w="1564597">
                  <a:extLst>
                    <a:ext uri="{9D8B030D-6E8A-4147-A177-3AD203B41FA5}">
                      <a16:colId xmlns:a16="http://schemas.microsoft.com/office/drawing/2014/main" val="3608528645"/>
                    </a:ext>
                  </a:extLst>
                </a:gridCol>
              </a:tblGrid>
              <a:tr h="1090069">
                <a:tc>
                  <a:txBody>
                    <a:bodyPr/>
                    <a:lstStyle/>
                    <a:p>
                      <a:pPr algn="l"/>
                      <a:endParaRPr lang="en-GB" sz="1600">
                        <a:solidFill>
                          <a:schemeClr val="accent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accent1"/>
                        </a:solidFill>
                        <a:effectLst/>
                        <a:uLnTx/>
                        <a:uFillTx/>
                        <a:latin typeface="Verdana"/>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accent1"/>
                        </a:solidFill>
                        <a:effectLst/>
                        <a:uLnTx/>
                        <a:uFillTx/>
                        <a:latin typeface="Verdana"/>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accent1"/>
                        </a:solidFill>
                        <a:effectLst/>
                        <a:uLnTx/>
                        <a:uFillTx/>
                        <a:latin typeface="Verdana"/>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accent1"/>
                        </a:solidFill>
                        <a:effectLst/>
                        <a:uLnTx/>
                        <a:uFillTx/>
                        <a:latin typeface="Verdana"/>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accent1"/>
                        </a:solidFill>
                        <a:effectLst/>
                        <a:uLnTx/>
                        <a:uFillTx/>
                        <a:latin typeface="Verdana"/>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accent1"/>
                        </a:solidFill>
                        <a:effectLst/>
                        <a:uLnTx/>
                        <a:uFillTx/>
                        <a:latin typeface="Verdana"/>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02619748"/>
                  </a:ext>
                </a:extLst>
              </a:tr>
              <a:tr h="869522">
                <a:tc>
                  <a:txBody>
                    <a:bodyPr/>
                    <a:lstStyle/>
                    <a:p>
                      <a:pPr algn="l"/>
                      <a:r>
                        <a:rPr lang="en-GB" sz="1600" dirty="0">
                          <a:solidFill>
                            <a:schemeClr val="tx1"/>
                          </a:solidFill>
                          <a:latin typeface="Verdana" panose="020B0604030504040204" pitchFamily="34" charset="0"/>
                          <a:ea typeface="Verdana" panose="020B0604030504040204" pitchFamily="34" charset="0"/>
                        </a:rPr>
                        <a:t>Key Variabl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dirty="0">
                          <a:solidFill>
                            <a:schemeClr val="tx1"/>
                          </a:solidFill>
                          <a:latin typeface="Verdana" panose="020B0604030504040204" pitchFamily="34" charset="0"/>
                          <a:ea typeface="Verdana" panose="020B0604030504040204" pitchFamily="34" charset="0"/>
                        </a:rPr>
                        <a:t>‘OBV’, ‘EMA_12’, ‘</a:t>
                      </a:r>
                      <a:r>
                        <a:rPr lang="en-GB" sz="1400" dirty="0" err="1">
                          <a:solidFill>
                            <a:schemeClr val="tx1"/>
                          </a:solidFill>
                          <a:latin typeface="Verdana" panose="020B0604030504040204" pitchFamily="34" charset="0"/>
                          <a:ea typeface="Verdana" panose="020B0604030504040204" pitchFamily="34" charset="0"/>
                        </a:rPr>
                        <a:t>Bollinger_Low</a:t>
                      </a:r>
                      <a:r>
                        <a:rPr lang="en-GB" sz="1400" dirty="0">
                          <a:solidFill>
                            <a:schemeClr val="tx1"/>
                          </a:solidFill>
                          <a:latin typeface="Verdana" panose="020B0604030504040204" pitchFamily="34" charset="0"/>
                          <a:ea typeface="Verdana" panose="020B0604030504040204" pitchFamily="34" charset="0"/>
                        </a:rPr>
                        <a:t>’, ‘</a:t>
                      </a:r>
                      <a:r>
                        <a:rPr lang="en-GB" sz="1400" dirty="0" err="1">
                          <a:solidFill>
                            <a:schemeClr val="tx1"/>
                          </a:solidFill>
                          <a:latin typeface="Verdana" panose="020B0604030504040204" pitchFamily="34" charset="0"/>
                          <a:ea typeface="Verdana" panose="020B0604030504040204" pitchFamily="34" charset="0"/>
                        </a:rPr>
                        <a:t>Bollinger_High</a:t>
                      </a:r>
                      <a:r>
                        <a:rPr lang="en-GB" sz="1400" dirty="0">
                          <a:solidFill>
                            <a:schemeClr val="tx1"/>
                          </a:solidFill>
                          <a:latin typeface="Verdana" panose="020B0604030504040204" pitchFamily="34" charset="0"/>
                          <a:ea typeface="Verdana" panose="020B0604030504040204" pitchFamily="34" charset="0"/>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dirty="0">
                          <a:solidFill>
                            <a:schemeClr val="tx1"/>
                          </a:solidFill>
                          <a:latin typeface="Verdana" panose="020B0604030504040204" pitchFamily="34" charset="0"/>
                          <a:ea typeface="Verdana" panose="020B0604030504040204" pitchFamily="34" charset="0"/>
                        </a:rPr>
                        <a:t>‘EMA_12’, ‘MACD’, ‘ADX’, ‘MACD*EMA_12’</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chemeClr val="tx1"/>
                          </a:solidFill>
                          <a:latin typeface="Verdana" panose="020B0604030504040204" pitchFamily="34" charset="0"/>
                          <a:ea typeface="Verdana" panose="020B0604030504040204" pitchFamily="34" charset="0"/>
                        </a:rPr>
                        <a:t>‘</a:t>
                      </a:r>
                      <a:r>
                        <a:rPr lang="en-US" sz="1400">
                          <a:latin typeface="Verdana" panose="020B0604030504040204" pitchFamily="34" charset="0"/>
                          <a:ea typeface="Verdana" panose="020B0604030504040204" pitchFamily="34" charset="0"/>
                        </a:rPr>
                        <a:t>Bollinger_High’, ‘OBV’, ‘EMA_12’</a:t>
                      </a:r>
                      <a:endParaRPr lang="en-GB" sz="1400" b="0">
                        <a:solidFill>
                          <a:schemeClr val="tx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chemeClr val="tx1"/>
                          </a:solidFill>
                          <a:latin typeface="Verdana" panose="020B0604030504040204" pitchFamily="34" charset="0"/>
                          <a:ea typeface="Verdana" panose="020B0604030504040204" pitchFamily="34" charset="0"/>
                        </a:rPr>
                        <a:t>‘EMA_12’, ‘Bollinger_Low’, ‘OBV’</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chemeClr val="tx1"/>
                          </a:solidFill>
                          <a:latin typeface="Verdana" panose="020B0604030504040204" pitchFamily="34" charset="0"/>
                          <a:ea typeface="Verdana" panose="020B0604030504040204" pitchFamily="34" charset="0"/>
                        </a:rPr>
                        <a:t>‘VP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Verdana" panose="020B0604030504040204" pitchFamily="34" charset="0"/>
                          <a:ea typeface="Verdana" panose="020B0604030504040204" pitchFamily="34" charset="0"/>
                        </a:rPr>
                        <a:t>‘EMA_12’, ‘MACD*EMA_12’, ‘MACD’</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63841821"/>
                  </a:ext>
                </a:extLst>
              </a:tr>
              <a:tr h="649612">
                <a:tc>
                  <a:txBody>
                    <a:bodyPr/>
                    <a:lstStyle/>
                    <a:p>
                      <a:pPr algn="l"/>
                      <a:r>
                        <a:rPr lang="en-GB" sz="1600">
                          <a:solidFill>
                            <a:schemeClr val="tx1"/>
                          </a:solidFill>
                          <a:latin typeface="Verdana" panose="020B0604030504040204" pitchFamily="34" charset="0"/>
                          <a:ea typeface="Verdana" panose="020B0604030504040204" pitchFamily="34" charset="0"/>
                        </a:rPr>
                        <a:t>Model Used</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Verdana" panose="020B0604030504040204" pitchFamily="34" charset="0"/>
                          <a:ea typeface="Verdana" panose="020B0604030504040204" pitchFamily="34" charset="0"/>
                        </a:rPr>
                        <a:t>Linear Regression</a:t>
                      </a:r>
                      <a:endParaRPr lang="en-GB" sz="1400" dirty="0">
                        <a:solidFill>
                          <a:schemeClr val="tx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Verdana" panose="020B0604030504040204" pitchFamily="34" charset="0"/>
                          <a:ea typeface="Verdana" panose="020B0604030504040204" pitchFamily="34" charset="0"/>
                        </a:rPr>
                        <a:t>Linear Regression</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Verdana" panose="020B0604030504040204" pitchFamily="34" charset="0"/>
                          <a:ea typeface="Verdana" panose="020B0604030504040204" pitchFamily="34" charset="0"/>
                        </a:rPr>
                        <a:t>Linear Regression</a:t>
                      </a:r>
                      <a:endParaRPr lang="en-GB" sz="1400" b="0" dirty="0">
                        <a:solidFill>
                          <a:schemeClr val="tx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a:solidFill>
                            <a:schemeClr val="tx1"/>
                          </a:solidFill>
                          <a:latin typeface="Verdana" panose="020B0604030504040204" pitchFamily="34" charset="0"/>
                          <a:ea typeface="Verdana" panose="020B0604030504040204" pitchFamily="34" charset="0"/>
                        </a:rPr>
                        <a:t>Linear Regression</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a:solidFill>
                            <a:schemeClr val="tx1"/>
                          </a:solidFill>
                          <a:latin typeface="Verdana" panose="020B0604030504040204" pitchFamily="34" charset="0"/>
                          <a:ea typeface="Verdana" panose="020B0604030504040204" pitchFamily="34" charset="0"/>
                        </a:rPr>
                        <a:t>Linear Regression</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Verdana" panose="020B0604030504040204" pitchFamily="34" charset="0"/>
                          <a:ea typeface="Verdana" panose="020B0604030504040204" pitchFamily="34" charset="0"/>
                        </a:rPr>
                        <a:t>Linear Regression</a:t>
                      </a:r>
                      <a:endParaRPr lang="en-GB" sz="1400" b="0">
                        <a:solidFill>
                          <a:schemeClr val="tx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2480552"/>
                  </a:ext>
                </a:extLst>
              </a:tr>
              <a:tr h="649612">
                <a:tc>
                  <a:txBody>
                    <a:bodyPr/>
                    <a:lstStyle/>
                    <a:p>
                      <a:pPr algn="l"/>
                      <a:r>
                        <a:rPr lang="en-GB" sz="1600" b="0">
                          <a:solidFill>
                            <a:schemeClr val="tx1"/>
                          </a:solidFill>
                          <a:latin typeface="Verdana" panose="020B0604030504040204" pitchFamily="34" charset="0"/>
                          <a:ea typeface="Verdana" panose="020B0604030504040204" pitchFamily="34" charset="0"/>
                        </a:rPr>
                        <a:t>Predicted Pric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Verdana" panose="020B0604030504040204" pitchFamily="34" charset="0"/>
                          <a:ea typeface="Verdana" panose="020B0604030504040204" pitchFamily="34" charset="0"/>
                        </a:rPr>
                        <a:t>$65.90</a:t>
                      </a:r>
                      <a:endParaRPr lang="en-GB" sz="1400" b="0">
                        <a:solidFill>
                          <a:schemeClr val="tx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chemeClr val="tx1"/>
                          </a:solidFill>
                          <a:latin typeface="Verdana" panose="020B0604030504040204" pitchFamily="34" charset="0"/>
                          <a:ea typeface="Verdana" panose="020B0604030504040204" pitchFamily="34" charset="0"/>
                        </a:rPr>
                        <a:t>$33.02</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Verdana" panose="020B0604030504040204" pitchFamily="34" charset="0"/>
                          <a:ea typeface="Verdana" panose="020B0604030504040204" pitchFamily="34" charset="0"/>
                        </a:rPr>
                        <a:t>$68.92</a:t>
                      </a:r>
                      <a:endParaRPr lang="en-GB" sz="1400" b="0">
                        <a:solidFill>
                          <a:schemeClr val="tx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dirty="0">
                          <a:solidFill>
                            <a:schemeClr val="tx1"/>
                          </a:solidFill>
                          <a:latin typeface="Verdana" panose="020B0604030504040204" pitchFamily="34" charset="0"/>
                          <a:ea typeface="Verdana" panose="020B0604030504040204" pitchFamily="34" charset="0"/>
                        </a:rPr>
                        <a:t>$105.77</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dirty="0">
                          <a:solidFill>
                            <a:schemeClr val="tx1"/>
                          </a:solidFill>
                          <a:latin typeface="Verdana" panose="020B0604030504040204" pitchFamily="34" charset="0"/>
                          <a:ea typeface="Verdana" panose="020B0604030504040204" pitchFamily="34" charset="0"/>
                        </a:rPr>
                        <a:t>$86.1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Verdana" panose="020B0604030504040204" pitchFamily="34" charset="0"/>
                          <a:ea typeface="Verdana" panose="020B0604030504040204" pitchFamily="34" charset="0"/>
                        </a:rPr>
                        <a:t>$224.09</a:t>
                      </a:r>
                      <a:endParaRPr lang="en-GB" sz="1400" b="0">
                        <a:solidFill>
                          <a:schemeClr val="tx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4959275"/>
                  </a:ext>
                </a:extLst>
              </a:tr>
              <a:tr h="649612">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Expected Return</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a:solidFill>
                            <a:schemeClr val="accent1"/>
                          </a:solidFill>
                          <a:latin typeface="Verdana" panose="020B0604030504040204" pitchFamily="34" charset="0"/>
                          <a:ea typeface="Verdana" panose="020B0604030504040204" pitchFamily="34" charset="0"/>
                        </a:rPr>
                        <a:t>+23.09%</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a:solidFill>
                            <a:srgbClr val="FF0000"/>
                          </a:solidFill>
                          <a:latin typeface="Verdana" panose="020B0604030504040204" pitchFamily="34" charset="0"/>
                          <a:ea typeface="Verdana" panose="020B0604030504040204" pitchFamily="34" charset="0"/>
                        </a:rPr>
                        <a:t>-0.3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a:solidFill>
                            <a:schemeClr val="accent1"/>
                          </a:solidFill>
                          <a:latin typeface="Verdana" panose="020B0604030504040204" pitchFamily="34" charset="0"/>
                          <a:ea typeface="Verdana" panose="020B0604030504040204" pitchFamily="34" charset="0"/>
                        </a:rPr>
                        <a:t>+2.39%</a:t>
                      </a:r>
                      <a:endParaRPr lang="en-GB" sz="1400" b="1">
                        <a:solidFill>
                          <a:schemeClr val="accent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a:solidFill>
                            <a:schemeClr val="accent1"/>
                          </a:solidFill>
                          <a:latin typeface="Verdana" panose="020B0604030504040204" pitchFamily="34" charset="0"/>
                          <a:ea typeface="Verdana" panose="020B0604030504040204" pitchFamily="34" charset="0"/>
                        </a:rPr>
                        <a:t>+6.64%</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dirty="0">
                          <a:solidFill>
                            <a:srgbClr val="FF0000"/>
                          </a:solidFill>
                          <a:latin typeface="Verdana" panose="020B0604030504040204" pitchFamily="34" charset="0"/>
                          <a:ea typeface="Verdana" panose="020B0604030504040204" pitchFamily="34" charset="0"/>
                        </a:rPr>
                        <a:t>-36.64%</a:t>
                      </a:r>
                      <a:endParaRPr lang="en-GB" sz="1400" b="1" dirty="0">
                        <a:solidFill>
                          <a:srgbClr val="FF0000"/>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rgbClr val="FF0000"/>
                          </a:solidFill>
                          <a:latin typeface="Verdana" panose="020B0604030504040204" pitchFamily="34" charset="0"/>
                          <a:ea typeface="Verdana" panose="020B0604030504040204" pitchFamily="34" charset="0"/>
                        </a:rPr>
                        <a:t>-9.51%</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20162441"/>
                  </a:ext>
                </a:extLst>
              </a:tr>
              <a:tr h="649612">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Model MS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solidFill>
                          <a:latin typeface="Verdana" panose="020B0604030504040204" pitchFamily="34" charset="0"/>
                          <a:ea typeface="Verdana" panose="020B0604030504040204" pitchFamily="34" charset="0"/>
                        </a:rPr>
                        <a:t>15.05</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solidFill>
                          <a:latin typeface="Verdana" panose="020B0604030504040204" pitchFamily="34" charset="0"/>
                          <a:ea typeface="Verdana" panose="020B0604030504040204" pitchFamily="34" charset="0"/>
                        </a:rPr>
                        <a:t>9.71</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Verdana" panose="020B0604030504040204" pitchFamily="34" charset="0"/>
                          <a:ea typeface="Verdana" panose="020B0604030504040204" pitchFamily="34" charset="0"/>
                        </a:rPr>
                        <a:t>55.03</a:t>
                      </a:r>
                      <a:endParaRPr lang="en-GB" sz="1400" b="0">
                        <a:solidFill>
                          <a:schemeClr val="tx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Verdana" panose="020B0604030504040204" pitchFamily="34" charset="0"/>
                          <a:ea typeface="Verdana" panose="020B0604030504040204" pitchFamily="34" charset="0"/>
                        </a:rPr>
                        <a:t>668.32</a:t>
                      </a:r>
                      <a:endParaRPr lang="en-GB" sz="1400" b="0">
                        <a:solidFill>
                          <a:schemeClr val="tx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Verdana" panose="020B0604030504040204" pitchFamily="34" charset="0"/>
                          <a:ea typeface="Verdana" panose="020B0604030504040204" pitchFamily="34" charset="0"/>
                        </a:rPr>
                        <a:t>603.81</a:t>
                      </a:r>
                      <a:endParaRPr lang="en-GB" sz="1400" b="0">
                        <a:solidFill>
                          <a:schemeClr val="tx1"/>
                        </a:solidFill>
                        <a:latin typeface="Verdana" panose="020B0604030504040204" pitchFamily="34" charset="0"/>
                        <a:ea typeface="Verdana" panose="020B060403050404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a:solidFill>
                            <a:schemeClr val="tx1"/>
                          </a:solidFill>
                          <a:latin typeface="Verdana" panose="020B0604030504040204" pitchFamily="34" charset="0"/>
                          <a:ea typeface="Verdana" panose="020B0604030504040204" pitchFamily="34" charset="0"/>
                        </a:rPr>
                        <a:t>517.44</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4916824"/>
                  </a:ext>
                </a:extLst>
              </a:tr>
            </a:tbl>
          </a:graphicData>
        </a:graphic>
      </p:graphicFrame>
      <p:sp>
        <p:nvSpPr>
          <p:cNvPr id="3" name="Título 2">
            <a:extLst>
              <a:ext uri="{FF2B5EF4-FFF2-40B4-BE49-F238E27FC236}">
                <a16:creationId xmlns:a16="http://schemas.microsoft.com/office/drawing/2014/main" id="{E10F5961-2D54-5F70-4458-A61EE31AAC0B}"/>
              </a:ext>
            </a:extLst>
          </p:cNvPr>
          <p:cNvSpPr>
            <a:spLocks noGrp="1"/>
          </p:cNvSpPr>
          <p:nvPr>
            <p:ph type="title"/>
          </p:nvPr>
        </p:nvSpPr>
        <p:spPr/>
        <p:txBody>
          <a:bodyPr vert="horz"/>
          <a:lstStyle/>
          <a:p>
            <a:r>
              <a:rPr lang="en-US"/>
              <a:t>Forward Predictive Model Performance</a:t>
            </a:r>
          </a:p>
        </p:txBody>
      </p:sp>
      <p:pic>
        <p:nvPicPr>
          <p:cNvPr id="7" name="Picture 2" descr="Chipotle Mexican Grill Logo PNG ...">
            <a:extLst>
              <a:ext uri="{FF2B5EF4-FFF2-40B4-BE49-F238E27FC236}">
                <a16:creationId xmlns:a16="http://schemas.microsoft.com/office/drawing/2014/main" id="{8DD4F593-6362-9BCA-F28F-38C1CAF3DE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87622" y="1816352"/>
            <a:ext cx="993656" cy="993656"/>
          </a:xfrm>
          <a:prstGeom prst="ellipse">
            <a:avLst/>
          </a:prstGeom>
          <a:noFill/>
          <a:extLst>
            <a:ext uri="{909E8E84-426E-40DD-AFC4-6F175D3DCCD1}">
              <a14:hiddenFill xmlns:a14="http://schemas.microsoft.com/office/drawing/2010/main">
                <a:solidFill>
                  <a:srgbClr val="FFFFFF"/>
                </a:solidFill>
              </a14:hiddenFill>
            </a:ext>
          </a:extLst>
        </p:spPr>
      </p:pic>
      <p:pic>
        <p:nvPicPr>
          <p:cNvPr id="8" name="Picture 14">
            <a:extLst>
              <a:ext uri="{FF2B5EF4-FFF2-40B4-BE49-F238E27FC236}">
                <a16:creationId xmlns:a16="http://schemas.microsoft.com/office/drawing/2014/main" id="{AEC7827E-FF2C-96E9-C9EA-314F15CF71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44998" y="2121255"/>
            <a:ext cx="1902360" cy="3838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descr="Uber - Social media &amp; Logos Icons">
            <a:extLst>
              <a:ext uri="{FF2B5EF4-FFF2-40B4-BE49-F238E27FC236}">
                <a16:creationId xmlns:a16="http://schemas.microsoft.com/office/drawing/2014/main" id="{C8FF211E-E6EB-AD6E-A760-1288D8A3E72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68550" y="1816352"/>
            <a:ext cx="993656" cy="9936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a:extLst>
              <a:ext uri="{FF2B5EF4-FFF2-40B4-BE49-F238E27FC236}">
                <a16:creationId xmlns:a16="http://schemas.microsoft.com/office/drawing/2014/main" id="{ED519AB6-B8AA-7076-79D0-6A386412DEC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72992" y="2046507"/>
            <a:ext cx="1687055" cy="53334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Salesforce Logo and symbol, meaning, history, PNG, brand">
            <a:extLst>
              <a:ext uri="{FF2B5EF4-FFF2-40B4-BE49-F238E27FC236}">
                <a16:creationId xmlns:a16="http://schemas.microsoft.com/office/drawing/2014/main" id="{2EEF703E-A479-7593-4803-F75277E0455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99180" y="1848735"/>
            <a:ext cx="1413547" cy="92889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24">
            <a:extLst>
              <a:ext uri="{FF2B5EF4-FFF2-40B4-BE49-F238E27FC236}">
                <a16:creationId xmlns:a16="http://schemas.microsoft.com/office/drawing/2014/main" id="{FEBB2D5B-F7F5-3DAD-6836-E64169DBB86A}"/>
              </a:ext>
            </a:extLst>
          </p:cNvPr>
          <p:cNvSpPr txBox="1"/>
          <p:nvPr/>
        </p:nvSpPr>
        <p:spPr>
          <a:xfrm>
            <a:off x="384174" y="866775"/>
            <a:ext cx="11420475" cy="926190"/>
          </a:xfrm>
          <a:prstGeom prst="rect">
            <a:avLst/>
          </a:prstGeom>
          <a:noFill/>
        </p:spPr>
        <p:txBody>
          <a:bodyPr wrap="square" lIns="0" tIns="0" rIns="0" bIns="0" rtlCol="0" anchor="t">
            <a:noAutofit/>
          </a:bodyPr>
          <a:lstStyle/>
          <a:p>
            <a:r>
              <a:rPr lang="en-US" sz="14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We forecasted stock prices 21 trading days ahead using a forward lag variable and the most influential predictors. Our model, based on the latest five days of data, provided detailed forecasts for the week of July 22, 2024, to July 26, 2024. These forecasts offer valuable insights into market trends, aiding in portfolio allocation.</a:t>
            </a:r>
          </a:p>
        </p:txBody>
      </p:sp>
      <p:pic>
        <p:nvPicPr>
          <p:cNvPr id="4" name="Picture 8">
            <a:extLst>
              <a:ext uri="{FF2B5EF4-FFF2-40B4-BE49-F238E27FC236}">
                <a16:creationId xmlns:a16="http://schemas.microsoft.com/office/drawing/2014/main" id="{36D2B12A-517A-7C0F-85B0-E9C984851A83}"/>
              </a:ext>
            </a:extLst>
          </p:cNvPr>
          <p:cNvPicPr>
            <a:picLocks noChangeAspect="1" noChangeArrowheads="1"/>
          </p:cNvPicPr>
          <p:nvPr/>
        </p:nvPicPr>
        <p:blipFill rotWithShape="1">
          <a:blip r:embed="rId11">
            <a:extLst>
              <a:ext uri="{837473B0-CC2E-450A-ABE3-18F120FF3D39}">
                <a1611:picAttrSrcUrl xmlns:a1611="http://schemas.microsoft.com/office/drawing/2016/11/main" r:id="rId12"/>
              </a:ext>
            </a:extLst>
          </a:blip>
          <a:srcRect l="-632" t="-1" r="2186" b="-300"/>
          <a:stretch/>
        </p:blipFill>
        <p:spPr bwMode="auto">
          <a:xfrm>
            <a:off x="6983398" y="1857685"/>
            <a:ext cx="1589594" cy="91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01969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EC29F21-55F9-68B7-1DD1-5C39BB223DF2}"/>
              </a:ext>
            </a:extLst>
          </p:cNvPr>
          <p:cNvSpPr/>
          <p:nvPr/>
        </p:nvSpPr>
        <p:spPr>
          <a:xfrm>
            <a:off x="399973" y="1408932"/>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6" name="Objeto 5" hidden="1">
            <a:extLst>
              <a:ext uri="{FF2B5EF4-FFF2-40B4-BE49-F238E27FC236}">
                <a16:creationId xmlns:a16="http://schemas.microsoft.com/office/drawing/2014/main" id="{CACA4D61-F04B-42E7-2D40-8921075DC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6" name="Objeto 5" hidden="1">
                        <a:extLst>
                          <a:ext uri="{FF2B5EF4-FFF2-40B4-BE49-F238E27FC236}">
                            <a16:creationId xmlns:a16="http://schemas.microsoft.com/office/drawing/2014/main" id="{CACA4D61-F04B-42E7-2D40-8921075DCB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A889A8D-C759-4AFA-51E1-2F2D342A129A}"/>
              </a:ext>
            </a:extLst>
          </p:cNvPr>
          <p:cNvSpPr>
            <a:spLocks noGrp="1"/>
          </p:cNvSpPr>
          <p:nvPr>
            <p:ph type="title"/>
          </p:nvPr>
        </p:nvSpPr>
        <p:spPr/>
        <p:txBody>
          <a:bodyPr vert="horz"/>
          <a:lstStyle/>
          <a:p>
            <a:r>
              <a:rPr lang="en-US" dirty="0"/>
              <a:t>Five Day Rolling Window Model Building</a:t>
            </a:r>
          </a:p>
        </p:txBody>
      </p:sp>
      <p:sp>
        <p:nvSpPr>
          <p:cNvPr id="31" name="Rectangle 30">
            <a:extLst>
              <a:ext uri="{FF2B5EF4-FFF2-40B4-BE49-F238E27FC236}">
                <a16:creationId xmlns:a16="http://schemas.microsoft.com/office/drawing/2014/main" id="{408EE926-D0F8-60C4-3A33-8719841ADE7B}"/>
              </a:ext>
            </a:extLst>
          </p:cNvPr>
          <p:cNvSpPr/>
          <p:nvPr/>
        </p:nvSpPr>
        <p:spPr>
          <a:xfrm>
            <a:off x="399973" y="2048647"/>
            <a:ext cx="2559794" cy="461665"/>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dirty="0" err="1">
                <a:solidFill>
                  <a:schemeClr val="tx1"/>
                </a:solidFill>
                <a:latin typeface="Verdana" panose="020B0604030504040204" pitchFamily="34" charset="0"/>
                <a:ea typeface="Verdana" panose="020B0604030504040204" pitchFamily="34" charset="0"/>
              </a:rPr>
              <a:t>Stoch_Osc</a:t>
            </a:r>
            <a:endParaRPr lang="en-CA" sz="1400" dirty="0">
              <a:solidFill>
                <a:schemeClr val="tx1"/>
              </a:solidFill>
              <a:latin typeface="Verdana" panose="020B0604030504040204" pitchFamily="34" charset="0"/>
              <a:ea typeface="Verdana" panose="020B0604030504040204" pitchFamily="34" charset="0"/>
            </a:endParaRPr>
          </a:p>
        </p:txBody>
      </p:sp>
      <p:sp>
        <p:nvSpPr>
          <p:cNvPr id="41" name="TextBox 40">
            <a:extLst>
              <a:ext uri="{FF2B5EF4-FFF2-40B4-BE49-F238E27FC236}">
                <a16:creationId xmlns:a16="http://schemas.microsoft.com/office/drawing/2014/main" id="{73CB9B3F-B558-C701-28E7-7FF8A0731FC0}"/>
              </a:ext>
            </a:extLst>
          </p:cNvPr>
          <p:cNvSpPr txBox="1"/>
          <p:nvPr/>
        </p:nvSpPr>
        <p:spPr>
          <a:xfrm>
            <a:off x="259296" y="1522971"/>
            <a:ext cx="2841148" cy="307777"/>
          </a:xfrm>
          <a:prstGeom prst="rect">
            <a:avLst/>
          </a:prstGeom>
          <a:noFill/>
        </p:spPr>
        <p:txBody>
          <a:bodyPr wrap="square" rtlCol="0">
            <a:spAutoFit/>
          </a:bodyPr>
          <a:lstStyle/>
          <a:p>
            <a:pPr algn="ctr"/>
            <a:r>
              <a:rPr lang="en-CA" sz="1400" b="1" dirty="0">
                <a:solidFill>
                  <a:srgbClr val="F9F9F9"/>
                </a:solidFill>
                <a:latin typeface="Verdana" panose="020B0604030504040204" pitchFamily="34" charset="0"/>
                <a:ea typeface="Verdana" panose="020B0604030504040204" pitchFamily="34" charset="0"/>
              </a:rPr>
              <a:t>Feature Selection</a:t>
            </a:r>
          </a:p>
        </p:txBody>
      </p:sp>
      <p:sp>
        <p:nvSpPr>
          <p:cNvPr id="5" name="Rectangle 4">
            <a:extLst>
              <a:ext uri="{FF2B5EF4-FFF2-40B4-BE49-F238E27FC236}">
                <a16:creationId xmlns:a16="http://schemas.microsoft.com/office/drawing/2014/main" id="{7676F81A-67BE-E69C-8FCE-946FAACFAA74}"/>
              </a:ext>
            </a:extLst>
          </p:cNvPr>
          <p:cNvSpPr/>
          <p:nvPr/>
        </p:nvSpPr>
        <p:spPr>
          <a:xfrm>
            <a:off x="399972" y="2561241"/>
            <a:ext cx="2559794" cy="461665"/>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err="1">
                <a:solidFill>
                  <a:schemeClr val="tx1"/>
                </a:solidFill>
                <a:latin typeface="Verdana" panose="020B0604030504040204" pitchFamily="34" charset="0"/>
                <a:ea typeface="Verdana" panose="020B0604030504040204" pitchFamily="34" charset="0"/>
              </a:rPr>
              <a:t>Stoch_Osc</a:t>
            </a:r>
            <a:r>
              <a:rPr lang="en-CA" sz="1400">
                <a:solidFill>
                  <a:schemeClr val="tx1"/>
                </a:solidFill>
                <a:latin typeface="Verdana" panose="020B0604030504040204" pitchFamily="34" charset="0"/>
                <a:ea typeface="Verdana" panose="020B0604030504040204" pitchFamily="34" charset="0"/>
              </a:rPr>
              <a:t>*ADX</a:t>
            </a:r>
          </a:p>
        </p:txBody>
      </p:sp>
      <p:sp>
        <p:nvSpPr>
          <p:cNvPr id="13" name="Rectangle 12">
            <a:extLst>
              <a:ext uri="{FF2B5EF4-FFF2-40B4-BE49-F238E27FC236}">
                <a16:creationId xmlns:a16="http://schemas.microsoft.com/office/drawing/2014/main" id="{CA2B1CF4-1C18-B1C8-540C-CDD55D7EF864}"/>
              </a:ext>
            </a:extLst>
          </p:cNvPr>
          <p:cNvSpPr/>
          <p:nvPr/>
        </p:nvSpPr>
        <p:spPr>
          <a:xfrm>
            <a:off x="399972" y="3079440"/>
            <a:ext cx="2559794" cy="461665"/>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ADX</a:t>
            </a:r>
          </a:p>
        </p:txBody>
      </p:sp>
      <p:sp>
        <p:nvSpPr>
          <p:cNvPr id="15" name="Rectangle 14">
            <a:extLst>
              <a:ext uri="{FF2B5EF4-FFF2-40B4-BE49-F238E27FC236}">
                <a16:creationId xmlns:a16="http://schemas.microsoft.com/office/drawing/2014/main" id="{D78C6814-D4F0-DC13-1815-FD891DEA2807}"/>
              </a:ext>
            </a:extLst>
          </p:cNvPr>
          <p:cNvSpPr/>
          <p:nvPr/>
        </p:nvSpPr>
        <p:spPr>
          <a:xfrm>
            <a:off x="402309" y="3791519"/>
            <a:ext cx="2559794"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a:extLst>
              <a:ext uri="{FF2B5EF4-FFF2-40B4-BE49-F238E27FC236}">
                <a16:creationId xmlns:a16="http://schemas.microsoft.com/office/drawing/2014/main" id="{B138E0F5-760F-337E-5C3A-3BD6F64EBFCE}"/>
              </a:ext>
            </a:extLst>
          </p:cNvPr>
          <p:cNvSpPr/>
          <p:nvPr/>
        </p:nvSpPr>
        <p:spPr>
          <a:xfrm>
            <a:off x="402309" y="4431234"/>
            <a:ext cx="2559794" cy="461665"/>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Euclidean</a:t>
            </a:r>
          </a:p>
        </p:txBody>
      </p:sp>
      <p:sp>
        <p:nvSpPr>
          <p:cNvPr id="28" name="TextBox 27">
            <a:extLst>
              <a:ext uri="{FF2B5EF4-FFF2-40B4-BE49-F238E27FC236}">
                <a16:creationId xmlns:a16="http://schemas.microsoft.com/office/drawing/2014/main" id="{52350810-6826-ACAB-7F31-410AD449AB07}"/>
              </a:ext>
            </a:extLst>
          </p:cNvPr>
          <p:cNvSpPr txBox="1"/>
          <p:nvPr/>
        </p:nvSpPr>
        <p:spPr>
          <a:xfrm>
            <a:off x="261632" y="3901246"/>
            <a:ext cx="2841148" cy="307777"/>
          </a:xfrm>
          <a:prstGeom prst="rect">
            <a:avLst/>
          </a:prstGeom>
          <a:noFill/>
        </p:spPr>
        <p:txBody>
          <a:bodyPr wrap="square" rtlCol="0">
            <a:spAutoFit/>
          </a:bodyPr>
          <a:lstStyle/>
          <a:p>
            <a:pPr algn="ctr"/>
            <a:r>
              <a:rPr lang="en-CA" sz="1400" b="1">
                <a:solidFill>
                  <a:srgbClr val="F9F9F9"/>
                </a:solidFill>
                <a:latin typeface="Verdana" panose="020B0604030504040204" pitchFamily="34" charset="0"/>
                <a:ea typeface="Verdana" panose="020B0604030504040204" pitchFamily="34" charset="0"/>
              </a:rPr>
              <a:t>Model Creation: KNN</a:t>
            </a:r>
          </a:p>
        </p:txBody>
      </p:sp>
      <p:sp>
        <p:nvSpPr>
          <p:cNvPr id="29" name="Rectangle 28">
            <a:extLst>
              <a:ext uri="{FF2B5EF4-FFF2-40B4-BE49-F238E27FC236}">
                <a16:creationId xmlns:a16="http://schemas.microsoft.com/office/drawing/2014/main" id="{DAC3305B-ADD2-FFF0-5F70-074C29F15F45}"/>
              </a:ext>
            </a:extLst>
          </p:cNvPr>
          <p:cNvSpPr/>
          <p:nvPr/>
        </p:nvSpPr>
        <p:spPr>
          <a:xfrm>
            <a:off x="402308" y="4943828"/>
            <a:ext cx="2559794" cy="461665"/>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Uniform</a:t>
            </a:r>
          </a:p>
        </p:txBody>
      </p:sp>
      <p:sp>
        <p:nvSpPr>
          <p:cNvPr id="30" name="Rectangle 29">
            <a:extLst>
              <a:ext uri="{FF2B5EF4-FFF2-40B4-BE49-F238E27FC236}">
                <a16:creationId xmlns:a16="http://schemas.microsoft.com/office/drawing/2014/main" id="{598E9DD6-6E50-EFDA-6900-0B3B07ABA514}"/>
              </a:ext>
            </a:extLst>
          </p:cNvPr>
          <p:cNvSpPr/>
          <p:nvPr/>
        </p:nvSpPr>
        <p:spPr>
          <a:xfrm>
            <a:off x="402308" y="5462027"/>
            <a:ext cx="2559794" cy="461665"/>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solidFill>
                  <a:schemeClr val="tx1"/>
                </a:solidFill>
                <a:latin typeface="Verdana" panose="020B0604030504040204" pitchFamily="34" charset="0"/>
                <a:ea typeface="Verdana" panose="020B0604030504040204" pitchFamily="34" charset="0"/>
              </a:rPr>
              <a:t>N = 30</a:t>
            </a:r>
          </a:p>
        </p:txBody>
      </p:sp>
      <p:sp>
        <p:nvSpPr>
          <p:cNvPr id="37" name="TextBox 36">
            <a:extLst>
              <a:ext uri="{FF2B5EF4-FFF2-40B4-BE49-F238E27FC236}">
                <a16:creationId xmlns:a16="http://schemas.microsoft.com/office/drawing/2014/main" id="{16EE4C13-CB91-DA0E-E1B6-CEAF5F801512}"/>
              </a:ext>
            </a:extLst>
          </p:cNvPr>
          <p:cNvSpPr txBox="1"/>
          <p:nvPr/>
        </p:nvSpPr>
        <p:spPr>
          <a:xfrm>
            <a:off x="3251100" y="991974"/>
            <a:ext cx="8616947" cy="307777"/>
          </a:xfrm>
          <a:prstGeom prst="rect">
            <a:avLst/>
          </a:prstGeom>
          <a:noFill/>
        </p:spPr>
        <p:txBody>
          <a:bodyPr wrap="square" rtlCol="0">
            <a:spAutoFit/>
          </a:bodyPr>
          <a:lstStyle/>
          <a:p>
            <a:pPr algn="ctr"/>
            <a:r>
              <a:rPr lang="en-CA" sz="1400" u="sng">
                <a:latin typeface="Verdana" panose="020B0604030504040204" pitchFamily="34" charset="0"/>
                <a:ea typeface="Verdana" panose="020B0604030504040204" pitchFamily="34" charset="0"/>
              </a:rPr>
              <a:t>Training on 5-Day Rolling Window</a:t>
            </a:r>
          </a:p>
        </p:txBody>
      </p:sp>
      <p:sp>
        <p:nvSpPr>
          <p:cNvPr id="39" name="TextBox 38">
            <a:extLst>
              <a:ext uri="{FF2B5EF4-FFF2-40B4-BE49-F238E27FC236}">
                <a16:creationId xmlns:a16="http://schemas.microsoft.com/office/drawing/2014/main" id="{4848C926-F794-2068-0A96-35209CFED4A8}"/>
              </a:ext>
            </a:extLst>
          </p:cNvPr>
          <p:cNvSpPr txBox="1"/>
          <p:nvPr/>
        </p:nvSpPr>
        <p:spPr>
          <a:xfrm>
            <a:off x="3279591" y="4727518"/>
            <a:ext cx="4014346" cy="307777"/>
          </a:xfrm>
          <a:prstGeom prst="rect">
            <a:avLst/>
          </a:prstGeom>
          <a:noFill/>
          <a:ln>
            <a:solidFill>
              <a:srgbClr val="1D9A78"/>
            </a:solidFill>
          </a:ln>
        </p:spPr>
        <p:txBody>
          <a:bodyPr wrap="square" rtlCol="0">
            <a:spAutoFit/>
          </a:bodyPr>
          <a:lstStyle/>
          <a:p>
            <a:r>
              <a:rPr lang="en-CA" sz="1400">
                <a:latin typeface="Verdana" panose="020B0604030504040204" pitchFamily="34" charset="0"/>
                <a:ea typeface="Verdana" panose="020B0604030504040204" pitchFamily="34" charset="0"/>
              </a:rPr>
              <a:t>Uses the last 5 days to predict the 6</a:t>
            </a:r>
            <a:r>
              <a:rPr lang="en-CA" sz="1400" baseline="30000">
                <a:latin typeface="Verdana" panose="020B0604030504040204" pitchFamily="34" charset="0"/>
                <a:ea typeface="Verdana" panose="020B0604030504040204" pitchFamily="34" charset="0"/>
              </a:rPr>
              <a:t>th</a:t>
            </a:r>
            <a:r>
              <a:rPr lang="en-CA" sz="1400">
                <a:latin typeface="Verdana" panose="020B0604030504040204" pitchFamily="34" charset="0"/>
                <a:ea typeface="Verdana" panose="020B0604030504040204" pitchFamily="34" charset="0"/>
              </a:rPr>
              <a:t> day</a:t>
            </a:r>
          </a:p>
        </p:txBody>
      </p:sp>
      <p:sp>
        <p:nvSpPr>
          <p:cNvPr id="45" name="TextBox 44">
            <a:extLst>
              <a:ext uri="{FF2B5EF4-FFF2-40B4-BE49-F238E27FC236}">
                <a16:creationId xmlns:a16="http://schemas.microsoft.com/office/drawing/2014/main" id="{FB4B9D8D-33B5-90C2-1C57-AC431BF8586D}"/>
              </a:ext>
            </a:extLst>
          </p:cNvPr>
          <p:cNvSpPr txBox="1"/>
          <p:nvPr/>
        </p:nvSpPr>
        <p:spPr>
          <a:xfrm>
            <a:off x="3146981" y="1366627"/>
            <a:ext cx="4138884" cy="276999"/>
          </a:xfrm>
          <a:prstGeom prst="rect">
            <a:avLst/>
          </a:prstGeom>
          <a:noFill/>
        </p:spPr>
        <p:txBody>
          <a:bodyPr wrap="square" rtlCol="0">
            <a:spAutoFit/>
          </a:bodyPr>
          <a:lstStyle/>
          <a:p>
            <a:pPr algn="ctr"/>
            <a:r>
              <a:rPr lang="en-CA" sz="1200" b="1" u="sng">
                <a:latin typeface="Verdana" panose="020B0604030504040204" pitchFamily="34" charset="0"/>
                <a:ea typeface="Verdana" panose="020B0604030504040204" pitchFamily="34" charset="0"/>
              </a:rPr>
              <a:t>Actual vs Predicted CMG Stock Price </a:t>
            </a:r>
          </a:p>
        </p:txBody>
      </p:sp>
      <p:sp>
        <p:nvSpPr>
          <p:cNvPr id="46" name="TextBox 45">
            <a:extLst>
              <a:ext uri="{FF2B5EF4-FFF2-40B4-BE49-F238E27FC236}">
                <a16:creationId xmlns:a16="http://schemas.microsoft.com/office/drawing/2014/main" id="{2CC58355-4F86-60A1-5A50-3C8E0AF8F169}"/>
              </a:ext>
            </a:extLst>
          </p:cNvPr>
          <p:cNvSpPr txBox="1"/>
          <p:nvPr/>
        </p:nvSpPr>
        <p:spPr>
          <a:xfrm>
            <a:off x="7473083" y="1384614"/>
            <a:ext cx="4534697" cy="276999"/>
          </a:xfrm>
          <a:prstGeom prst="rect">
            <a:avLst/>
          </a:prstGeom>
          <a:noFill/>
        </p:spPr>
        <p:txBody>
          <a:bodyPr wrap="square" rtlCol="0">
            <a:spAutoFit/>
          </a:bodyPr>
          <a:lstStyle/>
          <a:p>
            <a:pPr algn="ctr"/>
            <a:r>
              <a:rPr lang="en-CA" sz="1200" b="1" u="sng">
                <a:latin typeface="Verdana" panose="020B0604030504040204" pitchFamily="34" charset="0"/>
                <a:ea typeface="Verdana" panose="020B0604030504040204" pitchFamily="34" charset="0"/>
              </a:rPr>
              <a:t>Actual vs Predicted CMG Stock Price (5-Day FWD) </a:t>
            </a:r>
          </a:p>
        </p:txBody>
      </p:sp>
      <p:pic>
        <p:nvPicPr>
          <p:cNvPr id="50" name="Picture 49">
            <a:extLst>
              <a:ext uri="{FF2B5EF4-FFF2-40B4-BE49-F238E27FC236}">
                <a16:creationId xmlns:a16="http://schemas.microsoft.com/office/drawing/2014/main" id="{1342A9B8-4799-7256-EDEB-FD376DFE979A}"/>
              </a:ext>
            </a:extLst>
          </p:cNvPr>
          <p:cNvPicPr>
            <a:picLocks noChangeAspect="1"/>
          </p:cNvPicPr>
          <p:nvPr/>
        </p:nvPicPr>
        <p:blipFill>
          <a:blip r:embed="rId6"/>
          <a:stretch>
            <a:fillRect/>
          </a:stretch>
        </p:blipFill>
        <p:spPr>
          <a:xfrm>
            <a:off x="3063886" y="1723168"/>
            <a:ext cx="4221983" cy="2938898"/>
          </a:xfrm>
          <a:prstGeom prst="rect">
            <a:avLst/>
          </a:prstGeom>
        </p:spPr>
      </p:pic>
      <p:cxnSp>
        <p:nvCxnSpPr>
          <p:cNvPr id="52" name="Straight Connector 51">
            <a:extLst>
              <a:ext uri="{FF2B5EF4-FFF2-40B4-BE49-F238E27FC236}">
                <a16:creationId xmlns:a16="http://schemas.microsoft.com/office/drawing/2014/main" id="{EBA584EF-7CA8-D2C5-8D7F-80135B6840C5}"/>
              </a:ext>
            </a:extLst>
          </p:cNvPr>
          <p:cNvCxnSpPr>
            <a:cxnSpLocks/>
          </p:cNvCxnSpPr>
          <p:nvPr/>
        </p:nvCxnSpPr>
        <p:spPr>
          <a:xfrm>
            <a:off x="3063886" y="1366627"/>
            <a:ext cx="36558" cy="4557065"/>
          </a:xfrm>
          <a:prstGeom prst="line">
            <a:avLst/>
          </a:prstGeom>
        </p:spPr>
        <p:style>
          <a:lnRef idx="1">
            <a:schemeClr val="accent1"/>
          </a:lnRef>
          <a:fillRef idx="0">
            <a:schemeClr val="accent1"/>
          </a:fillRef>
          <a:effectRef idx="0">
            <a:schemeClr val="accent1"/>
          </a:effectRef>
          <a:fontRef idx="minor">
            <a:schemeClr val="tx1"/>
          </a:fontRef>
        </p:style>
      </p:cxnSp>
      <p:pic>
        <p:nvPicPr>
          <p:cNvPr id="57" name="Picture 56">
            <a:extLst>
              <a:ext uri="{FF2B5EF4-FFF2-40B4-BE49-F238E27FC236}">
                <a16:creationId xmlns:a16="http://schemas.microsoft.com/office/drawing/2014/main" id="{105D5CE3-4AB9-B30B-C762-36ED1FE2AF72}"/>
              </a:ext>
            </a:extLst>
          </p:cNvPr>
          <p:cNvPicPr>
            <a:picLocks noChangeAspect="1"/>
          </p:cNvPicPr>
          <p:nvPr/>
        </p:nvPicPr>
        <p:blipFill>
          <a:blip r:embed="rId7"/>
          <a:stretch>
            <a:fillRect/>
          </a:stretch>
        </p:blipFill>
        <p:spPr>
          <a:xfrm>
            <a:off x="7473083" y="1705181"/>
            <a:ext cx="4457283" cy="2956885"/>
          </a:xfrm>
          <a:prstGeom prst="rect">
            <a:avLst/>
          </a:prstGeom>
        </p:spPr>
      </p:pic>
      <p:sp>
        <p:nvSpPr>
          <p:cNvPr id="58" name="TextBox 57">
            <a:extLst>
              <a:ext uri="{FF2B5EF4-FFF2-40B4-BE49-F238E27FC236}">
                <a16:creationId xmlns:a16="http://schemas.microsoft.com/office/drawing/2014/main" id="{2E55DF90-77E2-EB7B-1EA8-F4F3D458BDF9}"/>
              </a:ext>
            </a:extLst>
          </p:cNvPr>
          <p:cNvSpPr txBox="1"/>
          <p:nvPr/>
        </p:nvSpPr>
        <p:spPr>
          <a:xfrm>
            <a:off x="7765226" y="4727518"/>
            <a:ext cx="4102821" cy="307777"/>
          </a:xfrm>
          <a:prstGeom prst="rect">
            <a:avLst/>
          </a:prstGeom>
          <a:noFill/>
          <a:ln>
            <a:solidFill>
              <a:srgbClr val="1D9A78"/>
            </a:solidFill>
          </a:ln>
        </p:spPr>
        <p:txBody>
          <a:bodyPr wrap="square" rtlCol="0">
            <a:spAutoFit/>
          </a:bodyPr>
          <a:lstStyle/>
          <a:p>
            <a:r>
              <a:rPr lang="en-CA" sz="1400">
                <a:latin typeface="Verdana" panose="020B0604030504040204" pitchFamily="34" charset="0"/>
                <a:ea typeface="Verdana" panose="020B0604030504040204" pitchFamily="34" charset="0"/>
              </a:rPr>
              <a:t>Uses the last 5 days to predict 5-day FWD</a:t>
            </a:r>
          </a:p>
        </p:txBody>
      </p:sp>
      <p:sp>
        <p:nvSpPr>
          <p:cNvPr id="59" name="Rectangle 58">
            <a:extLst>
              <a:ext uri="{FF2B5EF4-FFF2-40B4-BE49-F238E27FC236}">
                <a16:creationId xmlns:a16="http://schemas.microsoft.com/office/drawing/2014/main" id="{E6A7BECB-BC87-9395-568E-17EE88B30616}"/>
              </a:ext>
            </a:extLst>
          </p:cNvPr>
          <p:cNvSpPr/>
          <p:nvPr/>
        </p:nvSpPr>
        <p:spPr>
          <a:xfrm>
            <a:off x="3482573" y="5334906"/>
            <a:ext cx="1423038"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latin typeface="Verdana" panose="020B0604030504040204" pitchFamily="34" charset="0"/>
                <a:ea typeface="Verdana" panose="020B0604030504040204" pitchFamily="34" charset="0"/>
              </a:rPr>
              <a:t>MSE: 0.7494</a:t>
            </a:r>
          </a:p>
        </p:txBody>
      </p:sp>
      <p:sp>
        <p:nvSpPr>
          <p:cNvPr id="60" name="Rectangle 59">
            <a:extLst>
              <a:ext uri="{FF2B5EF4-FFF2-40B4-BE49-F238E27FC236}">
                <a16:creationId xmlns:a16="http://schemas.microsoft.com/office/drawing/2014/main" id="{91C04E38-FD65-DCEC-E16F-83A06768E5E8}"/>
              </a:ext>
            </a:extLst>
          </p:cNvPr>
          <p:cNvSpPr/>
          <p:nvPr/>
        </p:nvSpPr>
        <p:spPr>
          <a:xfrm>
            <a:off x="5043953" y="5334906"/>
            <a:ext cx="2100915"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latin typeface="Verdana" panose="020B0604030504040204" pitchFamily="34" charset="0"/>
                <a:ea typeface="Verdana" panose="020B0604030504040204" pitchFamily="34" charset="0"/>
              </a:rPr>
              <a:t>R^2 Score: 0.9939</a:t>
            </a:r>
          </a:p>
        </p:txBody>
      </p:sp>
      <p:sp>
        <p:nvSpPr>
          <p:cNvPr id="63" name="Rectangle 62">
            <a:extLst>
              <a:ext uri="{FF2B5EF4-FFF2-40B4-BE49-F238E27FC236}">
                <a16:creationId xmlns:a16="http://schemas.microsoft.com/office/drawing/2014/main" id="{5DD473B4-D7C5-C463-0705-20F9C65EDB35}"/>
              </a:ext>
            </a:extLst>
          </p:cNvPr>
          <p:cNvSpPr/>
          <p:nvPr/>
        </p:nvSpPr>
        <p:spPr>
          <a:xfrm>
            <a:off x="8127397" y="5329590"/>
            <a:ext cx="1423038"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latin typeface="Verdana" panose="020B0604030504040204" pitchFamily="34" charset="0"/>
                <a:ea typeface="Verdana" panose="020B0604030504040204" pitchFamily="34" charset="0"/>
              </a:rPr>
              <a:t>MSE: 1.327</a:t>
            </a:r>
          </a:p>
        </p:txBody>
      </p:sp>
      <p:sp>
        <p:nvSpPr>
          <p:cNvPr id="64" name="Rectangle 63">
            <a:extLst>
              <a:ext uri="{FF2B5EF4-FFF2-40B4-BE49-F238E27FC236}">
                <a16:creationId xmlns:a16="http://schemas.microsoft.com/office/drawing/2014/main" id="{BDD4DFB6-DFAA-5710-CA01-7E4984DC1188}"/>
              </a:ext>
            </a:extLst>
          </p:cNvPr>
          <p:cNvSpPr/>
          <p:nvPr/>
        </p:nvSpPr>
        <p:spPr>
          <a:xfrm>
            <a:off x="9688777" y="5329590"/>
            <a:ext cx="2100915"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a:latin typeface="Verdana" panose="020B0604030504040204" pitchFamily="34" charset="0"/>
                <a:ea typeface="Verdana" panose="020B0604030504040204" pitchFamily="34" charset="0"/>
              </a:rPr>
              <a:t>R^2 Score: 0.9759</a:t>
            </a:r>
          </a:p>
        </p:txBody>
      </p:sp>
    </p:spTree>
    <p:extLst>
      <p:ext uri="{BB962C8B-B14F-4D97-AF65-F5344CB8AC3E}">
        <p14:creationId xmlns:p14="http://schemas.microsoft.com/office/powerpoint/2010/main" val="11850437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4EB0AF-A700-1B9C-6EE0-E9FA73F15997}"/>
              </a:ext>
            </a:extLst>
          </p:cNvPr>
          <p:cNvSpPr/>
          <p:nvPr/>
        </p:nvSpPr>
        <p:spPr>
          <a:xfrm>
            <a:off x="6481581" y="1759527"/>
            <a:ext cx="5308110" cy="583537"/>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34" name="Rectangle 33">
            <a:extLst>
              <a:ext uri="{FF2B5EF4-FFF2-40B4-BE49-F238E27FC236}">
                <a16:creationId xmlns:a16="http://schemas.microsoft.com/office/drawing/2014/main" id="{4EC29F21-55F9-68B7-1DD1-5C39BB223DF2}"/>
              </a:ext>
            </a:extLst>
          </p:cNvPr>
          <p:cNvSpPr/>
          <p:nvPr/>
        </p:nvSpPr>
        <p:spPr>
          <a:xfrm>
            <a:off x="402308" y="1046602"/>
            <a:ext cx="2841147"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6" name="Objeto 5" hidden="1">
            <a:extLst>
              <a:ext uri="{FF2B5EF4-FFF2-40B4-BE49-F238E27FC236}">
                <a16:creationId xmlns:a16="http://schemas.microsoft.com/office/drawing/2014/main" id="{CACA4D61-F04B-42E7-2D40-8921075DC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6" name="Objeto 5" hidden="1">
                        <a:extLst>
                          <a:ext uri="{FF2B5EF4-FFF2-40B4-BE49-F238E27FC236}">
                            <a16:creationId xmlns:a16="http://schemas.microsoft.com/office/drawing/2014/main" id="{CACA4D61-F04B-42E7-2D40-8921075DCB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DA889A8D-C759-4AFA-51E1-2F2D342A129A}"/>
              </a:ext>
            </a:extLst>
          </p:cNvPr>
          <p:cNvSpPr>
            <a:spLocks noGrp="1"/>
          </p:cNvSpPr>
          <p:nvPr>
            <p:ph type="title"/>
          </p:nvPr>
        </p:nvSpPr>
        <p:spPr/>
        <p:txBody>
          <a:bodyPr vert="horz"/>
          <a:lstStyle/>
          <a:p>
            <a:r>
              <a:rPr lang="en-US"/>
              <a:t>Five Day Rolling Window Implementation </a:t>
            </a:r>
          </a:p>
        </p:txBody>
      </p:sp>
      <p:sp>
        <p:nvSpPr>
          <p:cNvPr id="31" name="Rectangle 30">
            <a:extLst>
              <a:ext uri="{FF2B5EF4-FFF2-40B4-BE49-F238E27FC236}">
                <a16:creationId xmlns:a16="http://schemas.microsoft.com/office/drawing/2014/main" id="{408EE926-D0F8-60C4-3A33-8719841ADE7B}"/>
              </a:ext>
            </a:extLst>
          </p:cNvPr>
          <p:cNvSpPr/>
          <p:nvPr/>
        </p:nvSpPr>
        <p:spPr>
          <a:xfrm>
            <a:off x="6481581" y="1051851"/>
            <a:ext cx="5308110" cy="583537"/>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200" err="1">
                <a:solidFill>
                  <a:schemeClr val="tx1"/>
                </a:solidFill>
                <a:latin typeface="Verdana" panose="020B0604030504040204" pitchFamily="34" charset="0"/>
                <a:ea typeface="Verdana" panose="020B0604030504040204" pitchFamily="34" charset="0"/>
              </a:rPr>
              <a:t>Stoch_Osc</a:t>
            </a:r>
            <a:r>
              <a:rPr lang="en-CA" sz="1200">
                <a:solidFill>
                  <a:schemeClr val="tx1"/>
                </a:solidFill>
                <a:latin typeface="Verdana" panose="020B0604030504040204" pitchFamily="34" charset="0"/>
                <a:ea typeface="Verdana" panose="020B0604030504040204" pitchFamily="34" charset="0"/>
              </a:rPr>
              <a:t>, </a:t>
            </a:r>
            <a:r>
              <a:rPr lang="en-CA" sz="1200" err="1">
                <a:solidFill>
                  <a:schemeClr val="tx1"/>
                </a:solidFill>
                <a:latin typeface="Verdana" panose="020B0604030504040204" pitchFamily="34" charset="0"/>
                <a:ea typeface="Verdana" panose="020B0604030504040204" pitchFamily="34" charset="0"/>
              </a:rPr>
              <a:t>Stoch_Osc</a:t>
            </a:r>
            <a:r>
              <a:rPr lang="en-CA" sz="1200">
                <a:solidFill>
                  <a:schemeClr val="tx1"/>
                </a:solidFill>
                <a:latin typeface="Verdana" panose="020B0604030504040204" pitchFamily="34" charset="0"/>
                <a:ea typeface="Verdana" panose="020B0604030504040204" pitchFamily="34" charset="0"/>
              </a:rPr>
              <a:t>*ADX, RSI, MACD, ATR, Fourier, EMA_12*Volume, CMF, FI, and </a:t>
            </a:r>
            <a:r>
              <a:rPr lang="en-CA" sz="1200" err="1">
                <a:solidFill>
                  <a:schemeClr val="tx1"/>
                </a:solidFill>
                <a:latin typeface="Verdana" panose="020B0604030504040204" pitchFamily="34" charset="0"/>
                <a:ea typeface="Verdana" panose="020B0604030504040204" pitchFamily="34" charset="0"/>
              </a:rPr>
              <a:t>Trend_Strength</a:t>
            </a:r>
            <a:endParaRPr lang="en-CA" sz="1200">
              <a:solidFill>
                <a:schemeClr val="tx1"/>
              </a:solidFill>
              <a:latin typeface="Verdana" panose="020B0604030504040204" pitchFamily="34" charset="0"/>
              <a:ea typeface="Verdana" panose="020B0604030504040204" pitchFamily="34" charset="0"/>
            </a:endParaRPr>
          </a:p>
        </p:txBody>
      </p:sp>
      <p:sp>
        <p:nvSpPr>
          <p:cNvPr id="41" name="TextBox 40">
            <a:extLst>
              <a:ext uri="{FF2B5EF4-FFF2-40B4-BE49-F238E27FC236}">
                <a16:creationId xmlns:a16="http://schemas.microsoft.com/office/drawing/2014/main" id="{73CB9B3F-B558-C701-28E7-7FF8A0731FC0}"/>
              </a:ext>
            </a:extLst>
          </p:cNvPr>
          <p:cNvSpPr txBox="1"/>
          <p:nvPr/>
        </p:nvSpPr>
        <p:spPr>
          <a:xfrm>
            <a:off x="425753" y="1096613"/>
            <a:ext cx="2841148" cy="523220"/>
          </a:xfrm>
          <a:prstGeom prst="rect">
            <a:avLst/>
          </a:prstGeom>
          <a:noFill/>
        </p:spPr>
        <p:txBody>
          <a:bodyPr wrap="square" rtlCol="0">
            <a:spAutoFit/>
          </a:bodyPr>
          <a:lstStyle/>
          <a:p>
            <a:pPr algn="ctr"/>
            <a:r>
              <a:rPr lang="en-CA" sz="1400" b="1">
                <a:solidFill>
                  <a:srgbClr val="F9F9F9"/>
                </a:solidFill>
                <a:latin typeface="Verdana" panose="020B0604030504040204" pitchFamily="34" charset="0"/>
                <a:ea typeface="Verdana" panose="020B0604030504040204" pitchFamily="34" charset="0"/>
              </a:rPr>
              <a:t>Expanded Feature Selection</a:t>
            </a:r>
          </a:p>
        </p:txBody>
      </p:sp>
      <p:sp>
        <p:nvSpPr>
          <p:cNvPr id="2" name="Rectangle 1">
            <a:extLst>
              <a:ext uri="{FF2B5EF4-FFF2-40B4-BE49-F238E27FC236}">
                <a16:creationId xmlns:a16="http://schemas.microsoft.com/office/drawing/2014/main" id="{F4842AAE-7052-96A6-67A7-846B7217EF26}"/>
              </a:ext>
            </a:extLst>
          </p:cNvPr>
          <p:cNvSpPr/>
          <p:nvPr/>
        </p:nvSpPr>
        <p:spPr>
          <a:xfrm>
            <a:off x="402308" y="1740361"/>
            <a:ext cx="2841147" cy="588786"/>
          </a:xfrm>
          <a:prstGeom prst="rect">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400" b="1">
                <a:latin typeface="Verdana" panose="020B0604030504040204" pitchFamily="34" charset="0"/>
                <a:ea typeface="Verdana" panose="020B0604030504040204" pitchFamily="34" charset="0"/>
              </a:rPr>
              <a:t>Best Hyperparameters</a:t>
            </a:r>
          </a:p>
        </p:txBody>
      </p:sp>
      <p:sp>
        <p:nvSpPr>
          <p:cNvPr id="7" name="Rectangle 6">
            <a:extLst>
              <a:ext uri="{FF2B5EF4-FFF2-40B4-BE49-F238E27FC236}">
                <a16:creationId xmlns:a16="http://schemas.microsoft.com/office/drawing/2014/main" id="{9C269936-8C42-8233-88CC-34F63BCF79AD}"/>
              </a:ext>
            </a:extLst>
          </p:cNvPr>
          <p:cNvSpPr/>
          <p:nvPr/>
        </p:nvSpPr>
        <p:spPr>
          <a:xfrm>
            <a:off x="3389243" y="1745610"/>
            <a:ext cx="2338318" cy="583537"/>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200" err="1">
                <a:solidFill>
                  <a:schemeClr val="tx1"/>
                </a:solidFill>
                <a:latin typeface="Verdana" panose="020B0604030504040204" pitchFamily="34" charset="0"/>
                <a:ea typeface="Verdana" panose="020B0604030504040204" pitchFamily="34" charset="0"/>
              </a:rPr>
              <a:t>GridSearchCV</a:t>
            </a:r>
            <a:endParaRPr lang="en-CA" sz="1200">
              <a:solidFill>
                <a:schemeClr val="tx1"/>
              </a:solidFill>
              <a:latin typeface="Verdana" panose="020B0604030504040204" pitchFamily="34" charset="0"/>
              <a:ea typeface="Verdana" panose="020B0604030504040204" pitchFamily="34" charset="0"/>
            </a:endParaRPr>
          </a:p>
        </p:txBody>
      </p:sp>
      <p:sp>
        <p:nvSpPr>
          <p:cNvPr id="8" name="Arrow: Right 7">
            <a:extLst>
              <a:ext uri="{FF2B5EF4-FFF2-40B4-BE49-F238E27FC236}">
                <a16:creationId xmlns:a16="http://schemas.microsoft.com/office/drawing/2014/main" id="{5F6E7D68-B136-EA32-50D4-B70359523AF4}"/>
              </a:ext>
            </a:extLst>
          </p:cNvPr>
          <p:cNvSpPr/>
          <p:nvPr/>
        </p:nvSpPr>
        <p:spPr>
          <a:xfrm>
            <a:off x="5849903" y="1820464"/>
            <a:ext cx="368439" cy="461665"/>
          </a:xfrm>
          <a:prstGeom prst="rightArrow">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TextBox 8">
            <a:extLst>
              <a:ext uri="{FF2B5EF4-FFF2-40B4-BE49-F238E27FC236}">
                <a16:creationId xmlns:a16="http://schemas.microsoft.com/office/drawing/2014/main" id="{F3B14C28-B63D-789F-6860-E42A05249577}"/>
              </a:ext>
            </a:extLst>
          </p:cNvPr>
          <p:cNvSpPr txBox="1"/>
          <p:nvPr/>
        </p:nvSpPr>
        <p:spPr>
          <a:xfrm>
            <a:off x="6615167" y="1749506"/>
            <a:ext cx="1956078" cy="430887"/>
          </a:xfrm>
          <a:prstGeom prst="rect">
            <a:avLst/>
          </a:prstGeom>
          <a:noFill/>
        </p:spPr>
        <p:txBody>
          <a:bodyPr wrap="square" rtlCol="0">
            <a:spAutoFit/>
          </a:bodyPr>
          <a:lstStyle/>
          <a:p>
            <a:pPr marL="285750" indent="-285750">
              <a:buFont typeface="Arial" panose="020B0604020202020204" pitchFamily="34" charset="0"/>
              <a:buChar char="•"/>
            </a:pPr>
            <a:r>
              <a:rPr lang="en-CA" sz="1100">
                <a:latin typeface="Verdana" panose="020B0604030504040204" pitchFamily="34" charset="0"/>
                <a:ea typeface="Verdana" panose="020B0604030504040204" pitchFamily="34" charset="0"/>
              </a:rPr>
              <a:t>Learning Rate: 0.05</a:t>
            </a:r>
          </a:p>
          <a:p>
            <a:pPr marL="285750" indent="-285750">
              <a:buFont typeface="Arial" panose="020B0604020202020204" pitchFamily="34" charset="0"/>
              <a:buChar char="•"/>
            </a:pPr>
            <a:r>
              <a:rPr lang="en-CA" sz="1100">
                <a:latin typeface="Verdana" panose="020B0604030504040204" pitchFamily="34" charset="0"/>
                <a:ea typeface="Verdana" panose="020B0604030504040204" pitchFamily="34" charset="0"/>
              </a:rPr>
              <a:t>Max Depth: 5 </a:t>
            </a:r>
          </a:p>
        </p:txBody>
      </p:sp>
      <p:sp>
        <p:nvSpPr>
          <p:cNvPr id="10" name="TextBox 9">
            <a:extLst>
              <a:ext uri="{FF2B5EF4-FFF2-40B4-BE49-F238E27FC236}">
                <a16:creationId xmlns:a16="http://schemas.microsoft.com/office/drawing/2014/main" id="{D4F9A45F-F8CF-BF57-2101-92F5D0F34D4E}"/>
              </a:ext>
            </a:extLst>
          </p:cNvPr>
          <p:cNvSpPr txBox="1"/>
          <p:nvPr/>
        </p:nvSpPr>
        <p:spPr>
          <a:xfrm>
            <a:off x="8425545" y="1769669"/>
            <a:ext cx="1956078" cy="430887"/>
          </a:xfrm>
          <a:prstGeom prst="rect">
            <a:avLst/>
          </a:prstGeom>
          <a:noFill/>
        </p:spPr>
        <p:txBody>
          <a:bodyPr wrap="square" rtlCol="0">
            <a:spAutoFit/>
          </a:bodyPr>
          <a:lstStyle/>
          <a:p>
            <a:pPr marL="285750" indent="-285750">
              <a:buFont typeface="Arial" panose="020B0604020202020204" pitchFamily="34" charset="0"/>
              <a:buChar char="•"/>
            </a:pPr>
            <a:r>
              <a:rPr lang="en-CA" sz="1100">
                <a:latin typeface="Verdana" panose="020B0604030504040204" pitchFamily="34" charset="0"/>
                <a:ea typeface="Verdana" panose="020B0604030504040204" pitchFamily="34" charset="0"/>
              </a:rPr>
              <a:t>Min Leaf: 4</a:t>
            </a:r>
          </a:p>
          <a:p>
            <a:pPr marL="285750" indent="-285750">
              <a:buFont typeface="Arial" panose="020B0604020202020204" pitchFamily="34" charset="0"/>
              <a:buChar char="•"/>
            </a:pPr>
            <a:r>
              <a:rPr lang="en-CA" sz="1100">
                <a:latin typeface="Verdana" panose="020B0604030504040204" pitchFamily="34" charset="0"/>
                <a:ea typeface="Verdana" panose="020B0604030504040204" pitchFamily="34" charset="0"/>
              </a:rPr>
              <a:t>Min Split: 10 </a:t>
            </a:r>
          </a:p>
        </p:txBody>
      </p:sp>
      <p:sp>
        <p:nvSpPr>
          <p:cNvPr id="11" name="TextBox 10">
            <a:extLst>
              <a:ext uri="{FF2B5EF4-FFF2-40B4-BE49-F238E27FC236}">
                <a16:creationId xmlns:a16="http://schemas.microsoft.com/office/drawing/2014/main" id="{8E34B6F6-4524-95B3-CA85-7A8EFAB3E26F}"/>
              </a:ext>
            </a:extLst>
          </p:cNvPr>
          <p:cNvSpPr txBox="1"/>
          <p:nvPr/>
        </p:nvSpPr>
        <p:spPr>
          <a:xfrm>
            <a:off x="9999297" y="1789832"/>
            <a:ext cx="1956078" cy="430887"/>
          </a:xfrm>
          <a:prstGeom prst="rect">
            <a:avLst/>
          </a:prstGeom>
          <a:noFill/>
        </p:spPr>
        <p:txBody>
          <a:bodyPr wrap="square" rtlCol="0">
            <a:spAutoFit/>
          </a:bodyPr>
          <a:lstStyle/>
          <a:p>
            <a:pPr marL="285750" indent="-285750">
              <a:buFont typeface="Arial" panose="020B0604020202020204" pitchFamily="34" charset="0"/>
              <a:buChar char="•"/>
            </a:pPr>
            <a:r>
              <a:rPr lang="en-CA" sz="1100">
                <a:latin typeface="Verdana" panose="020B0604030504040204" pitchFamily="34" charset="0"/>
                <a:ea typeface="Verdana" panose="020B0604030504040204" pitchFamily="34" charset="0"/>
              </a:rPr>
              <a:t>N = 100 </a:t>
            </a:r>
          </a:p>
          <a:p>
            <a:pPr marL="285750" indent="-285750">
              <a:buFont typeface="Arial" panose="020B0604020202020204" pitchFamily="34" charset="0"/>
              <a:buChar char="•"/>
            </a:pPr>
            <a:r>
              <a:rPr lang="en-CA" sz="1100">
                <a:latin typeface="Verdana" panose="020B0604030504040204" pitchFamily="34" charset="0"/>
                <a:ea typeface="Verdana" panose="020B0604030504040204" pitchFamily="34" charset="0"/>
              </a:rPr>
              <a:t>Subsample: 0.8</a:t>
            </a:r>
          </a:p>
        </p:txBody>
      </p:sp>
      <p:sp>
        <p:nvSpPr>
          <p:cNvPr id="14" name="Rectangle 13">
            <a:extLst>
              <a:ext uri="{FF2B5EF4-FFF2-40B4-BE49-F238E27FC236}">
                <a16:creationId xmlns:a16="http://schemas.microsoft.com/office/drawing/2014/main" id="{4C1B7130-B985-5CCB-0466-2E1F1B505D48}"/>
              </a:ext>
            </a:extLst>
          </p:cNvPr>
          <p:cNvSpPr/>
          <p:nvPr/>
        </p:nvSpPr>
        <p:spPr>
          <a:xfrm>
            <a:off x="3389243" y="1051851"/>
            <a:ext cx="2338318" cy="583537"/>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1200" err="1">
                <a:solidFill>
                  <a:schemeClr val="tx1"/>
                </a:solidFill>
                <a:latin typeface="Verdana" panose="020B0604030504040204" pitchFamily="34" charset="0"/>
                <a:ea typeface="Verdana" panose="020B0604030504040204" pitchFamily="34" charset="0"/>
              </a:rPr>
              <a:t>RandomForestRegressor</a:t>
            </a:r>
            <a:endParaRPr lang="en-CA" sz="1200">
              <a:solidFill>
                <a:schemeClr val="tx1"/>
              </a:solidFill>
              <a:latin typeface="Verdana" panose="020B0604030504040204" pitchFamily="34" charset="0"/>
              <a:ea typeface="Verdana" panose="020B0604030504040204" pitchFamily="34" charset="0"/>
            </a:endParaRPr>
          </a:p>
        </p:txBody>
      </p:sp>
      <p:sp>
        <p:nvSpPr>
          <p:cNvPr id="16" name="Arrow: Right 15">
            <a:extLst>
              <a:ext uri="{FF2B5EF4-FFF2-40B4-BE49-F238E27FC236}">
                <a16:creationId xmlns:a16="http://schemas.microsoft.com/office/drawing/2014/main" id="{10E60EFB-3A22-00A9-35F4-876B96A7A913}"/>
              </a:ext>
            </a:extLst>
          </p:cNvPr>
          <p:cNvSpPr/>
          <p:nvPr/>
        </p:nvSpPr>
        <p:spPr>
          <a:xfrm>
            <a:off x="5849903" y="1126705"/>
            <a:ext cx="368439" cy="461665"/>
          </a:xfrm>
          <a:prstGeom prst="rightArrow">
            <a:avLst/>
          </a:prstGeom>
          <a:solidFill>
            <a:srgbClr val="3471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TextBox 19">
            <a:extLst>
              <a:ext uri="{FF2B5EF4-FFF2-40B4-BE49-F238E27FC236}">
                <a16:creationId xmlns:a16="http://schemas.microsoft.com/office/drawing/2014/main" id="{CB72D95C-7933-68CC-A72D-DCFF1EE0BA23}"/>
              </a:ext>
            </a:extLst>
          </p:cNvPr>
          <p:cNvSpPr txBox="1"/>
          <p:nvPr/>
        </p:nvSpPr>
        <p:spPr>
          <a:xfrm>
            <a:off x="599146" y="2472715"/>
            <a:ext cx="4902444" cy="276999"/>
          </a:xfrm>
          <a:prstGeom prst="rect">
            <a:avLst/>
          </a:prstGeom>
          <a:noFill/>
        </p:spPr>
        <p:txBody>
          <a:bodyPr wrap="square" rtlCol="0">
            <a:spAutoFit/>
          </a:bodyPr>
          <a:lstStyle/>
          <a:p>
            <a:pPr algn="ctr"/>
            <a:r>
              <a:rPr lang="en-CA" sz="1200" b="1" u="sng" dirty="0">
                <a:latin typeface="Verdana" panose="020B0604030504040204" pitchFamily="34" charset="0"/>
                <a:ea typeface="Verdana" panose="020B0604030504040204" pitchFamily="34" charset="0"/>
              </a:rPr>
              <a:t>CMG: Next 20 Trading Days Compared to Previous 252</a:t>
            </a:r>
          </a:p>
        </p:txBody>
      </p:sp>
      <p:pic>
        <p:nvPicPr>
          <p:cNvPr id="22" name="Picture 21">
            <a:extLst>
              <a:ext uri="{FF2B5EF4-FFF2-40B4-BE49-F238E27FC236}">
                <a16:creationId xmlns:a16="http://schemas.microsoft.com/office/drawing/2014/main" id="{645EBD9B-3124-F675-0CA3-5FDFBEF4EAEB}"/>
              </a:ext>
            </a:extLst>
          </p:cNvPr>
          <p:cNvPicPr>
            <a:picLocks noChangeAspect="1"/>
          </p:cNvPicPr>
          <p:nvPr/>
        </p:nvPicPr>
        <p:blipFill>
          <a:blip r:embed="rId6"/>
          <a:stretch>
            <a:fillRect/>
          </a:stretch>
        </p:blipFill>
        <p:spPr>
          <a:xfrm>
            <a:off x="242155" y="2795972"/>
            <a:ext cx="5616427" cy="3681027"/>
          </a:xfrm>
          <a:prstGeom prst="rect">
            <a:avLst/>
          </a:prstGeom>
        </p:spPr>
      </p:pic>
      <p:sp>
        <p:nvSpPr>
          <p:cNvPr id="23" name="Rectangle 22">
            <a:extLst>
              <a:ext uri="{FF2B5EF4-FFF2-40B4-BE49-F238E27FC236}">
                <a16:creationId xmlns:a16="http://schemas.microsoft.com/office/drawing/2014/main" id="{B5A6482C-595F-B342-7DD4-F8519C4A2B1D}"/>
              </a:ext>
            </a:extLst>
          </p:cNvPr>
          <p:cNvSpPr/>
          <p:nvPr/>
        </p:nvSpPr>
        <p:spPr>
          <a:xfrm>
            <a:off x="6218342" y="2873829"/>
            <a:ext cx="5487988" cy="3285811"/>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TextBox 26">
            <a:extLst>
              <a:ext uri="{FF2B5EF4-FFF2-40B4-BE49-F238E27FC236}">
                <a16:creationId xmlns:a16="http://schemas.microsoft.com/office/drawing/2014/main" id="{74907211-6C6F-CE90-2006-2031E8387DC6}"/>
              </a:ext>
            </a:extLst>
          </p:cNvPr>
          <p:cNvSpPr txBox="1"/>
          <p:nvPr/>
        </p:nvSpPr>
        <p:spPr>
          <a:xfrm>
            <a:off x="6602362" y="2485244"/>
            <a:ext cx="4773740" cy="338554"/>
          </a:xfrm>
          <a:prstGeom prst="rect">
            <a:avLst/>
          </a:prstGeom>
          <a:noFill/>
        </p:spPr>
        <p:txBody>
          <a:bodyPr wrap="square" rtlCol="0">
            <a:spAutoFit/>
          </a:bodyPr>
          <a:lstStyle/>
          <a:p>
            <a:pPr algn="ctr"/>
            <a:r>
              <a:rPr lang="en-CA" sz="1600" b="1" u="sng"/>
              <a:t>CMG Predicted Results</a:t>
            </a:r>
          </a:p>
        </p:txBody>
      </p:sp>
      <p:graphicFrame>
        <p:nvGraphicFramePr>
          <p:cNvPr id="32" name="Table 31">
            <a:extLst>
              <a:ext uri="{FF2B5EF4-FFF2-40B4-BE49-F238E27FC236}">
                <a16:creationId xmlns:a16="http://schemas.microsoft.com/office/drawing/2014/main" id="{532FE38F-A85E-6E46-A8B3-E74F0B34BF5B}"/>
              </a:ext>
            </a:extLst>
          </p:cNvPr>
          <p:cNvGraphicFramePr>
            <a:graphicFrameLocks noGrp="1"/>
          </p:cNvGraphicFramePr>
          <p:nvPr>
            <p:extLst>
              <p:ext uri="{D42A27DB-BD31-4B8C-83A1-F6EECF244321}">
                <p14:modId xmlns:p14="http://schemas.microsoft.com/office/powerpoint/2010/main" val="766024663"/>
              </p:ext>
            </p:extLst>
          </p:nvPr>
        </p:nvGraphicFramePr>
        <p:xfrm>
          <a:off x="6320412" y="2934763"/>
          <a:ext cx="5336794" cy="3144492"/>
        </p:xfrm>
        <a:graphic>
          <a:graphicData uri="http://schemas.openxmlformats.org/drawingml/2006/table">
            <a:tbl>
              <a:tblPr firstRow="1" bandRow="1">
                <a:tableStyleId>{5C22544A-7EE6-4342-B048-85BDC9FD1C3A}</a:tableStyleId>
              </a:tblPr>
              <a:tblGrid>
                <a:gridCol w="2668397">
                  <a:extLst>
                    <a:ext uri="{9D8B030D-6E8A-4147-A177-3AD203B41FA5}">
                      <a16:colId xmlns:a16="http://schemas.microsoft.com/office/drawing/2014/main" val="2758919773"/>
                    </a:ext>
                  </a:extLst>
                </a:gridCol>
                <a:gridCol w="2668397">
                  <a:extLst>
                    <a:ext uri="{9D8B030D-6E8A-4147-A177-3AD203B41FA5}">
                      <a16:colId xmlns:a16="http://schemas.microsoft.com/office/drawing/2014/main" val="1928344095"/>
                    </a:ext>
                  </a:extLst>
                </a:gridCol>
              </a:tblGrid>
              <a:tr h="524082">
                <a:tc>
                  <a:txBody>
                    <a:bodyPr/>
                    <a:lstStyle/>
                    <a:p>
                      <a:pPr algn="ctr"/>
                      <a:r>
                        <a:rPr lang="en-CA" dirty="0"/>
                        <a:t>Rolling Window Model</a:t>
                      </a:r>
                    </a:p>
                  </a:txBody>
                  <a:tcPr anchor="ctr"/>
                </a:tc>
                <a:tc>
                  <a:txBody>
                    <a:bodyPr/>
                    <a:lstStyle/>
                    <a:p>
                      <a:pPr algn="ctr"/>
                      <a:r>
                        <a:rPr lang="en-CA" dirty="0"/>
                        <a:t>Results</a:t>
                      </a:r>
                    </a:p>
                  </a:txBody>
                  <a:tcPr anchor="ctr"/>
                </a:tc>
                <a:extLst>
                  <a:ext uri="{0D108BD9-81ED-4DB2-BD59-A6C34878D82A}">
                    <a16:rowId xmlns:a16="http://schemas.microsoft.com/office/drawing/2014/main" val="2992537637"/>
                  </a:ext>
                </a:extLst>
              </a:tr>
              <a:tr h="524082">
                <a:tc>
                  <a:txBody>
                    <a:bodyPr/>
                    <a:lstStyle/>
                    <a:p>
                      <a:pPr algn="ctr"/>
                      <a:r>
                        <a:rPr lang="en-CA" sz="1600"/>
                        <a:t>Latest Closing Price (July 19) </a:t>
                      </a:r>
                    </a:p>
                  </a:txBody>
                  <a:tcPr anchor="ctr"/>
                </a:tc>
                <a:tc>
                  <a:txBody>
                    <a:bodyPr/>
                    <a:lstStyle/>
                    <a:p>
                      <a:pPr algn="ctr"/>
                      <a:r>
                        <a:rPr lang="en-CA" sz="1600" dirty="0"/>
                        <a:t>$53.54</a:t>
                      </a:r>
                    </a:p>
                  </a:txBody>
                  <a:tcPr anchor="ctr"/>
                </a:tc>
                <a:extLst>
                  <a:ext uri="{0D108BD9-81ED-4DB2-BD59-A6C34878D82A}">
                    <a16:rowId xmlns:a16="http://schemas.microsoft.com/office/drawing/2014/main" val="3426631394"/>
                  </a:ext>
                </a:extLst>
              </a:tr>
              <a:tr h="524082">
                <a:tc>
                  <a:txBody>
                    <a:bodyPr/>
                    <a:lstStyle/>
                    <a:p>
                      <a:pPr algn="ctr"/>
                      <a:r>
                        <a:rPr lang="en-CA" sz="1600"/>
                        <a:t>Predicted Price (July 22)</a:t>
                      </a:r>
                    </a:p>
                  </a:txBody>
                  <a:tcPr anchor="ctr"/>
                </a:tc>
                <a:tc>
                  <a:txBody>
                    <a:bodyPr/>
                    <a:lstStyle/>
                    <a:p>
                      <a:pPr algn="ctr"/>
                      <a:r>
                        <a:rPr lang="en-CA" sz="1600" dirty="0"/>
                        <a:t>$53.66</a:t>
                      </a:r>
                    </a:p>
                  </a:txBody>
                  <a:tcPr anchor="ctr"/>
                </a:tc>
                <a:extLst>
                  <a:ext uri="{0D108BD9-81ED-4DB2-BD59-A6C34878D82A}">
                    <a16:rowId xmlns:a16="http://schemas.microsoft.com/office/drawing/2014/main" val="1434183274"/>
                  </a:ext>
                </a:extLst>
              </a:tr>
              <a:tr h="524082">
                <a:tc>
                  <a:txBody>
                    <a:bodyPr/>
                    <a:lstStyle/>
                    <a:p>
                      <a:pPr algn="ctr"/>
                      <a:r>
                        <a:rPr lang="en-CA" sz="1600"/>
                        <a:t>Predicted Price (July 29) </a:t>
                      </a:r>
                    </a:p>
                  </a:txBody>
                  <a:tcPr anchor="ctr"/>
                </a:tc>
                <a:tc>
                  <a:txBody>
                    <a:bodyPr/>
                    <a:lstStyle/>
                    <a:p>
                      <a:pPr algn="ctr"/>
                      <a:r>
                        <a:rPr lang="en-CA" sz="1600" dirty="0"/>
                        <a:t>$49.74</a:t>
                      </a:r>
                    </a:p>
                  </a:txBody>
                  <a:tcPr anchor="ctr"/>
                </a:tc>
                <a:extLst>
                  <a:ext uri="{0D108BD9-81ED-4DB2-BD59-A6C34878D82A}">
                    <a16:rowId xmlns:a16="http://schemas.microsoft.com/office/drawing/2014/main" val="866887814"/>
                  </a:ext>
                </a:extLst>
              </a:tr>
              <a:tr h="524082">
                <a:tc>
                  <a:txBody>
                    <a:bodyPr/>
                    <a:lstStyle/>
                    <a:p>
                      <a:pPr algn="ctr"/>
                      <a:r>
                        <a:rPr lang="en-CA" sz="1600"/>
                        <a:t>Expected Return</a:t>
                      </a:r>
                    </a:p>
                  </a:txBody>
                  <a:tcPr anchor="ctr"/>
                </a:tc>
                <a:tc>
                  <a:txBody>
                    <a:bodyPr/>
                    <a:lstStyle/>
                    <a:p>
                      <a:pPr algn="ctr"/>
                      <a:r>
                        <a:rPr lang="en-CA" sz="1600" b="1" dirty="0">
                          <a:solidFill>
                            <a:srgbClr val="FF0000"/>
                          </a:solidFill>
                        </a:rPr>
                        <a:t>(7.09%)</a:t>
                      </a:r>
                    </a:p>
                  </a:txBody>
                  <a:tcPr anchor="ctr"/>
                </a:tc>
                <a:extLst>
                  <a:ext uri="{0D108BD9-81ED-4DB2-BD59-A6C34878D82A}">
                    <a16:rowId xmlns:a16="http://schemas.microsoft.com/office/drawing/2014/main" val="1072001805"/>
                  </a:ext>
                </a:extLst>
              </a:tr>
              <a:tr h="52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600"/>
                        <a:t>R^2 / MSE</a:t>
                      </a:r>
                    </a:p>
                  </a:txBody>
                  <a:tcPr anchor="ctr"/>
                </a:tc>
                <a:tc>
                  <a:txBody>
                    <a:bodyPr/>
                    <a:lstStyle/>
                    <a:p>
                      <a:pPr algn="ctr"/>
                      <a:r>
                        <a:rPr lang="en-CA" sz="1600" dirty="0"/>
                        <a:t>0.4747 / 0.09</a:t>
                      </a:r>
                    </a:p>
                  </a:txBody>
                  <a:tcPr anchor="ctr"/>
                </a:tc>
                <a:extLst>
                  <a:ext uri="{0D108BD9-81ED-4DB2-BD59-A6C34878D82A}">
                    <a16:rowId xmlns:a16="http://schemas.microsoft.com/office/drawing/2014/main" val="1232963296"/>
                  </a:ext>
                </a:extLst>
              </a:tr>
            </a:tbl>
          </a:graphicData>
        </a:graphic>
      </p:graphicFrame>
    </p:spTree>
    <p:extLst>
      <p:ext uri="{BB962C8B-B14F-4D97-AF65-F5344CB8AC3E}">
        <p14:creationId xmlns:p14="http://schemas.microsoft.com/office/powerpoint/2010/main" val="28039694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1" name="TextBox 47">
            <a:extLst>
              <a:ext uri="{FF2B5EF4-FFF2-40B4-BE49-F238E27FC236}">
                <a16:creationId xmlns:a16="http://schemas.microsoft.com/office/drawing/2014/main" id="{0FBB6F4D-55B7-3717-B972-FB57E2F0FD84}"/>
              </a:ext>
            </a:extLst>
          </p:cNvPr>
          <p:cNvSpPr txBox="1"/>
          <p:nvPr/>
        </p:nvSpPr>
        <p:spPr>
          <a:xfrm>
            <a:off x="384174" y="3573593"/>
            <a:ext cx="5783264" cy="461665"/>
          </a:xfrm>
          <a:prstGeom prst="rect">
            <a:avLst/>
          </a:prstGeom>
          <a:noFill/>
        </p:spPr>
        <p:txBody>
          <a:bodyPr wrap="square" rtlCol="0" anchor="ctr">
            <a:spAutoFit/>
          </a:bodyPr>
          <a:lstStyle/>
          <a:p>
            <a:r>
              <a:rPr lang="en-US"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RISP-DM Model Part 5+6</a:t>
            </a:r>
          </a:p>
        </p:txBody>
      </p:sp>
      <p:sp>
        <p:nvSpPr>
          <p:cNvPr id="2" name="TextBox 47">
            <a:extLst>
              <a:ext uri="{FF2B5EF4-FFF2-40B4-BE49-F238E27FC236}">
                <a16:creationId xmlns:a16="http://schemas.microsoft.com/office/drawing/2014/main" id="{2586AC7D-2C94-3C6B-F76B-1670FDEE94C8}"/>
              </a:ext>
            </a:extLst>
          </p:cNvPr>
          <p:cNvSpPr txBox="1"/>
          <p:nvPr/>
        </p:nvSpPr>
        <p:spPr>
          <a:xfrm>
            <a:off x="384173" y="2365165"/>
            <a:ext cx="8078757" cy="830997"/>
          </a:xfrm>
          <a:prstGeom prst="rect">
            <a:avLst/>
          </a:prstGeom>
          <a:noFill/>
        </p:spPr>
        <p:txBody>
          <a:bodyPr wrap="square" rtlCol="0" anchor="ctr">
            <a:spAutoFit/>
          </a:bodyPr>
          <a:lstStyle/>
          <a:p>
            <a:r>
              <a:rPr lang="en-US" sz="48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valuation + Deployment</a:t>
            </a:r>
          </a:p>
        </p:txBody>
      </p:sp>
      <p:sp>
        <p:nvSpPr>
          <p:cNvPr id="4" name="Freeform 34">
            <a:extLst>
              <a:ext uri="{FF2B5EF4-FFF2-40B4-BE49-F238E27FC236}">
                <a16:creationId xmlns:a16="http://schemas.microsoft.com/office/drawing/2014/main" id="{650A7E07-7684-BD28-966E-0464C6E7728D}"/>
              </a:ext>
            </a:extLst>
          </p:cNvPr>
          <p:cNvSpPr>
            <a:spLocks noChangeArrowheads="1"/>
          </p:cNvSpPr>
          <p:nvPr/>
        </p:nvSpPr>
        <p:spPr bwMode="auto">
          <a:xfrm>
            <a:off x="8595360" y="2497926"/>
            <a:ext cx="2439132" cy="2151333"/>
          </a:xfrm>
          <a:custGeom>
            <a:avLst/>
            <a:gdLst>
              <a:gd name="connsiteX0" fmla="*/ 956596 w 1576173"/>
              <a:gd name="connsiteY0" fmla="*/ 1312836 h 1415933"/>
              <a:gd name="connsiteX1" fmla="*/ 974618 w 1576173"/>
              <a:gd name="connsiteY1" fmla="*/ 1333201 h 1415933"/>
              <a:gd name="connsiteX2" fmla="*/ 974618 w 1576173"/>
              <a:gd name="connsiteY2" fmla="*/ 1395569 h 1415933"/>
              <a:gd name="connsiteX3" fmla="*/ 956596 w 1576173"/>
              <a:gd name="connsiteY3" fmla="*/ 1415933 h 1415933"/>
              <a:gd name="connsiteX4" fmla="*/ 937372 w 1576173"/>
              <a:gd name="connsiteY4" fmla="*/ 1395569 h 1415933"/>
              <a:gd name="connsiteX5" fmla="*/ 937372 w 1576173"/>
              <a:gd name="connsiteY5" fmla="*/ 1333201 h 1415933"/>
              <a:gd name="connsiteX6" fmla="*/ 956596 w 1576173"/>
              <a:gd name="connsiteY6" fmla="*/ 1312836 h 1415933"/>
              <a:gd name="connsiteX7" fmla="*/ 615446 w 1576173"/>
              <a:gd name="connsiteY7" fmla="*/ 1312836 h 1415933"/>
              <a:gd name="connsiteX8" fmla="*/ 634088 w 1576173"/>
              <a:gd name="connsiteY8" fmla="*/ 1333201 h 1415933"/>
              <a:gd name="connsiteX9" fmla="*/ 634088 w 1576173"/>
              <a:gd name="connsiteY9" fmla="*/ 1395569 h 1415933"/>
              <a:gd name="connsiteX10" fmla="*/ 615446 w 1576173"/>
              <a:gd name="connsiteY10" fmla="*/ 1415933 h 1415933"/>
              <a:gd name="connsiteX11" fmla="*/ 596804 w 1576173"/>
              <a:gd name="connsiteY11" fmla="*/ 1395569 h 1415933"/>
              <a:gd name="connsiteX12" fmla="*/ 596804 w 1576173"/>
              <a:gd name="connsiteY12" fmla="*/ 1333201 h 1415933"/>
              <a:gd name="connsiteX13" fmla="*/ 615446 w 1576173"/>
              <a:gd name="connsiteY13" fmla="*/ 1312836 h 1415933"/>
              <a:gd name="connsiteX14" fmla="*/ 134974 w 1576173"/>
              <a:gd name="connsiteY14" fmla="*/ 999732 h 1415933"/>
              <a:gd name="connsiteX15" fmla="*/ 473530 w 1576173"/>
              <a:gd name="connsiteY15" fmla="*/ 999732 h 1415933"/>
              <a:gd name="connsiteX16" fmla="*/ 606710 w 1576173"/>
              <a:gd name="connsiteY16" fmla="*/ 1142617 h 1415933"/>
              <a:gd name="connsiteX17" fmla="*/ 607956 w 1576173"/>
              <a:gd name="connsiteY17" fmla="*/ 1145102 h 1415933"/>
              <a:gd name="connsiteX18" fmla="*/ 617914 w 1576173"/>
              <a:gd name="connsiteY18" fmla="*/ 1145102 h 1415933"/>
              <a:gd name="connsiteX19" fmla="*/ 955224 w 1576173"/>
              <a:gd name="connsiteY19" fmla="*/ 1145102 h 1415933"/>
              <a:gd name="connsiteX20" fmla="*/ 968914 w 1576173"/>
              <a:gd name="connsiteY20" fmla="*/ 1145102 h 1415933"/>
              <a:gd name="connsiteX21" fmla="*/ 968914 w 1576173"/>
              <a:gd name="connsiteY21" fmla="*/ 1142617 h 1415933"/>
              <a:gd name="connsiteX22" fmla="*/ 1103340 w 1576173"/>
              <a:gd name="connsiteY22" fmla="*/ 999732 h 1415933"/>
              <a:gd name="connsiteX23" fmla="*/ 1441896 w 1576173"/>
              <a:gd name="connsiteY23" fmla="*/ 999732 h 1415933"/>
              <a:gd name="connsiteX24" fmla="*/ 1575078 w 1576173"/>
              <a:gd name="connsiteY24" fmla="*/ 1142617 h 1415933"/>
              <a:gd name="connsiteX25" fmla="*/ 1562630 w 1576173"/>
              <a:gd name="connsiteY25" fmla="*/ 1166224 h 1415933"/>
              <a:gd name="connsiteX26" fmla="*/ 1537736 w 1576173"/>
              <a:gd name="connsiteY26" fmla="*/ 1152557 h 1415933"/>
              <a:gd name="connsiteX27" fmla="*/ 1441896 w 1576173"/>
              <a:gd name="connsiteY27" fmla="*/ 1038249 h 1415933"/>
              <a:gd name="connsiteX28" fmla="*/ 1103340 w 1576173"/>
              <a:gd name="connsiteY28" fmla="*/ 1038249 h 1415933"/>
              <a:gd name="connsiteX29" fmla="*/ 1007500 w 1576173"/>
              <a:gd name="connsiteY29" fmla="*/ 1152557 h 1415933"/>
              <a:gd name="connsiteX30" fmla="*/ 1089650 w 1576173"/>
              <a:gd name="connsiteY30" fmla="*/ 1287987 h 1415933"/>
              <a:gd name="connsiteX31" fmla="*/ 1112054 w 1576173"/>
              <a:gd name="connsiteY31" fmla="*/ 1391112 h 1415933"/>
              <a:gd name="connsiteX32" fmla="*/ 1098362 w 1576173"/>
              <a:gd name="connsiteY32" fmla="*/ 1414719 h 1415933"/>
              <a:gd name="connsiteX33" fmla="*/ 1074714 w 1576173"/>
              <a:gd name="connsiteY33" fmla="*/ 1399810 h 1415933"/>
              <a:gd name="connsiteX34" fmla="*/ 1052308 w 1576173"/>
              <a:gd name="connsiteY34" fmla="*/ 1297927 h 1415933"/>
              <a:gd name="connsiteX35" fmla="*/ 955224 w 1576173"/>
              <a:gd name="connsiteY35" fmla="*/ 1183619 h 1415933"/>
              <a:gd name="connsiteX36" fmla="*/ 617914 w 1576173"/>
              <a:gd name="connsiteY36" fmla="*/ 1183619 h 1415933"/>
              <a:gd name="connsiteX37" fmla="*/ 522072 w 1576173"/>
              <a:gd name="connsiteY37" fmla="*/ 1297927 h 1415933"/>
              <a:gd name="connsiteX38" fmla="*/ 494690 w 1576173"/>
              <a:gd name="connsiteY38" fmla="*/ 1399810 h 1415933"/>
              <a:gd name="connsiteX39" fmla="*/ 477264 w 1576173"/>
              <a:gd name="connsiteY39" fmla="*/ 1414719 h 1415933"/>
              <a:gd name="connsiteX40" fmla="*/ 471040 w 1576173"/>
              <a:gd name="connsiteY40" fmla="*/ 1413477 h 1415933"/>
              <a:gd name="connsiteX41" fmla="*/ 457348 w 1576173"/>
              <a:gd name="connsiteY41" fmla="*/ 1389870 h 1415933"/>
              <a:gd name="connsiteX42" fmla="*/ 483486 w 1576173"/>
              <a:gd name="connsiteY42" fmla="*/ 1287987 h 1415933"/>
              <a:gd name="connsiteX43" fmla="*/ 569370 w 1576173"/>
              <a:gd name="connsiteY43" fmla="*/ 1151314 h 1415933"/>
              <a:gd name="connsiteX44" fmla="*/ 473530 w 1576173"/>
              <a:gd name="connsiteY44" fmla="*/ 1038249 h 1415933"/>
              <a:gd name="connsiteX45" fmla="*/ 134974 w 1576173"/>
              <a:gd name="connsiteY45" fmla="*/ 1038249 h 1415933"/>
              <a:gd name="connsiteX46" fmla="*/ 39134 w 1576173"/>
              <a:gd name="connsiteY46" fmla="*/ 1152557 h 1415933"/>
              <a:gd name="connsiteX47" fmla="*/ 14240 w 1576173"/>
              <a:gd name="connsiteY47" fmla="*/ 1166224 h 1415933"/>
              <a:gd name="connsiteX48" fmla="*/ 548 w 1576173"/>
              <a:gd name="connsiteY48" fmla="*/ 1142617 h 1415933"/>
              <a:gd name="connsiteX49" fmla="*/ 134974 w 1576173"/>
              <a:gd name="connsiteY49" fmla="*/ 999732 h 1415933"/>
              <a:gd name="connsiteX50" fmla="*/ 782948 w 1576173"/>
              <a:gd name="connsiteY50" fmla="*/ 851266 h 1415933"/>
              <a:gd name="connsiteX51" fmla="*/ 668056 w 1576173"/>
              <a:gd name="connsiteY51" fmla="*/ 966157 h 1415933"/>
              <a:gd name="connsiteX52" fmla="*/ 782948 w 1576173"/>
              <a:gd name="connsiteY52" fmla="*/ 1081048 h 1415933"/>
              <a:gd name="connsiteX53" fmla="*/ 897838 w 1576173"/>
              <a:gd name="connsiteY53" fmla="*/ 966157 h 1415933"/>
              <a:gd name="connsiteX54" fmla="*/ 782948 w 1576173"/>
              <a:gd name="connsiteY54" fmla="*/ 851266 h 1415933"/>
              <a:gd name="connsiteX55" fmla="*/ 782948 w 1576173"/>
              <a:gd name="connsiteY55" fmla="*/ 812969 h 1415933"/>
              <a:gd name="connsiteX56" fmla="*/ 936136 w 1576173"/>
              <a:gd name="connsiteY56" fmla="*/ 966157 h 1415933"/>
              <a:gd name="connsiteX57" fmla="*/ 782948 w 1576173"/>
              <a:gd name="connsiteY57" fmla="*/ 1119345 h 1415933"/>
              <a:gd name="connsiteX58" fmla="*/ 629760 w 1576173"/>
              <a:gd name="connsiteY58" fmla="*/ 966157 h 1415933"/>
              <a:gd name="connsiteX59" fmla="*/ 782948 w 1576173"/>
              <a:gd name="connsiteY59" fmla="*/ 812969 h 1415933"/>
              <a:gd name="connsiteX60" fmla="*/ 1275192 w 1576173"/>
              <a:gd name="connsiteY60" fmla="*/ 708447 h 1415933"/>
              <a:gd name="connsiteX61" fmla="*/ 1158718 w 1576173"/>
              <a:gd name="connsiteY61" fmla="*/ 823338 h 1415933"/>
              <a:gd name="connsiteX62" fmla="*/ 1275192 w 1576173"/>
              <a:gd name="connsiteY62" fmla="*/ 938229 h 1415933"/>
              <a:gd name="connsiteX63" fmla="*/ 1391668 w 1576173"/>
              <a:gd name="connsiteY63" fmla="*/ 823338 h 1415933"/>
              <a:gd name="connsiteX64" fmla="*/ 1275192 w 1576173"/>
              <a:gd name="connsiteY64" fmla="*/ 708447 h 1415933"/>
              <a:gd name="connsiteX65" fmla="*/ 302926 w 1576173"/>
              <a:gd name="connsiteY65" fmla="*/ 708447 h 1415933"/>
              <a:gd name="connsiteX66" fmla="*/ 186452 w 1576173"/>
              <a:gd name="connsiteY66" fmla="*/ 823338 h 1415933"/>
              <a:gd name="connsiteX67" fmla="*/ 302926 w 1576173"/>
              <a:gd name="connsiteY67" fmla="*/ 938229 h 1415933"/>
              <a:gd name="connsiteX68" fmla="*/ 419400 w 1576173"/>
              <a:gd name="connsiteY68" fmla="*/ 823338 h 1415933"/>
              <a:gd name="connsiteX69" fmla="*/ 302926 w 1576173"/>
              <a:gd name="connsiteY69" fmla="*/ 708447 h 1415933"/>
              <a:gd name="connsiteX70" fmla="*/ 1275192 w 1576173"/>
              <a:gd name="connsiteY70" fmla="*/ 670150 h 1415933"/>
              <a:gd name="connsiteX71" fmla="*/ 1430492 w 1576173"/>
              <a:gd name="connsiteY71" fmla="*/ 823338 h 1415933"/>
              <a:gd name="connsiteX72" fmla="*/ 1275192 w 1576173"/>
              <a:gd name="connsiteY72" fmla="*/ 976526 h 1415933"/>
              <a:gd name="connsiteX73" fmla="*/ 1118640 w 1576173"/>
              <a:gd name="connsiteY73" fmla="*/ 823338 h 1415933"/>
              <a:gd name="connsiteX74" fmla="*/ 1275192 w 1576173"/>
              <a:gd name="connsiteY74" fmla="*/ 670150 h 1415933"/>
              <a:gd name="connsiteX75" fmla="*/ 302926 w 1576173"/>
              <a:gd name="connsiteY75" fmla="*/ 670150 h 1415933"/>
              <a:gd name="connsiteX76" fmla="*/ 458224 w 1576173"/>
              <a:gd name="connsiteY76" fmla="*/ 823338 h 1415933"/>
              <a:gd name="connsiteX77" fmla="*/ 302926 w 1576173"/>
              <a:gd name="connsiteY77" fmla="*/ 976526 h 1415933"/>
              <a:gd name="connsiteX78" fmla="*/ 146376 w 1576173"/>
              <a:gd name="connsiteY78" fmla="*/ 823338 h 1415933"/>
              <a:gd name="connsiteX79" fmla="*/ 302926 w 1576173"/>
              <a:gd name="connsiteY79" fmla="*/ 670150 h 1415933"/>
              <a:gd name="connsiteX80" fmla="*/ 854562 w 1576173"/>
              <a:gd name="connsiteY80" fmla="*/ 39877 h 1415933"/>
              <a:gd name="connsiteX81" fmla="*/ 811068 w 1576173"/>
              <a:gd name="connsiteY81" fmla="*/ 83492 h 1415933"/>
              <a:gd name="connsiteX82" fmla="*/ 811068 w 1576173"/>
              <a:gd name="connsiteY82" fmla="*/ 206861 h 1415933"/>
              <a:gd name="connsiteX83" fmla="*/ 791184 w 1576173"/>
              <a:gd name="connsiteY83" fmla="*/ 206861 h 1415933"/>
              <a:gd name="connsiteX84" fmla="*/ 706682 w 1576173"/>
              <a:gd name="connsiteY84" fmla="*/ 291599 h 1415933"/>
              <a:gd name="connsiteX85" fmla="*/ 791184 w 1576173"/>
              <a:gd name="connsiteY85" fmla="*/ 376338 h 1415933"/>
              <a:gd name="connsiteX86" fmla="*/ 811068 w 1576173"/>
              <a:gd name="connsiteY86" fmla="*/ 376338 h 1415933"/>
              <a:gd name="connsiteX87" fmla="*/ 811068 w 1576173"/>
              <a:gd name="connsiteY87" fmla="*/ 498460 h 1415933"/>
              <a:gd name="connsiteX88" fmla="*/ 854562 w 1576173"/>
              <a:gd name="connsiteY88" fmla="*/ 542076 h 1415933"/>
              <a:gd name="connsiteX89" fmla="*/ 940308 w 1576173"/>
              <a:gd name="connsiteY89" fmla="*/ 542076 h 1415933"/>
              <a:gd name="connsiteX90" fmla="*/ 1062090 w 1576173"/>
              <a:gd name="connsiteY90" fmla="*/ 438645 h 1415933"/>
              <a:gd name="connsiteX91" fmla="*/ 1183874 w 1576173"/>
              <a:gd name="connsiteY91" fmla="*/ 542076 h 1415933"/>
              <a:gd name="connsiteX92" fmla="*/ 1275834 w 1576173"/>
              <a:gd name="connsiteY92" fmla="*/ 542076 h 1415933"/>
              <a:gd name="connsiteX93" fmla="*/ 1320570 w 1576173"/>
              <a:gd name="connsiteY93" fmla="*/ 498460 h 1415933"/>
              <a:gd name="connsiteX94" fmla="*/ 1320570 w 1576173"/>
              <a:gd name="connsiteY94" fmla="*/ 153277 h 1415933"/>
              <a:gd name="connsiteX95" fmla="*/ 1206242 w 1576173"/>
              <a:gd name="connsiteY95" fmla="*/ 39877 h 1415933"/>
              <a:gd name="connsiteX96" fmla="*/ 376126 w 1576173"/>
              <a:gd name="connsiteY96" fmla="*/ 39877 h 1415933"/>
              <a:gd name="connsiteX97" fmla="*/ 261800 w 1576173"/>
              <a:gd name="connsiteY97" fmla="*/ 153277 h 1415933"/>
              <a:gd name="connsiteX98" fmla="*/ 261800 w 1576173"/>
              <a:gd name="connsiteY98" fmla="*/ 498460 h 1415933"/>
              <a:gd name="connsiteX99" fmla="*/ 306536 w 1576173"/>
              <a:gd name="connsiteY99" fmla="*/ 542076 h 1415933"/>
              <a:gd name="connsiteX100" fmla="*/ 399738 w 1576173"/>
              <a:gd name="connsiteY100" fmla="*/ 542076 h 1415933"/>
              <a:gd name="connsiteX101" fmla="*/ 433290 w 1576173"/>
              <a:gd name="connsiteY101" fmla="*/ 570737 h 1415933"/>
              <a:gd name="connsiteX102" fmla="*/ 516550 w 1576173"/>
              <a:gd name="connsiteY102" fmla="*/ 646752 h 1415933"/>
              <a:gd name="connsiteX103" fmla="*/ 601054 w 1576173"/>
              <a:gd name="connsiteY103" fmla="*/ 570737 h 1415933"/>
              <a:gd name="connsiteX104" fmla="*/ 633364 w 1576173"/>
              <a:gd name="connsiteY104" fmla="*/ 542076 h 1415933"/>
              <a:gd name="connsiteX105" fmla="*/ 726564 w 1576173"/>
              <a:gd name="connsiteY105" fmla="*/ 542076 h 1415933"/>
              <a:gd name="connsiteX106" fmla="*/ 772544 w 1576173"/>
              <a:gd name="connsiteY106" fmla="*/ 498460 h 1415933"/>
              <a:gd name="connsiteX107" fmla="*/ 772544 w 1576173"/>
              <a:gd name="connsiteY107" fmla="*/ 413722 h 1415933"/>
              <a:gd name="connsiteX108" fmla="*/ 668158 w 1576173"/>
              <a:gd name="connsiteY108" fmla="*/ 291599 h 1415933"/>
              <a:gd name="connsiteX109" fmla="*/ 772544 w 1576173"/>
              <a:gd name="connsiteY109" fmla="*/ 169477 h 1415933"/>
              <a:gd name="connsiteX110" fmla="*/ 772544 w 1576173"/>
              <a:gd name="connsiteY110" fmla="*/ 83492 h 1415933"/>
              <a:gd name="connsiteX111" fmla="*/ 726564 w 1576173"/>
              <a:gd name="connsiteY111" fmla="*/ 39877 h 1415933"/>
              <a:gd name="connsiteX112" fmla="*/ 376126 w 1576173"/>
              <a:gd name="connsiteY112" fmla="*/ 0 h 1415933"/>
              <a:gd name="connsiteX113" fmla="*/ 726564 w 1576173"/>
              <a:gd name="connsiteY113" fmla="*/ 0 h 1415933"/>
              <a:gd name="connsiteX114" fmla="*/ 791184 w 1576173"/>
              <a:gd name="connsiteY114" fmla="*/ 29908 h 1415933"/>
              <a:gd name="connsiteX115" fmla="*/ 854562 w 1576173"/>
              <a:gd name="connsiteY115" fmla="*/ 0 h 1415933"/>
              <a:gd name="connsiteX116" fmla="*/ 1206242 w 1576173"/>
              <a:gd name="connsiteY116" fmla="*/ 0 h 1415933"/>
              <a:gd name="connsiteX117" fmla="*/ 1359094 w 1576173"/>
              <a:gd name="connsiteY117" fmla="*/ 153277 h 1415933"/>
              <a:gd name="connsiteX118" fmla="*/ 1359094 w 1576173"/>
              <a:gd name="connsiteY118" fmla="*/ 498460 h 1415933"/>
              <a:gd name="connsiteX119" fmla="*/ 1275834 w 1576173"/>
              <a:gd name="connsiteY119" fmla="*/ 581953 h 1415933"/>
              <a:gd name="connsiteX120" fmla="*/ 1178904 w 1576173"/>
              <a:gd name="connsiteY120" fmla="*/ 581953 h 1415933"/>
              <a:gd name="connsiteX121" fmla="*/ 1145350 w 1576173"/>
              <a:gd name="connsiteY121" fmla="*/ 552045 h 1415933"/>
              <a:gd name="connsiteX122" fmla="*/ 1062090 w 1576173"/>
              <a:gd name="connsiteY122" fmla="*/ 477276 h 1415933"/>
              <a:gd name="connsiteX123" fmla="*/ 977588 w 1576173"/>
              <a:gd name="connsiteY123" fmla="*/ 552045 h 1415933"/>
              <a:gd name="connsiteX124" fmla="*/ 946520 w 1576173"/>
              <a:gd name="connsiteY124" fmla="*/ 581953 h 1415933"/>
              <a:gd name="connsiteX125" fmla="*/ 854562 w 1576173"/>
              <a:gd name="connsiteY125" fmla="*/ 581953 h 1415933"/>
              <a:gd name="connsiteX126" fmla="*/ 791184 w 1576173"/>
              <a:gd name="connsiteY126" fmla="*/ 550799 h 1415933"/>
              <a:gd name="connsiteX127" fmla="*/ 726564 w 1576173"/>
              <a:gd name="connsiteY127" fmla="*/ 581953 h 1415933"/>
              <a:gd name="connsiteX128" fmla="*/ 639576 w 1576173"/>
              <a:gd name="connsiteY128" fmla="*/ 581953 h 1415933"/>
              <a:gd name="connsiteX129" fmla="*/ 516550 w 1576173"/>
              <a:gd name="connsiteY129" fmla="*/ 685383 h 1415933"/>
              <a:gd name="connsiteX130" fmla="*/ 394768 w 1576173"/>
              <a:gd name="connsiteY130" fmla="*/ 581953 h 1415933"/>
              <a:gd name="connsiteX131" fmla="*/ 306536 w 1576173"/>
              <a:gd name="connsiteY131" fmla="*/ 581953 h 1415933"/>
              <a:gd name="connsiteX132" fmla="*/ 223276 w 1576173"/>
              <a:gd name="connsiteY132" fmla="*/ 498460 h 1415933"/>
              <a:gd name="connsiteX133" fmla="*/ 223276 w 1576173"/>
              <a:gd name="connsiteY133" fmla="*/ 153277 h 1415933"/>
              <a:gd name="connsiteX134" fmla="*/ 376126 w 1576173"/>
              <a:gd name="connsiteY134" fmla="*/ 0 h 141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76173" h="1415933">
                <a:moveTo>
                  <a:pt x="956596" y="1312836"/>
                </a:moveTo>
                <a:cubicBezTo>
                  <a:pt x="966208" y="1312836"/>
                  <a:pt x="974618" y="1321746"/>
                  <a:pt x="974618" y="1333201"/>
                </a:cubicBezTo>
                <a:lnTo>
                  <a:pt x="974618" y="1395569"/>
                </a:lnTo>
                <a:cubicBezTo>
                  <a:pt x="974618" y="1407024"/>
                  <a:pt x="966208" y="1415933"/>
                  <a:pt x="956596" y="1415933"/>
                </a:cubicBezTo>
                <a:cubicBezTo>
                  <a:pt x="944580" y="1415933"/>
                  <a:pt x="937372" y="1407024"/>
                  <a:pt x="937372" y="1395569"/>
                </a:cubicBezTo>
                <a:lnTo>
                  <a:pt x="937372" y="1333201"/>
                </a:lnTo>
                <a:cubicBezTo>
                  <a:pt x="937372" y="1321746"/>
                  <a:pt x="944580" y="1312836"/>
                  <a:pt x="956596" y="1312836"/>
                </a:cubicBezTo>
                <a:close/>
                <a:moveTo>
                  <a:pt x="615446" y="1312836"/>
                </a:moveTo>
                <a:cubicBezTo>
                  <a:pt x="625932" y="1312836"/>
                  <a:pt x="634088" y="1321746"/>
                  <a:pt x="634088" y="1333201"/>
                </a:cubicBezTo>
                <a:lnTo>
                  <a:pt x="634088" y="1395569"/>
                </a:lnTo>
                <a:cubicBezTo>
                  <a:pt x="634088" y="1407024"/>
                  <a:pt x="625932" y="1415933"/>
                  <a:pt x="615446" y="1415933"/>
                </a:cubicBezTo>
                <a:cubicBezTo>
                  <a:pt x="606124" y="1415933"/>
                  <a:pt x="596804" y="1407024"/>
                  <a:pt x="596804" y="1395569"/>
                </a:cubicBezTo>
                <a:lnTo>
                  <a:pt x="596804" y="1333201"/>
                </a:lnTo>
                <a:cubicBezTo>
                  <a:pt x="596804" y="1321746"/>
                  <a:pt x="606124" y="1312836"/>
                  <a:pt x="615446" y="1312836"/>
                </a:cubicBezTo>
                <a:close/>
                <a:moveTo>
                  <a:pt x="134974" y="999732"/>
                </a:moveTo>
                <a:lnTo>
                  <a:pt x="473530" y="999732"/>
                </a:lnTo>
                <a:cubicBezTo>
                  <a:pt x="554434" y="999732"/>
                  <a:pt x="575594" y="1032037"/>
                  <a:pt x="606710" y="1142617"/>
                </a:cubicBezTo>
                <a:cubicBezTo>
                  <a:pt x="607956" y="1143859"/>
                  <a:pt x="607956" y="1145102"/>
                  <a:pt x="607956" y="1145102"/>
                </a:cubicBezTo>
                <a:cubicBezTo>
                  <a:pt x="610444" y="1145102"/>
                  <a:pt x="614180" y="1145102"/>
                  <a:pt x="617914" y="1145102"/>
                </a:cubicBezTo>
                <a:lnTo>
                  <a:pt x="955224" y="1145102"/>
                </a:lnTo>
                <a:cubicBezTo>
                  <a:pt x="960202" y="1145102"/>
                  <a:pt x="965180" y="1145102"/>
                  <a:pt x="968914" y="1145102"/>
                </a:cubicBezTo>
                <a:cubicBezTo>
                  <a:pt x="968914" y="1145102"/>
                  <a:pt x="968914" y="1143859"/>
                  <a:pt x="968914" y="1142617"/>
                </a:cubicBezTo>
                <a:cubicBezTo>
                  <a:pt x="1000032" y="1032037"/>
                  <a:pt x="1022436" y="999732"/>
                  <a:pt x="1103340" y="999732"/>
                </a:cubicBezTo>
                <a:lnTo>
                  <a:pt x="1441896" y="999732"/>
                </a:lnTo>
                <a:cubicBezTo>
                  <a:pt x="1522800" y="999732"/>
                  <a:pt x="1543960" y="1032037"/>
                  <a:pt x="1575078" y="1142617"/>
                </a:cubicBezTo>
                <a:cubicBezTo>
                  <a:pt x="1578812" y="1152557"/>
                  <a:pt x="1572588" y="1163739"/>
                  <a:pt x="1562630" y="1166224"/>
                </a:cubicBezTo>
                <a:cubicBezTo>
                  <a:pt x="1551428" y="1169951"/>
                  <a:pt x="1541470" y="1163739"/>
                  <a:pt x="1537736" y="1152557"/>
                </a:cubicBezTo>
                <a:cubicBezTo>
                  <a:pt x="1506620" y="1038249"/>
                  <a:pt x="1490438" y="1038249"/>
                  <a:pt x="1441896" y="1038249"/>
                </a:cubicBezTo>
                <a:lnTo>
                  <a:pt x="1103340" y="1038249"/>
                </a:lnTo>
                <a:cubicBezTo>
                  <a:pt x="1054798" y="1038249"/>
                  <a:pt x="1038618" y="1038249"/>
                  <a:pt x="1007500" y="1152557"/>
                </a:cubicBezTo>
                <a:cubicBezTo>
                  <a:pt x="1048574" y="1166224"/>
                  <a:pt x="1067244" y="1205983"/>
                  <a:pt x="1089650" y="1287987"/>
                </a:cubicBezTo>
                <a:lnTo>
                  <a:pt x="1112054" y="1391112"/>
                </a:lnTo>
                <a:cubicBezTo>
                  <a:pt x="1114544" y="1401052"/>
                  <a:pt x="1108320" y="1412234"/>
                  <a:pt x="1098362" y="1414719"/>
                </a:cubicBezTo>
                <a:cubicBezTo>
                  <a:pt x="1087160" y="1415962"/>
                  <a:pt x="1077202" y="1409749"/>
                  <a:pt x="1074714" y="1399810"/>
                </a:cubicBezTo>
                <a:lnTo>
                  <a:pt x="1052308" y="1297927"/>
                </a:lnTo>
                <a:cubicBezTo>
                  <a:pt x="1019946" y="1183619"/>
                  <a:pt x="1005010" y="1183619"/>
                  <a:pt x="955224" y="1183619"/>
                </a:cubicBezTo>
                <a:lnTo>
                  <a:pt x="617914" y="1183619"/>
                </a:lnTo>
                <a:cubicBezTo>
                  <a:pt x="569370" y="1183619"/>
                  <a:pt x="553190" y="1183619"/>
                  <a:pt x="522072" y="1297927"/>
                </a:cubicBezTo>
                <a:lnTo>
                  <a:pt x="494690" y="1399810"/>
                </a:lnTo>
                <a:cubicBezTo>
                  <a:pt x="493444" y="1408507"/>
                  <a:pt x="485976" y="1414719"/>
                  <a:pt x="477264" y="1414719"/>
                </a:cubicBezTo>
                <a:cubicBezTo>
                  <a:pt x="474774" y="1414719"/>
                  <a:pt x="473530" y="1414719"/>
                  <a:pt x="471040" y="1413477"/>
                </a:cubicBezTo>
                <a:cubicBezTo>
                  <a:pt x="461082" y="1410992"/>
                  <a:pt x="454860" y="1401052"/>
                  <a:pt x="457348" y="1389870"/>
                </a:cubicBezTo>
                <a:lnTo>
                  <a:pt x="483486" y="1287987"/>
                </a:lnTo>
                <a:cubicBezTo>
                  <a:pt x="507136" y="1203498"/>
                  <a:pt x="525806" y="1164982"/>
                  <a:pt x="569370" y="1151314"/>
                </a:cubicBezTo>
                <a:cubicBezTo>
                  <a:pt x="537008" y="1038249"/>
                  <a:pt x="522072" y="1038249"/>
                  <a:pt x="473530" y="1038249"/>
                </a:cubicBezTo>
                <a:lnTo>
                  <a:pt x="134974" y="1038249"/>
                </a:lnTo>
                <a:cubicBezTo>
                  <a:pt x="86432" y="1038249"/>
                  <a:pt x="71496" y="1038249"/>
                  <a:pt x="39134" y="1152557"/>
                </a:cubicBezTo>
                <a:cubicBezTo>
                  <a:pt x="36644" y="1163739"/>
                  <a:pt x="25442" y="1169951"/>
                  <a:pt x="14240" y="1166224"/>
                </a:cubicBezTo>
                <a:cubicBezTo>
                  <a:pt x="4282" y="1163739"/>
                  <a:pt x="-1940" y="1152557"/>
                  <a:pt x="548" y="1142617"/>
                </a:cubicBezTo>
                <a:cubicBezTo>
                  <a:pt x="31666" y="1032037"/>
                  <a:pt x="54070" y="999732"/>
                  <a:pt x="134974" y="999732"/>
                </a:cubicBezTo>
                <a:close/>
                <a:moveTo>
                  <a:pt x="782948" y="851266"/>
                </a:moveTo>
                <a:cubicBezTo>
                  <a:pt x="719944" y="851266"/>
                  <a:pt x="668056" y="903152"/>
                  <a:pt x="668056" y="966157"/>
                </a:cubicBezTo>
                <a:cubicBezTo>
                  <a:pt x="668056" y="1029162"/>
                  <a:pt x="719944" y="1081048"/>
                  <a:pt x="782948" y="1081048"/>
                </a:cubicBezTo>
                <a:cubicBezTo>
                  <a:pt x="847188" y="1081048"/>
                  <a:pt x="897838" y="1029162"/>
                  <a:pt x="897838" y="966157"/>
                </a:cubicBezTo>
                <a:cubicBezTo>
                  <a:pt x="897838" y="903152"/>
                  <a:pt x="847188" y="851266"/>
                  <a:pt x="782948" y="851266"/>
                </a:cubicBezTo>
                <a:close/>
                <a:moveTo>
                  <a:pt x="782948" y="812969"/>
                </a:moveTo>
                <a:cubicBezTo>
                  <a:pt x="868190" y="812969"/>
                  <a:pt x="936136" y="882151"/>
                  <a:pt x="936136" y="966157"/>
                </a:cubicBezTo>
                <a:cubicBezTo>
                  <a:pt x="936136" y="1050163"/>
                  <a:pt x="868190" y="1119345"/>
                  <a:pt x="782948" y="1119345"/>
                </a:cubicBezTo>
                <a:cubicBezTo>
                  <a:pt x="698942" y="1119345"/>
                  <a:pt x="629760" y="1050163"/>
                  <a:pt x="629760" y="966157"/>
                </a:cubicBezTo>
                <a:cubicBezTo>
                  <a:pt x="629760" y="882151"/>
                  <a:pt x="698942" y="812969"/>
                  <a:pt x="782948" y="812969"/>
                </a:cubicBezTo>
                <a:close/>
                <a:moveTo>
                  <a:pt x="1275192" y="708447"/>
                </a:moveTo>
                <a:cubicBezTo>
                  <a:pt x="1210066" y="708447"/>
                  <a:pt x="1158718" y="760333"/>
                  <a:pt x="1158718" y="823338"/>
                </a:cubicBezTo>
                <a:cubicBezTo>
                  <a:pt x="1158718" y="886343"/>
                  <a:pt x="1210066" y="938229"/>
                  <a:pt x="1275192" y="938229"/>
                </a:cubicBezTo>
                <a:cubicBezTo>
                  <a:pt x="1339066" y="938229"/>
                  <a:pt x="1391668" y="886343"/>
                  <a:pt x="1391668" y="823338"/>
                </a:cubicBezTo>
                <a:cubicBezTo>
                  <a:pt x="1391668" y="760333"/>
                  <a:pt x="1339066" y="708447"/>
                  <a:pt x="1275192" y="708447"/>
                </a:cubicBezTo>
                <a:close/>
                <a:moveTo>
                  <a:pt x="302926" y="708447"/>
                </a:moveTo>
                <a:cubicBezTo>
                  <a:pt x="237800" y="708447"/>
                  <a:pt x="186452" y="760333"/>
                  <a:pt x="186452" y="823338"/>
                </a:cubicBezTo>
                <a:cubicBezTo>
                  <a:pt x="186452" y="886343"/>
                  <a:pt x="237800" y="938229"/>
                  <a:pt x="302926" y="938229"/>
                </a:cubicBezTo>
                <a:cubicBezTo>
                  <a:pt x="366798" y="938229"/>
                  <a:pt x="419400" y="886343"/>
                  <a:pt x="419400" y="823338"/>
                </a:cubicBezTo>
                <a:cubicBezTo>
                  <a:pt x="419400" y="760333"/>
                  <a:pt x="366798" y="708447"/>
                  <a:pt x="302926" y="708447"/>
                </a:cubicBezTo>
                <a:close/>
                <a:moveTo>
                  <a:pt x="1275192" y="670150"/>
                </a:moveTo>
                <a:cubicBezTo>
                  <a:pt x="1360358" y="670150"/>
                  <a:pt x="1430492" y="739332"/>
                  <a:pt x="1430492" y="823338"/>
                </a:cubicBezTo>
                <a:cubicBezTo>
                  <a:pt x="1430492" y="908580"/>
                  <a:pt x="1360358" y="976526"/>
                  <a:pt x="1275192" y="976526"/>
                </a:cubicBezTo>
                <a:cubicBezTo>
                  <a:pt x="1188776" y="976526"/>
                  <a:pt x="1118640" y="908580"/>
                  <a:pt x="1118640" y="823338"/>
                </a:cubicBezTo>
                <a:cubicBezTo>
                  <a:pt x="1118640" y="739332"/>
                  <a:pt x="1188776" y="670150"/>
                  <a:pt x="1275192" y="670150"/>
                </a:cubicBezTo>
                <a:close/>
                <a:moveTo>
                  <a:pt x="302926" y="670150"/>
                </a:moveTo>
                <a:cubicBezTo>
                  <a:pt x="388088" y="670150"/>
                  <a:pt x="458224" y="739332"/>
                  <a:pt x="458224" y="823338"/>
                </a:cubicBezTo>
                <a:cubicBezTo>
                  <a:pt x="458224" y="908580"/>
                  <a:pt x="388088" y="976526"/>
                  <a:pt x="302926" y="976526"/>
                </a:cubicBezTo>
                <a:cubicBezTo>
                  <a:pt x="216510" y="976526"/>
                  <a:pt x="146376" y="908580"/>
                  <a:pt x="146376" y="823338"/>
                </a:cubicBezTo>
                <a:cubicBezTo>
                  <a:pt x="146376" y="739332"/>
                  <a:pt x="216510" y="670150"/>
                  <a:pt x="302926" y="670150"/>
                </a:cubicBezTo>
                <a:close/>
                <a:moveTo>
                  <a:pt x="854562" y="39877"/>
                </a:moveTo>
                <a:cubicBezTo>
                  <a:pt x="830950" y="39877"/>
                  <a:pt x="811068" y="58569"/>
                  <a:pt x="811068" y="83492"/>
                </a:cubicBezTo>
                <a:lnTo>
                  <a:pt x="811068" y="206861"/>
                </a:lnTo>
                <a:lnTo>
                  <a:pt x="791184" y="206861"/>
                </a:lnTo>
                <a:cubicBezTo>
                  <a:pt x="745206" y="206861"/>
                  <a:pt x="706682" y="244246"/>
                  <a:pt x="706682" y="291599"/>
                </a:cubicBezTo>
                <a:cubicBezTo>
                  <a:pt x="706682" y="337707"/>
                  <a:pt x="745206" y="376338"/>
                  <a:pt x="791184" y="376338"/>
                </a:cubicBezTo>
                <a:lnTo>
                  <a:pt x="811068" y="376338"/>
                </a:lnTo>
                <a:lnTo>
                  <a:pt x="811068" y="498460"/>
                </a:lnTo>
                <a:cubicBezTo>
                  <a:pt x="811068" y="522137"/>
                  <a:pt x="830950" y="542076"/>
                  <a:pt x="854562" y="542076"/>
                </a:cubicBezTo>
                <a:lnTo>
                  <a:pt x="940308" y="542076"/>
                </a:lnTo>
                <a:cubicBezTo>
                  <a:pt x="949006" y="483507"/>
                  <a:pt x="1001200" y="438645"/>
                  <a:pt x="1062090" y="438645"/>
                </a:cubicBezTo>
                <a:cubicBezTo>
                  <a:pt x="1122982" y="438645"/>
                  <a:pt x="1175176" y="483507"/>
                  <a:pt x="1183874" y="542076"/>
                </a:cubicBezTo>
                <a:lnTo>
                  <a:pt x="1275834" y="542076"/>
                </a:lnTo>
                <a:cubicBezTo>
                  <a:pt x="1300688" y="542076"/>
                  <a:pt x="1320570" y="522137"/>
                  <a:pt x="1320570" y="498460"/>
                </a:cubicBezTo>
                <a:lnTo>
                  <a:pt x="1320570" y="153277"/>
                </a:lnTo>
                <a:cubicBezTo>
                  <a:pt x="1320570" y="90969"/>
                  <a:pt x="1268378" y="39877"/>
                  <a:pt x="1206242" y="39877"/>
                </a:cubicBezTo>
                <a:close/>
                <a:moveTo>
                  <a:pt x="376126" y="39877"/>
                </a:moveTo>
                <a:cubicBezTo>
                  <a:pt x="312750" y="39877"/>
                  <a:pt x="261800" y="90969"/>
                  <a:pt x="261800" y="153277"/>
                </a:cubicBezTo>
                <a:lnTo>
                  <a:pt x="261800" y="498460"/>
                </a:lnTo>
                <a:cubicBezTo>
                  <a:pt x="261800" y="522137"/>
                  <a:pt x="281682" y="542076"/>
                  <a:pt x="306536" y="542076"/>
                </a:cubicBezTo>
                <a:lnTo>
                  <a:pt x="399738" y="542076"/>
                </a:lnTo>
                <a:cubicBezTo>
                  <a:pt x="417136" y="542076"/>
                  <a:pt x="430804" y="554537"/>
                  <a:pt x="433290" y="570737"/>
                </a:cubicBezTo>
                <a:cubicBezTo>
                  <a:pt x="438262" y="613106"/>
                  <a:pt x="473056" y="646752"/>
                  <a:pt x="516550" y="646752"/>
                </a:cubicBezTo>
                <a:cubicBezTo>
                  <a:pt x="561288" y="646752"/>
                  <a:pt x="596082" y="613106"/>
                  <a:pt x="601054" y="570737"/>
                </a:cubicBezTo>
                <a:cubicBezTo>
                  <a:pt x="602296" y="554537"/>
                  <a:pt x="615966" y="542076"/>
                  <a:pt x="633364" y="542076"/>
                </a:cubicBezTo>
                <a:lnTo>
                  <a:pt x="726564" y="542076"/>
                </a:lnTo>
                <a:cubicBezTo>
                  <a:pt x="752662" y="542076"/>
                  <a:pt x="772544" y="522137"/>
                  <a:pt x="772544" y="498460"/>
                </a:cubicBezTo>
                <a:lnTo>
                  <a:pt x="772544" y="413722"/>
                </a:lnTo>
                <a:cubicBezTo>
                  <a:pt x="712896" y="404999"/>
                  <a:pt x="668158" y="352661"/>
                  <a:pt x="668158" y="291599"/>
                </a:cubicBezTo>
                <a:cubicBezTo>
                  <a:pt x="668158" y="229292"/>
                  <a:pt x="712896" y="178200"/>
                  <a:pt x="772544" y="169477"/>
                </a:cubicBezTo>
                <a:lnTo>
                  <a:pt x="772544" y="83492"/>
                </a:lnTo>
                <a:cubicBezTo>
                  <a:pt x="772544" y="58569"/>
                  <a:pt x="752662" y="39877"/>
                  <a:pt x="726564" y="39877"/>
                </a:cubicBezTo>
                <a:close/>
                <a:moveTo>
                  <a:pt x="376126" y="0"/>
                </a:moveTo>
                <a:lnTo>
                  <a:pt x="726564" y="0"/>
                </a:lnTo>
                <a:cubicBezTo>
                  <a:pt x="752662" y="0"/>
                  <a:pt x="776272" y="12462"/>
                  <a:pt x="791184" y="29908"/>
                </a:cubicBezTo>
                <a:cubicBezTo>
                  <a:pt x="806096" y="12462"/>
                  <a:pt x="829708" y="0"/>
                  <a:pt x="854562" y="0"/>
                </a:cubicBezTo>
                <a:lnTo>
                  <a:pt x="1206242" y="0"/>
                </a:lnTo>
                <a:cubicBezTo>
                  <a:pt x="1290746" y="0"/>
                  <a:pt x="1359094" y="69785"/>
                  <a:pt x="1359094" y="153277"/>
                </a:cubicBezTo>
                <a:lnTo>
                  <a:pt x="1359094" y="498460"/>
                </a:lnTo>
                <a:cubicBezTo>
                  <a:pt x="1359094" y="543322"/>
                  <a:pt x="1321812" y="581953"/>
                  <a:pt x="1275834" y="581953"/>
                </a:cubicBezTo>
                <a:lnTo>
                  <a:pt x="1178904" y="581953"/>
                </a:lnTo>
                <a:cubicBezTo>
                  <a:pt x="1161506" y="581953"/>
                  <a:pt x="1147836" y="568245"/>
                  <a:pt x="1145350" y="552045"/>
                </a:cubicBezTo>
                <a:cubicBezTo>
                  <a:pt x="1141622" y="508430"/>
                  <a:pt x="1105584" y="477276"/>
                  <a:pt x="1062090" y="477276"/>
                </a:cubicBezTo>
                <a:cubicBezTo>
                  <a:pt x="1018596" y="477276"/>
                  <a:pt x="982558" y="508430"/>
                  <a:pt x="977588" y="552045"/>
                </a:cubicBezTo>
                <a:cubicBezTo>
                  <a:pt x="976346" y="568245"/>
                  <a:pt x="962676" y="581953"/>
                  <a:pt x="946520" y="581953"/>
                </a:cubicBezTo>
                <a:lnTo>
                  <a:pt x="854562" y="581953"/>
                </a:lnTo>
                <a:cubicBezTo>
                  <a:pt x="829708" y="581953"/>
                  <a:pt x="806096" y="569491"/>
                  <a:pt x="791184" y="550799"/>
                </a:cubicBezTo>
                <a:cubicBezTo>
                  <a:pt x="776272" y="569491"/>
                  <a:pt x="752662" y="581953"/>
                  <a:pt x="726564" y="581953"/>
                </a:cubicBezTo>
                <a:lnTo>
                  <a:pt x="639576" y="581953"/>
                </a:lnTo>
                <a:cubicBezTo>
                  <a:pt x="629636" y="640522"/>
                  <a:pt x="577442" y="685383"/>
                  <a:pt x="516550" y="685383"/>
                </a:cubicBezTo>
                <a:cubicBezTo>
                  <a:pt x="455658" y="685383"/>
                  <a:pt x="404708" y="640522"/>
                  <a:pt x="394768" y="581953"/>
                </a:cubicBezTo>
                <a:lnTo>
                  <a:pt x="306536" y="581953"/>
                </a:lnTo>
                <a:cubicBezTo>
                  <a:pt x="260556" y="581953"/>
                  <a:pt x="223276" y="543322"/>
                  <a:pt x="223276" y="498460"/>
                </a:cubicBezTo>
                <a:lnTo>
                  <a:pt x="223276" y="153277"/>
                </a:lnTo>
                <a:cubicBezTo>
                  <a:pt x="223276" y="69785"/>
                  <a:pt x="291624" y="0"/>
                  <a:pt x="376126" y="0"/>
                </a:cubicBezTo>
                <a:close/>
              </a:path>
            </a:pathLst>
          </a:custGeom>
          <a:solidFill>
            <a:schemeClr val="bg1"/>
          </a:solidFill>
          <a:ln>
            <a:noFill/>
          </a:ln>
          <a:effectLst/>
        </p:spPr>
        <p:txBody>
          <a:bodyPr wrap="square" anchor="ctr">
            <a:noAutofit/>
          </a:bodyPr>
          <a:lstStyle/>
          <a:p>
            <a:endParaRPr lang="en-US">
              <a:latin typeface="Poppins" pitchFamily="2" charset="77"/>
            </a:endParaRPr>
          </a:p>
        </p:txBody>
      </p:sp>
    </p:spTree>
    <p:extLst>
      <p:ext uri="{BB962C8B-B14F-4D97-AF65-F5344CB8AC3E}">
        <p14:creationId xmlns:p14="http://schemas.microsoft.com/office/powerpoint/2010/main" val="415219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A5A2CDE-F516-E2B2-0C61-0345D49A25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 name="Objeto 4" hidden="1">
                        <a:extLst>
                          <a:ext uri="{FF2B5EF4-FFF2-40B4-BE49-F238E27FC236}">
                            <a16:creationId xmlns:a16="http://schemas.microsoft.com/office/drawing/2014/main" id="{2A5A2CDE-F516-E2B2-0C61-0345D49A2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3C1C9D04-B96F-4BA9-0FC3-B834FF807252}"/>
              </a:ext>
            </a:extLst>
          </p:cNvPr>
          <p:cNvSpPr txBox="1">
            <a:spLocks/>
          </p:cNvSpPr>
          <p:nvPr/>
        </p:nvSpPr>
        <p:spPr>
          <a:xfrm>
            <a:off x="531586" y="2728757"/>
            <a:ext cx="3617810" cy="107721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Data Collection Period</a:t>
            </a:r>
          </a:p>
          <a:p>
            <a:pPr marL="285750" indent="-285750" algn="l">
              <a:buFont typeface="Arial" panose="020B0604020202020204" pitchFamily="34" charset="0"/>
              <a:buChar char="•"/>
            </a:pPr>
            <a:r>
              <a:rPr lang="en-US" sz="1400" dirty="0"/>
              <a:t>Start date: January 2, 2020</a:t>
            </a:r>
          </a:p>
          <a:p>
            <a:pPr marL="285750" indent="-285750" algn="l">
              <a:buFont typeface="Arial" panose="020B0604020202020204" pitchFamily="34" charset="0"/>
              <a:buChar char="•"/>
            </a:pPr>
            <a:r>
              <a:rPr lang="en-US" sz="1400" dirty="0"/>
              <a:t>End date: June 26, 2024</a:t>
            </a:r>
          </a:p>
          <a:p>
            <a:pPr marL="285750" indent="-285750" algn="l">
              <a:buFont typeface="Arial" panose="020B0604020202020204" pitchFamily="34" charset="0"/>
              <a:buChar char="•"/>
            </a:pPr>
            <a:r>
              <a:rPr lang="en-US" sz="1400" dirty="0"/>
              <a:t>Collect price and basic trading data for S&amp;P 500 companies</a:t>
            </a:r>
          </a:p>
        </p:txBody>
      </p:sp>
      <p:sp>
        <p:nvSpPr>
          <p:cNvPr id="14" name="Elipse 13">
            <a:extLst>
              <a:ext uri="{FF2B5EF4-FFF2-40B4-BE49-F238E27FC236}">
                <a16:creationId xmlns:a16="http://schemas.microsoft.com/office/drawing/2014/main" id="{2012AEE7-565D-4808-EFFE-12CF21971ABB}"/>
              </a:ext>
            </a:extLst>
          </p:cNvPr>
          <p:cNvSpPr/>
          <p:nvPr/>
        </p:nvSpPr>
        <p:spPr>
          <a:xfrm>
            <a:off x="531586" y="2030948"/>
            <a:ext cx="609600" cy="609600"/>
          </a:xfrm>
          <a:prstGeom prst="ellipse">
            <a:avLst/>
          </a:prstGeom>
          <a:solidFill>
            <a:srgbClr val="34717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a:t>1</a:t>
            </a:r>
          </a:p>
        </p:txBody>
      </p:sp>
      <p:sp>
        <p:nvSpPr>
          <p:cNvPr id="15" name="Elipse 14">
            <a:extLst>
              <a:ext uri="{FF2B5EF4-FFF2-40B4-BE49-F238E27FC236}">
                <a16:creationId xmlns:a16="http://schemas.microsoft.com/office/drawing/2014/main" id="{E8620D18-9F9B-19DB-DE81-7FBF76DFEFB9}"/>
              </a:ext>
            </a:extLst>
          </p:cNvPr>
          <p:cNvSpPr/>
          <p:nvPr/>
        </p:nvSpPr>
        <p:spPr>
          <a:xfrm>
            <a:off x="4840732" y="2030682"/>
            <a:ext cx="609600" cy="609600"/>
          </a:xfrm>
          <a:prstGeom prst="ellipse">
            <a:avLst/>
          </a:prstGeom>
          <a:solidFill>
            <a:srgbClr val="5AE0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a:t>2</a:t>
            </a:r>
          </a:p>
        </p:txBody>
      </p:sp>
      <p:sp>
        <p:nvSpPr>
          <p:cNvPr id="16" name="Elipse 15">
            <a:extLst>
              <a:ext uri="{FF2B5EF4-FFF2-40B4-BE49-F238E27FC236}">
                <a16:creationId xmlns:a16="http://schemas.microsoft.com/office/drawing/2014/main" id="{BCAA987C-C193-9905-16D5-A2CF46BFC75E}"/>
              </a:ext>
            </a:extLst>
          </p:cNvPr>
          <p:cNvSpPr/>
          <p:nvPr/>
        </p:nvSpPr>
        <p:spPr>
          <a:xfrm>
            <a:off x="9077329" y="2052138"/>
            <a:ext cx="609600" cy="6096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a:t>3</a:t>
            </a:r>
          </a:p>
        </p:txBody>
      </p:sp>
      <p:grpSp>
        <p:nvGrpSpPr>
          <p:cNvPr id="4101" name="Grupo 4100">
            <a:extLst>
              <a:ext uri="{FF2B5EF4-FFF2-40B4-BE49-F238E27FC236}">
                <a16:creationId xmlns:a16="http://schemas.microsoft.com/office/drawing/2014/main" id="{25145286-E8EC-47C4-A72C-227663DFD981}"/>
              </a:ext>
            </a:extLst>
          </p:cNvPr>
          <p:cNvGrpSpPr/>
          <p:nvPr/>
        </p:nvGrpSpPr>
        <p:grpSpPr>
          <a:xfrm>
            <a:off x="400051" y="868200"/>
            <a:ext cx="11420475" cy="0"/>
            <a:chOff x="400051" y="2699657"/>
            <a:chExt cx="11420475" cy="0"/>
          </a:xfrm>
        </p:grpSpPr>
        <p:cxnSp>
          <p:nvCxnSpPr>
            <p:cNvPr id="12" name="Conector recto de flecha 11">
              <a:extLst>
                <a:ext uri="{FF2B5EF4-FFF2-40B4-BE49-F238E27FC236}">
                  <a16:creationId xmlns:a16="http://schemas.microsoft.com/office/drawing/2014/main" id="{B55316B0-DB1F-B3A9-E088-17652CF86109}"/>
                </a:ext>
              </a:extLst>
            </p:cNvPr>
            <p:cNvCxnSpPr>
              <a:cxnSpLocks/>
            </p:cNvCxnSpPr>
            <p:nvPr/>
          </p:nvCxnSpPr>
          <p:spPr>
            <a:xfrm>
              <a:off x="10947855" y="2699657"/>
              <a:ext cx="872671" cy="0"/>
            </a:xfrm>
            <a:prstGeom prst="straightConnector1">
              <a:avLst/>
            </a:prstGeom>
            <a:ln w="57150" cap="flat">
              <a:solidFill>
                <a:srgbClr val="ADB9CA"/>
              </a:solidFill>
              <a:round/>
              <a:tailEnd type="arrow" w="med" len="sm"/>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a16="http://schemas.microsoft.com/office/drawing/2014/main" id="{092F9846-3E5E-1011-7D1A-CD4655D1BB5F}"/>
                </a:ext>
              </a:extLst>
            </p:cNvPr>
            <p:cNvCxnSpPr>
              <a:cxnSpLocks/>
            </p:cNvCxnSpPr>
            <p:nvPr/>
          </p:nvCxnSpPr>
          <p:spPr>
            <a:xfrm>
              <a:off x="9988963" y="2699657"/>
              <a:ext cx="872671" cy="0"/>
            </a:xfrm>
            <a:prstGeom prst="straightConnector1">
              <a:avLst/>
            </a:prstGeom>
            <a:ln w="57150" cap="flat">
              <a:solidFill>
                <a:srgbClr val="92D050"/>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091D3510-838E-6756-7AB6-E084E32CF84A}"/>
                </a:ext>
              </a:extLst>
            </p:cNvPr>
            <p:cNvCxnSpPr>
              <a:cxnSpLocks/>
            </p:cNvCxnSpPr>
            <p:nvPr/>
          </p:nvCxnSpPr>
          <p:spPr>
            <a:xfrm>
              <a:off x="9030072" y="2699657"/>
              <a:ext cx="872671" cy="0"/>
            </a:xfrm>
            <a:prstGeom prst="straightConnector1">
              <a:avLst/>
            </a:prstGeom>
            <a:ln w="57150" cap="flat">
              <a:solidFill>
                <a:srgbClr val="5AE0BB"/>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D1A503BC-17F2-41F4-994E-D127F7331E64}"/>
                </a:ext>
              </a:extLst>
            </p:cNvPr>
            <p:cNvCxnSpPr>
              <a:cxnSpLocks/>
            </p:cNvCxnSpPr>
            <p:nvPr/>
          </p:nvCxnSpPr>
          <p:spPr>
            <a:xfrm>
              <a:off x="8071181" y="2699657"/>
              <a:ext cx="872671" cy="0"/>
            </a:xfrm>
            <a:prstGeom prst="straightConnector1">
              <a:avLst/>
            </a:prstGeom>
            <a:ln w="57150" cap="flat">
              <a:solidFill>
                <a:srgbClr val="5AE0BB"/>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a16="http://schemas.microsoft.com/office/drawing/2014/main" id="{299C22D7-6591-CDF1-2EA7-5C90F124FA06}"/>
                </a:ext>
              </a:extLst>
            </p:cNvPr>
            <p:cNvCxnSpPr>
              <a:cxnSpLocks/>
            </p:cNvCxnSpPr>
            <p:nvPr/>
          </p:nvCxnSpPr>
          <p:spPr>
            <a:xfrm>
              <a:off x="7112290" y="2699657"/>
              <a:ext cx="872671" cy="0"/>
            </a:xfrm>
            <a:prstGeom prst="straightConnector1">
              <a:avLst/>
            </a:prstGeom>
            <a:ln w="57150" cap="flat">
              <a:solidFill>
                <a:srgbClr val="5AE0BB"/>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a16="http://schemas.microsoft.com/office/drawing/2014/main" id="{FF3CDBAB-E15A-C4D1-3269-339C58F68650}"/>
                </a:ext>
              </a:extLst>
            </p:cNvPr>
            <p:cNvCxnSpPr>
              <a:cxnSpLocks/>
            </p:cNvCxnSpPr>
            <p:nvPr/>
          </p:nvCxnSpPr>
          <p:spPr>
            <a:xfrm>
              <a:off x="6153398" y="2699657"/>
              <a:ext cx="872671" cy="0"/>
            </a:xfrm>
            <a:prstGeom prst="straightConnector1">
              <a:avLst/>
            </a:prstGeom>
            <a:ln w="57150" cap="flat">
              <a:solidFill>
                <a:srgbClr val="5AE0BB"/>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7" name="Conector recto de flecha 26">
              <a:extLst>
                <a:ext uri="{FF2B5EF4-FFF2-40B4-BE49-F238E27FC236}">
                  <a16:creationId xmlns:a16="http://schemas.microsoft.com/office/drawing/2014/main" id="{677AEEC4-4F86-E570-7DD0-36C95B31E444}"/>
                </a:ext>
              </a:extLst>
            </p:cNvPr>
            <p:cNvCxnSpPr>
              <a:cxnSpLocks/>
            </p:cNvCxnSpPr>
            <p:nvPr/>
          </p:nvCxnSpPr>
          <p:spPr>
            <a:xfrm>
              <a:off x="5194507" y="2699657"/>
              <a:ext cx="872671" cy="0"/>
            </a:xfrm>
            <a:prstGeom prst="straightConnector1">
              <a:avLst/>
            </a:prstGeom>
            <a:ln w="57150" cap="flat">
              <a:solidFill>
                <a:srgbClr val="347170"/>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a16="http://schemas.microsoft.com/office/drawing/2014/main" id="{B2F16733-EF8D-6EE9-5C3C-2D71FD109FD7}"/>
                </a:ext>
              </a:extLst>
            </p:cNvPr>
            <p:cNvCxnSpPr>
              <a:cxnSpLocks/>
            </p:cNvCxnSpPr>
            <p:nvPr/>
          </p:nvCxnSpPr>
          <p:spPr>
            <a:xfrm>
              <a:off x="4235616" y="2699657"/>
              <a:ext cx="872671" cy="0"/>
            </a:xfrm>
            <a:prstGeom prst="straightConnector1">
              <a:avLst/>
            </a:prstGeom>
            <a:ln w="57150" cap="flat">
              <a:solidFill>
                <a:srgbClr val="347170"/>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11DC9902-B63F-851A-24BE-9ACB2BDD3DE6}"/>
                </a:ext>
              </a:extLst>
            </p:cNvPr>
            <p:cNvCxnSpPr>
              <a:cxnSpLocks/>
            </p:cNvCxnSpPr>
            <p:nvPr/>
          </p:nvCxnSpPr>
          <p:spPr>
            <a:xfrm>
              <a:off x="3276725" y="2699657"/>
              <a:ext cx="872671" cy="0"/>
            </a:xfrm>
            <a:prstGeom prst="straightConnector1">
              <a:avLst/>
            </a:prstGeom>
            <a:ln w="57150" cap="flat">
              <a:solidFill>
                <a:srgbClr val="347170"/>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FC22049D-9AEF-389D-D838-F107AC8D3E7A}"/>
                </a:ext>
              </a:extLst>
            </p:cNvPr>
            <p:cNvCxnSpPr>
              <a:cxnSpLocks/>
            </p:cNvCxnSpPr>
            <p:nvPr/>
          </p:nvCxnSpPr>
          <p:spPr>
            <a:xfrm>
              <a:off x="2317833" y="2699657"/>
              <a:ext cx="872671" cy="0"/>
            </a:xfrm>
            <a:prstGeom prst="straightConnector1">
              <a:avLst/>
            </a:prstGeom>
            <a:ln w="57150" cap="flat">
              <a:solidFill>
                <a:srgbClr val="347170"/>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4093090B-2C2F-691C-33B0-CA632983C1C7}"/>
                </a:ext>
              </a:extLst>
            </p:cNvPr>
            <p:cNvCxnSpPr>
              <a:cxnSpLocks/>
            </p:cNvCxnSpPr>
            <p:nvPr/>
          </p:nvCxnSpPr>
          <p:spPr>
            <a:xfrm>
              <a:off x="1358942" y="2699657"/>
              <a:ext cx="872671" cy="0"/>
            </a:xfrm>
            <a:prstGeom prst="straightConnector1">
              <a:avLst/>
            </a:prstGeom>
            <a:ln w="57150" cap="flat">
              <a:solidFill>
                <a:srgbClr val="347170"/>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4096" name="Conector recto de flecha 4095">
              <a:extLst>
                <a:ext uri="{FF2B5EF4-FFF2-40B4-BE49-F238E27FC236}">
                  <a16:creationId xmlns:a16="http://schemas.microsoft.com/office/drawing/2014/main" id="{2B116B16-38CB-023C-4407-6CC707AE68E7}"/>
                </a:ext>
              </a:extLst>
            </p:cNvPr>
            <p:cNvCxnSpPr>
              <a:cxnSpLocks/>
            </p:cNvCxnSpPr>
            <p:nvPr/>
          </p:nvCxnSpPr>
          <p:spPr>
            <a:xfrm>
              <a:off x="400051" y="2699657"/>
              <a:ext cx="872671" cy="0"/>
            </a:xfrm>
            <a:prstGeom prst="straightConnector1">
              <a:avLst/>
            </a:prstGeom>
            <a:ln w="57150" cap="flat">
              <a:solidFill>
                <a:srgbClr val="347170"/>
              </a:solidFill>
              <a:round/>
              <a:tailEnd type="none" w="med" len="sm"/>
            </a:ln>
          </p:spPr>
          <p:style>
            <a:lnRef idx="1">
              <a:schemeClr val="accent1"/>
            </a:lnRef>
            <a:fillRef idx="0">
              <a:schemeClr val="accent1"/>
            </a:fillRef>
            <a:effectRef idx="0">
              <a:schemeClr val="accent1"/>
            </a:effectRef>
            <a:fontRef idx="minor">
              <a:schemeClr val="tx1"/>
            </a:fontRef>
          </p:style>
        </p:cxnSp>
      </p:grpSp>
      <p:sp>
        <p:nvSpPr>
          <p:cNvPr id="4102" name="Cerrar llave 4101">
            <a:extLst>
              <a:ext uri="{FF2B5EF4-FFF2-40B4-BE49-F238E27FC236}">
                <a16:creationId xmlns:a16="http://schemas.microsoft.com/office/drawing/2014/main" id="{962A6BD8-CF89-CDA8-FC41-1FA03D625066}"/>
              </a:ext>
            </a:extLst>
          </p:cNvPr>
          <p:cNvSpPr/>
          <p:nvPr/>
        </p:nvSpPr>
        <p:spPr>
          <a:xfrm rot="5400000">
            <a:off x="10774561" y="206587"/>
            <a:ext cx="244487" cy="1815685"/>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3" name="Cerrar llave 4102">
            <a:extLst>
              <a:ext uri="{FF2B5EF4-FFF2-40B4-BE49-F238E27FC236}">
                <a16:creationId xmlns:a16="http://schemas.microsoft.com/office/drawing/2014/main" id="{5149B48F-3CFC-7E93-9FF6-306A63127148}"/>
              </a:ext>
            </a:extLst>
          </p:cNvPr>
          <p:cNvSpPr/>
          <p:nvPr/>
        </p:nvSpPr>
        <p:spPr>
          <a:xfrm rot="5400000">
            <a:off x="3147776" y="-1693202"/>
            <a:ext cx="179972" cy="5675426"/>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4" name="Cerrar llave 4103">
            <a:extLst>
              <a:ext uri="{FF2B5EF4-FFF2-40B4-BE49-F238E27FC236}">
                <a16:creationId xmlns:a16="http://schemas.microsoft.com/office/drawing/2014/main" id="{450B21F5-8711-90A3-3CCA-F99731F2B356}"/>
              </a:ext>
            </a:extLst>
          </p:cNvPr>
          <p:cNvSpPr/>
          <p:nvPr/>
        </p:nvSpPr>
        <p:spPr>
          <a:xfrm rot="5400000">
            <a:off x="7942223" y="-726004"/>
            <a:ext cx="179992" cy="3741050"/>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14" name="Subtitle 2">
            <a:extLst>
              <a:ext uri="{FF2B5EF4-FFF2-40B4-BE49-F238E27FC236}">
                <a16:creationId xmlns:a16="http://schemas.microsoft.com/office/drawing/2014/main" id="{0EEDD65D-E0EA-43AE-D46F-8D1195B5F648}"/>
              </a:ext>
            </a:extLst>
          </p:cNvPr>
          <p:cNvSpPr txBox="1">
            <a:spLocks/>
          </p:cNvSpPr>
          <p:nvPr/>
        </p:nvSpPr>
        <p:spPr>
          <a:xfrm>
            <a:off x="4840732" y="2728491"/>
            <a:ext cx="3545261" cy="1723549"/>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Modelling Period</a:t>
            </a:r>
          </a:p>
          <a:p>
            <a:pPr marL="285750" indent="-285750" algn="l">
              <a:buFont typeface="Arial" panose="020B0604020202020204" pitchFamily="34" charset="0"/>
              <a:buChar char="•"/>
            </a:pPr>
            <a:r>
              <a:rPr lang="en-US" sz="1400" dirty="0"/>
              <a:t>Approached to allocate the client’s funds for the week of July 22</a:t>
            </a:r>
          </a:p>
          <a:p>
            <a:pPr marL="285750" indent="-285750" algn="l">
              <a:buFont typeface="Arial" panose="020B0604020202020204" pitchFamily="34" charset="0"/>
              <a:buChar char="•"/>
            </a:pPr>
            <a:r>
              <a:rPr lang="en-US" sz="1400" dirty="0"/>
              <a:t>Use this time to build models and test performance on data collected</a:t>
            </a:r>
          </a:p>
          <a:p>
            <a:pPr marL="285750" indent="-285750" algn="l">
              <a:buFont typeface="Arial" panose="020B0604020202020204" pitchFamily="34" charset="0"/>
              <a:buChar char="•"/>
            </a:pPr>
            <a:r>
              <a:rPr lang="en-US" sz="1400" dirty="0"/>
              <a:t>Perform predictions and allocate portfolio in preparation for the trading period</a:t>
            </a:r>
          </a:p>
        </p:txBody>
      </p:sp>
      <p:sp>
        <p:nvSpPr>
          <p:cNvPr id="4115" name="Subtitle 2">
            <a:extLst>
              <a:ext uri="{FF2B5EF4-FFF2-40B4-BE49-F238E27FC236}">
                <a16:creationId xmlns:a16="http://schemas.microsoft.com/office/drawing/2014/main" id="{CB0603EB-93EE-D2FB-CB25-A97D8C7F50C2}"/>
              </a:ext>
            </a:extLst>
          </p:cNvPr>
          <p:cNvSpPr txBox="1">
            <a:spLocks/>
          </p:cNvSpPr>
          <p:nvPr/>
        </p:nvSpPr>
        <p:spPr>
          <a:xfrm>
            <a:off x="9077329" y="2728757"/>
            <a:ext cx="2657471" cy="1723549"/>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a:t>Trading Period</a:t>
            </a:r>
          </a:p>
          <a:p>
            <a:pPr marL="285750" indent="-285750" algn="l">
              <a:buFont typeface="Arial" panose="020B0604020202020204" pitchFamily="34" charset="0"/>
              <a:buChar char="•"/>
            </a:pPr>
            <a:r>
              <a:rPr lang="en-US" sz="1400"/>
              <a:t>Buy on Monday, July 22, 2024</a:t>
            </a:r>
          </a:p>
          <a:p>
            <a:pPr marL="285750" indent="-285750" algn="l">
              <a:buFont typeface="Arial" panose="020B0604020202020204" pitchFamily="34" charset="0"/>
              <a:buChar char="•"/>
            </a:pPr>
            <a:r>
              <a:rPr lang="en-US" sz="1400"/>
              <a:t>Sell on Friday, July 26, 2024</a:t>
            </a:r>
          </a:p>
          <a:p>
            <a:pPr algn="l"/>
            <a:r>
              <a:rPr lang="en-US" sz="1400" b="1"/>
              <a:t>Post-Trading</a:t>
            </a:r>
          </a:p>
          <a:p>
            <a:pPr marL="285750" indent="-285750" algn="l">
              <a:buFont typeface="Arial" panose="020B0604020202020204" pitchFamily="34" charset="0"/>
              <a:buChar char="•"/>
            </a:pPr>
            <a:r>
              <a:rPr lang="en-US" sz="1400"/>
              <a:t>Evaluate and reflect on performance</a:t>
            </a:r>
          </a:p>
        </p:txBody>
      </p:sp>
      <p:cxnSp>
        <p:nvCxnSpPr>
          <p:cNvPr id="4120" name="Conector: angular 4119">
            <a:extLst>
              <a:ext uri="{FF2B5EF4-FFF2-40B4-BE49-F238E27FC236}">
                <a16:creationId xmlns:a16="http://schemas.microsoft.com/office/drawing/2014/main" id="{4DF526BB-28A0-1D45-AD97-5718886F6C09}"/>
              </a:ext>
            </a:extLst>
          </p:cNvPr>
          <p:cNvCxnSpPr>
            <a:cxnSpLocks/>
            <a:stCxn id="14" idx="0"/>
            <a:endCxn id="4103" idx="1"/>
          </p:cNvCxnSpPr>
          <p:nvPr/>
        </p:nvCxnSpPr>
        <p:spPr>
          <a:xfrm rot="5400000" flipH="1" flipV="1">
            <a:off x="1638849" y="432035"/>
            <a:ext cx="796451" cy="2401376"/>
          </a:xfrm>
          <a:prstGeom prst="bentConnector3">
            <a:avLst>
              <a:gd name="adj1" fmla="val 73547"/>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4" name="Conector: angular 4123">
            <a:extLst>
              <a:ext uri="{FF2B5EF4-FFF2-40B4-BE49-F238E27FC236}">
                <a16:creationId xmlns:a16="http://schemas.microsoft.com/office/drawing/2014/main" id="{6B5B12F5-B3FD-91F0-FE10-3FFE5B755A99}"/>
              </a:ext>
            </a:extLst>
          </p:cNvPr>
          <p:cNvCxnSpPr>
            <a:cxnSpLocks/>
            <a:stCxn id="15" idx="0"/>
            <a:endCxn id="4104" idx="1"/>
          </p:cNvCxnSpPr>
          <p:nvPr/>
        </p:nvCxnSpPr>
        <p:spPr>
          <a:xfrm rot="5400000" flipH="1" flipV="1">
            <a:off x="6190793" y="189257"/>
            <a:ext cx="796165" cy="2886687"/>
          </a:xfrm>
          <a:prstGeom prst="bentConnector3">
            <a:avLst>
              <a:gd name="adj1" fmla="val 17942"/>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8" name="Conector: angular 4127">
            <a:extLst>
              <a:ext uri="{FF2B5EF4-FFF2-40B4-BE49-F238E27FC236}">
                <a16:creationId xmlns:a16="http://schemas.microsoft.com/office/drawing/2014/main" id="{E1EFF074-800C-9CD4-D01A-8EC5905088AA}"/>
              </a:ext>
            </a:extLst>
          </p:cNvPr>
          <p:cNvCxnSpPr>
            <a:cxnSpLocks/>
            <a:stCxn id="16" idx="0"/>
            <a:endCxn id="4102" idx="1"/>
          </p:cNvCxnSpPr>
          <p:nvPr/>
        </p:nvCxnSpPr>
        <p:spPr>
          <a:xfrm rot="5400000" flipH="1" flipV="1">
            <a:off x="9731734" y="887069"/>
            <a:ext cx="815465" cy="1514675"/>
          </a:xfrm>
          <a:prstGeom prst="bentConnector3">
            <a:avLst>
              <a:gd name="adj1" fmla="val 46603"/>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3890F992-C765-9ED6-5B43-E7228208DD1D}"/>
              </a:ext>
            </a:extLst>
          </p:cNvPr>
          <p:cNvSpPr txBox="1"/>
          <p:nvPr/>
        </p:nvSpPr>
        <p:spPr>
          <a:xfrm>
            <a:off x="400049" y="5098572"/>
            <a:ext cx="11420477" cy="1463604"/>
          </a:xfrm>
          <a:prstGeom prst="rect">
            <a:avLst/>
          </a:prstGeom>
          <a:noFill/>
          <a:ln w="19050">
            <a:solidFill>
              <a:srgbClr val="347170"/>
            </a:solidFill>
            <a:prstDash val="dash"/>
          </a:ln>
        </p:spPr>
        <p:txBody>
          <a:bodyPr wrap="square" lIns="180000" tIns="72000" rIns="180000" bIns="72000" rtlCol="0">
            <a:noAutofit/>
          </a:bodyPr>
          <a:lstStyle/>
          <a:p>
            <a:pPr algn="l" defTabSz="228600">
              <a:spcAft>
                <a:spcPts val="1200"/>
              </a:spcAft>
            </a:pPr>
            <a:r>
              <a:rPr lang="en-CA" sz="1400" b="1" dirty="0">
                <a:solidFill>
                  <a:srgbClr val="347170"/>
                </a:solidFill>
                <a:latin typeface="Verdana" panose="020B0604030504040204" pitchFamily="34" charset="0"/>
                <a:ea typeface="Verdana" panose="020B0604030504040204" pitchFamily="34" charset="0"/>
              </a:rPr>
              <a:t>Role</a:t>
            </a:r>
          </a:p>
          <a:p>
            <a:pPr marL="285750" indent="-285750" algn="l" defTabSz="228600">
              <a:spcAft>
                <a:spcPts val="1200"/>
              </a:spcAft>
              <a:buFont typeface="Arial" panose="020B0604020202020204" pitchFamily="34" charset="0"/>
              <a:buChar char="•"/>
            </a:pPr>
            <a:r>
              <a:rPr lang="en-CA" sz="1400" dirty="0">
                <a:latin typeface="Verdana" panose="020B0604030504040204" pitchFamily="34" charset="0"/>
                <a:ea typeface="Verdana" panose="020B0604030504040204" pitchFamily="34" charset="0"/>
              </a:rPr>
              <a:t>We are financial advisors for a high-profile client with a very high-risk tolerance.</a:t>
            </a:r>
          </a:p>
          <a:p>
            <a:pPr marL="285750" indent="-285750" algn="l" defTabSz="228600">
              <a:spcAft>
                <a:spcPts val="1200"/>
              </a:spcAft>
              <a:buFont typeface="Arial" panose="020B0604020202020204" pitchFamily="34" charset="0"/>
              <a:buChar char="•"/>
            </a:pPr>
            <a:r>
              <a:rPr lang="en-CA" sz="1400" dirty="0">
                <a:latin typeface="Verdana" panose="020B0604030504040204" pitchFamily="34" charset="0"/>
                <a:ea typeface="Verdana" panose="020B0604030504040204" pitchFamily="34" charset="0"/>
              </a:rPr>
              <a:t>The client recently received $1 million USD from a friend who loaned them the money for a week, the client wants to generate a strong return with the money by investing in select S&amp;P 500 stocks.</a:t>
            </a:r>
          </a:p>
        </p:txBody>
      </p:sp>
      <p:sp>
        <p:nvSpPr>
          <p:cNvPr id="2" name="Título 2">
            <a:extLst>
              <a:ext uri="{FF2B5EF4-FFF2-40B4-BE49-F238E27FC236}">
                <a16:creationId xmlns:a16="http://schemas.microsoft.com/office/drawing/2014/main" id="{D19B8EE4-3634-78EA-DFBD-ACF510B3885F}"/>
              </a:ext>
            </a:extLst>
          </p:cNvPr>
          <p:cNvSpPr txBox="1">
            <a:spLocks/>
          </p:cNvSpPr>
          <p:nvPr/>
        </p:nvSpPr>
        <p:spPr>
          <a:xfrm>
            <a:off x="536574" y="505048"/>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b="0" dirty="0"/>
              <a:t>Timeline</a:t>
            </a:r>
          </a:p>
        </p:txBody>
      </p:sp>
    </p:spTree>
    <p:extLst>
      <p:ext uri="{BB962C8B-B14F-4D97-AF65-F5344CB8AC3E}">
        <p14:creationId xmlns:p14="http://schemas.microsoft.com/office/powerpoint/2010/main" val="41692727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369ECC-B4BB-1AA3-CBA5-738B855E393D}"/>
              </a:ext>
            </a:extLst>
          </p:cNvPr>
          <p:cNvSpPr>
            <a:spLocks noGrp="1"/>
          </p:cNvSpPr>
          <p:nvPr>
            <p:ph type="title"/>
          </p:nvPr>
        </p:nvSpPr>
        <p:spPr/>
        <p:txBody>
          <a:bodyPr/>
          <a:lstStyle/>
          <a:p>
            <a:r>
              <a:rPr lang="en-US"/>
              <a:t>Evaluation + Deployment</a:t>
            </a:r>
          </a:p>
        </p:txBody>
      </p:sp>
      <p:sp>
        <p:nvSpPr>
          <p:cNvPr id="7" name="Rectangle: Rounded Corners 4">
            <a:extLst>
              <a:ext uri="{FF2B5EF4-FFF2-40B4-BE49-F238E27FC236}">
                <a16:creationId xmlns:a16="http://schemas.microsoft.com/office/drawing/2014/main" id="{BC10AC3D-8F3D-3C22-0005-F996D0538BDE}"/>
              </a:ext>
            </a:extLst>
          </p:cNvPr>
          <p:cNvSpPr/>
          <p:nvPr/>
        </p:nvSpPr>
        <p:spPr>
          <a:xfrm>
            <a:off x="384172" y="3183664"/>
            <a:ext cx="3866880" cy="81751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latin typeface="Verdana" panose="020B0604030504040204" pitchFamily="34" charset="0"/>
                <a:ea typeface="Verdana" panose="020B0604030504040204" pitchFamily="34" charset="0"/>
                <a:cs typeface="Verdana" panose="020B0604030504040204" pitchFamily="34" charset="0"/>
              </a:rPr>
              <a:t>Select Stocks</a:t>
            </a:r>
          </a:p>
        </p:txBody>
      </p:sp>
      <p:sp>
        <p:nvSpPr>
          <p:cNvPr id="8" name="Isosceles Triangle 33">
            <a:extLst>
              <a:ext uri="{FF2B5EF4-FFF2-40B4-BE49-F238E27FC236}">
                <a16:creationId xmlns:a16="http://schemas.microsoft.com/office/drawing/2014/main" id="{A6C57D2B-BE11-6778-2699-4C3253D1CB78}"/>
              </a:ext>
            </a:extLst>
          </p:cNvPr>
          <p:cNvSpPr/>
          <p:nvPr/>
        </p:nvSpPr>
        <p:spPr>
          <a:xfrm rot="10800000">
            <a:off x="1723833" y="4092087"/>
            <a:ext cx="1187555" cy="186617"/>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Rounded Corners 4">
            <a:extLst>
              <a:ext uri="{FF2B5EF4-FFF2-40B4-BE49-F238E27FC236}">
                <a16:creationId xmlns:a16="http://schemas.microsoft.com/office/drawing/2014/main" id="{05A47369-2460-357A-C5E0-4BCEAA32A813}"/>
              </a:ext>
            </a:extLst>
          </p:cNvPr>
          <p:cNvSpPr/>
          <p:nvPr/>
        </p:nvSpPr>
        <p:spPr>
          <a:xfrm>
            <a:off x="384170" y="4365725"/>
            <a:ext cx="3866880" cy="81751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latin typeface="Verdana" panose="020B0604030504040204" pitchFamily="34" charset="0"/>
                <a:ea typeface="Verdana" panose="020B0604030504040204" pitchFamily="34" charset="0"/>
                <a:cs typeface="Verdana" panose="020B0604030504040204" pitchFamily="34" charset="0"/>
              </a:rPr>
              <a:t>Fund Allocation</a:t>
            </a:r>
          </a:p>
        </p:txBody>
      </p:sp>
      <p:sp>
        <p:nvSpPr>
          <p:cNvPr id="10" name="Isosceles Triangle 33">
            <a:extLst>
              <a:ext uri="{FF2B5EF4-FFF2-40B4-BE49-F238E27FC236}">
                <a16:creationId xmlns:a16="http://schemas.microsoft.com/office/drawing/2014/main" id="{6576AA7C-02A4-63A0-27E4-A24FDDA5C5F0}"/>
              </a:ext>
            </a:extLst>
          </p:cNvPr>
          <p:cNvSpPr/>
          <p:nvPr/>
        </p:nvSpPr>
        <p:spPr>
          <a:xfrm rot="10800000">
            <a:off x="1723832" y="5279404"/>
            <a:ext cx="1187555" cy="186617"/>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Rounded Corners 4">
            <a:extLst>
              <a:ext uri="{FF2B5EF4-FFF2-40B4-BE49-F238E27FC236}">
                <a16:creationId xmlns:a16="http://schemas.microsoft.com/office/drawing/2014/main" id="{839E24DA-C8AC-7BFF-09D4-375C9E02B20B}"/>
              </a:ext>
            </a:extLst>
          </p:cNvPr>
          <p:cNvSpPr/>
          <p:nvPr/>
        </p:nvSpPr>
        <p:spPr>
          <a:xfrm>
            <a:off x="384169" y="5552026"/>
            <a:ext cx="3866880" cy="81751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latin typeface="Verdana" panose="020B0604030504040204" pitchFamily="34" charset="0"/>
                <a:ea typeface="Verdana" panose="020B0604030504040204" pitchFamily="34" charset="0"/>
                <a:cs typeface="Verdana" panose="020B0604030504040204" pitchFamily="34" charset="0"/>
              </a:rPr>
              <a:t>Projected Value</a:t>
            </a:r>
          </a:p>
        </p:txBody>
      </p:sp>
      <p:sp>
        <p:nvSpPr>
          <p:cNvPr id="13" name="Rectangle: Rounded Corners 4">
            <a:extLst>
              <a:ext uri="{FF2B5EF4-FFF2-40B4-BE49-F238E27FC236}">
                <a16:creationId xmlns:a16="http://schemas.microsoft.com/office/drawing/2014/main" id="{DECED5D6-1AA0-D340-0641-B50C828F8DF1}"/>
              </a:ext>
            </a:extLst>
          </p:cNvPr>
          <p:cNvSpPr/>
          <p:nvPr/>
        </p:nvSpPr>
        <p:spPr>
          <a:xfrm>
            <a:off x="384172" y="2001603"/>
            <a:ext cx="3866880" cy="81751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a:latin typeface="Verdana" panose="020B0604030504040204" pitchFamily="34" charset="0"/>
                <a:ea typeface="Verdana" panose="020B0604030504040204" pitchFamily="34" charset="0"/>
                <a:cs typeface="Verdana" panose="020B0604030504040204" pitchFamily="34" charset="0"/>
              </a:rPr>
              <a:t>Goal Alignment</a:t>
            </a:r>
          </a:p>
        </p:txBody>
      </p:sp>
      <p:sp>
        <p:nvSpPr>
          <p:cNvPr id="14" name="Isosceles Triangle 33">
            <a:extLst>
              <a:ext uri="{FF2B5EF4-FFF2-40B4-BE49-F238E27FC236}">
                <a16:creationId xmlns:a16="http://schemas.microsoft.com/office/drawing/2014/main" id="{A4732923-ED1F-046A-E1D8-E75CD2418BFF}"/>
              </a:ext>
            </a:extLst>
          </p:cNvPr>
          <p:cNvSpPr/>
          <p:nvPr/>
        </p:nvSpPr>
        <p:spPr>
          <a:xfrm rot="10800000">
            <a:off x="1723833" y="2906134"/>
            <a:ext cx="1187555" cy="186617"/>
          </a:xfrm>
          <a:prstGeom prst="triangl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Text Placeholder 6">
            <a:extLst>
              <a:ext uri="{FF2B5EF4-FFF2-40B4-BE49-F238E27FC236}">
                <a16:creationId xmlns:a16="http://schemas.microsoft.com/office/drawing/2014/main" id="{3B308975-9A57-58FA-3890-E4AB45CAFAE7}"/>
              </a:ext>
            </a:extLst>
          </p:cNvPr>
          <p:cNvSpPr txBox="1">
            <a:spLocks/>
          </p:cNvSpPr>
          <p:nvPr/>
        </p:nvSpPr>
        <p:spPr>
          <a:xfrm>
            <a:off x="4407064" y="1991602"/>
            <a:ext cx="7397585" cy="817511"/>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85750" marR="0" lvl="0" indent="-285750" algn="l" defTabSz="22855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llocate $1 million across the six selected stocks</a:t>
            </a:r>
          </a:p>
          <a:p>
            <a:pPr marL="285750" marR="0" lvl="0" indent="-285750" algn="l" defTabSz="22855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ximize short-term profit based on predictive model results</a:t>
            </a:r>
          </a:p>
        </p:txBody>
      </p:sp>
      <p:sp>
        <p:nvSpPr>
          <p:cNvPr id="16" name="Text Placeholder 6">
            <a:extLst>
              <a:ext uri="{FF2B5EF4-FFF2-40B4-BE49-F238E27FC236}">
                <a16:creationId xmlns:a16="http://schemas.microsoft.com/office/drawing/2014/main" id="{49AA138C-1119-C4D9-09B0-0BA66E035FA7}"/>
              </a:ext>
            </a:extLst>
          </p:cNvPr>
          <p:cNvSpPr txBox="1">
            <a:spLocks/>
          </p:cNvSpPr>
          <p:nvPr/>
        </p:nvSpPr>
        <p:spPr>
          <a:xfrm>
            <a:off x="4407063" y="3183664"/>
            <a:ext cx="7397585" cy="817511"/>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marL="285750" marR="0" lvl="0" indent="-285750" defTabSz="228554" fontAlgn="auto">
              <a:lnSpc>
                <a:spcPct val="100000"/>
              </a:lnSpc>
              <a:spcBef>
                <a:spcPts val="0"/>
              </a:spcBef>
              <a:spcAft>
                <a:spcPts val="1200"/>
              </a:spcAft>
              <a:buClrTx/>
              <a:buSzTx/>
              <a:buFont typeface="Arial" panose="020B0604020202020204" pitchFamily="34" charset="0"/>
              <a:buChar char="•"/>
              <a:tabLst/>
              <a:defRPr kumimoji="0" sz="1400" b="0" i="0" u="none" strike="noStrike"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a:sym typeface="Verdana" panose="020B0604030504040204" pitchFamily="34" charset="0"/>
              </a:rPr>
              <a:t>Very high-risk tolerance</a:t>
            </a:r>
          </a:p>
          <a:p>
            <a:r>
              <a:rPr lang="en-US">
                <a:sym typeface="Verdana" panose="020B0604030504040204" pitchFamily="34" charset="0"/>
              </a:rPr>
              <a:t>Looking for maximum profits over short investment horizon </a:t>
            </a:r>
          </a:p>
        </p:txBody>
      </p:sp>
      <p:sp>
        <p:nvSpPr>
          <p:cNvPr id="17" name="Text Placeholder 6">
            <a:extLst>
              <a:ext uri="{FF2B5EF4-FFF2-40B4-BE49-F238E27FC236}">
                <a16:creationId xmlns:a16="http://schemas.microsoft.com/office/drawing/2014/main" id="{800C7926-5A60-372B-6125-D7CD08A84CAD}"/>
              </a:ext>
            </a:extLst>
          </p:cNvPr>
          <p:cNvSpPr txBox="1">
            <a:spLocks/>
          </p:cNvSpPr>
          <p:nvPr/>
        </p:nvSpPr>
        <p:spPr>
          <a:xfrm>
            <a:off x="4407060" y="4365724"/>
            <a:ext cx="7397585" cy="817511"/>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85750" marR="0" lvl="0" indent="-285750" algn="l" defTabSz="228554"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Which</a:t>
            </a: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tocks meet our goal of positive short-term returns?</a:t>
            </a:r>
          </a:p>
          <a:p>
            <a:pPr marL="285750" marR="0" lvl="0" indent="-285750" algn="l" defTabSz="228554"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ow will the fund be allocated among those stock(s) to maximize profit?</a:t>
            </a:r>
            <a:endPar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Text Placeholder 6">
            <a:extLst>
              <a:ext uri="{FF2B5EF4-FFF2-40B4-BE49-F238E27FC236}">
                <a16:creationId xmlns:a16="http://schemas.microsoft.com/office/drawing/2014/main" id="{44E65274-9B47-D1DF-DBD8-5950F9C33F96}"/>
              </a:ext>
            </a:extLst>
          </p:cNvPr>
          <p:cNvSpPr txBox="1">
            <a:spLocks/>
          </p:cNvSpPr>
          <p:nvPr/>
        </p:nvSpPr>
        <p:spPr>
          <a:xfrm>
            <a:off x="4407059" y="5557786"/>
            <a:ext cx="7397585" cy="817511"/>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285750" marR="0" lvl="0" indent="-285750" algn="l" defTabSz="228554"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st the different portfolio options</a:t>
            </a:r>
          </a:p>
          <a:p>
            <a:pPr marL="285750" marR="0" lvl="0" indent="-285750" algn="l" defTabSz="228554"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ick optimal method to allocate the fund that aligns with our risk tolerance</a:t>
            </a:r>
            <a:endPar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Text Placeholder 6">
            <a:extLst>
              <a:ext uri="{FF2B5EF4-FFF2-40B4-BE49-F238E27FC236}">
                <a16:creationId xmlns:a16="http://schemas.microsoft.com/office/drawing/2014/main" id="{986E1291-5D97-EB1D-95F9-4A81FEACCFB1}"/>
              </a:ext>
            </a:extLst>
          </p:cNvPr>
          <p:cNvSpPr txBox="1">
            <a:spLocks/>
          </p:cNvSpPr>
          <p:nvPr/>
        </p:nvSpPr>
        <p:spPr>
          <a:xfrm>
            <a:off x="384169" y="1025433"/>
            <a:ext cx="11420475" cy="817511"/>
          </a:xfrm>
          <a:prstGeom prst="rect">
            <a:avLst/>
          </a:prstGeom>
          <a:solidFill>
            <a:schemeClr val="bg1">
              <a:lumMod val="95000"/>
            </a:schemeClr>
          </a:solidFill>
          <a:ln>
            <a:solidFill>
              <a:schemeClr val="accent1">
                <a:shade val="15000"/>
              </a:schemeClr>
            </a:solidFill>
          </a:ln>
          <a:effectLst/>
        </p:spPr>
        <p:txBody>
          <a:bodyPr lIns="91440" tIns="36000" rIns="89988" bIns="36000" anchor="ctr"/>
          <a:lstStyle>
            <a:defPPr>
              <a:defRPr lang="en-US"/>
            </a:defPPr>
            <a:lvl1pPr marR="0" lvl="0" indent="0" algn="ctr" defTabSz="228554" fontAlgn="auto">
              <a:lnSpc>
                <a:spcPct val="100000"/>
              </a:lnSpc>
              <a:spcBef>
                <a:spcPts val="0"/>
              </a:spcBef>
              <a:spcAft>
                <a:spcPts val="1200"/>
              </a:spcAft>
              <a:buClrTx/>
              <a:buSzTx/>
              <a:buFont typeface="Arial" panose="020B0604020202020204" pitchFamily="34" charset="0"/>
              <a:buNone/>
              <a:tabLst/>
              <a:defRPr kumimoji="0" sz="1400" b="0" i="0" u="none" strike="noStrike"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a:sym typeface="Verdana" panose="020B0604030504040204" pitchFamily="34" charset="0"/>
              </a:rPr>
              <a:t>Allocate, Implement and Monitor the best predictive models and communicate findings to all key stakeholders.</a:t>
            </a:r>
          </a:p>
        </p:txBody>
      </p:sp>
    </p:spTree>
    <p:extLst>
      <p:ext uri="{BB962C8B-B14F-4D97-AF65-F5344CB8AC3E}">
        <p14:creationId xmlns:p14="http://schemas.microsoft.com/office/powerpoint/2010/main" val="17980233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050DA6-5C57-B73C-8F9F-43BF07A81657}"/>
              </a:ext>
            </a:extLst>
          </p:cNvPr>
          <p:cNvSpPr>
            <a:spLocks noGrp="1"/>
          </p:cNvSpPr>
          <p:nvPr>
            <p:ph type="title"/>
          </p:nvPr>
        </p:nvSpPr>
        <p:spPr/>
        <p:txBody>
          <a:bodyPr/>
          <a:lstStyle/>
          <a:p>
            <a:r>
              <a:rPr lang="en-US"/>
              <a:t>Fund Allocation – Combined Models</a:t>
            </a:r>
          </a:p>
        </p:txBody>
      </p:sp>
      <p:graphicFrame>
        <p:nvGraphicFramePr>
          <p:cNvPr id="4" name="Table 3">
            <a:extLst>
              <a:ext uri="{FF2B5EF4-FFF2-40B4-BE49-F238E27FC236}">
                <a16:creationId xmlns:a16="http://schemas.microsoft.com/office/drawing/2014/main" id="{14744057-BD15-115F-F61B-9686D071A0B7}"/>
              </a:ext>
            </a:extLst>
          </p:cNvPr>
          <p:cNvGraphicFramePr>
            <a:graphicFrameLocks noGrp="1"/>
          </p:cNvGraphicFramePr>
          <p:nvPr>
            <p:extLst>
              <p:ext uri="{D42A27DB-BD31-4B8C-83A1-F6EECF244321}">
                <p14:modId xmlns:p14="http://schemas.microsoft.com/office/powerpoint/2010/main" val="3741693413"/>
              </p:ext>
            </p:extLst>
          </p:nvPr>
        </p:nvGraphicFramePr>
        <p:xfrm>
          <a:off x="289871" y="944288"/>
          <a:ext cx="5257489" cy="5532709"/>
        </p:xfrm>
        <a:graphic>
          <a:graphicData uri="http://schemas.openxmlformats.org/drawingml/2006/table">
            <a:tbl>
              <a:tblPr firstRow="1" bandRow="1">
                <a:tableStyleId>{5C22544A-7EE6-4342-B048-85BDC9FD1C3A}</a:tableStyleId>
              </a:tblPr>
              <a:tblGrid>
                <a:gridCol w="1791592">
                  <a:extLst>
                    <a:ext uri="{9D8B030D-6E8A-4147-A177-3AD203B41FA5}">
                      <a16:colId xmlns:a16="http://schemas.microsoft.com/office/drawing/2014/main" val="4245256249"/>
                    </a:ext>
                  </a:extLst>
                </a:gridCol>
                <a:gridCol w="1179095">
                  <a:extLst>
                    <a:ext uri="{9D8B030D-6E8A-4147-A177-3AD203B41FA5}">
                      <a16:colId xmlns:a16="http://schemas.microsoft.com/office/drawing/2014/main" val="3122895160"/>
                    </a:ext>
                  </a:extLst>
                </a:gridCol>
                <a:gridCol w="1148882">
                  <a:extLst>
                    <a:ext uri="{9D8B030D-6E8A-4147-A177-3AD203B41FA5}">
                      <a16:colId xmlns:a16="http://schemas.microsoft.com/office/drawing/2014/main" val="1801644092"/>
                    </a:ext>
                  </a:extLst>
                </a:gridCol>
                <a:gridCol w="1137920">
                  <a:extLst>
                    <a:ext uri="{9D8B030D-6E8A-4147-A177-3AD203B41FA5}">
                      <a16:colId xmlns:a16="http://schemas.microsoft.com/office/drawing/2014/main" val="4134210389"/>
                    </a:ext>
                  </a:extLst>
                </a:gridCol>
              </a:tblGrid>
              <a:tr h="675229">
                <a:tc>
                  <a:txBody>
                    <a:bodyPr/>
                    <a:lstStyle/>
                    <a:p>
                      <a:pPr algn="ctr"/>
                      <a:r>
                        <a:rPr lang="en-CA" sz="1200">
                          <a:solidFill>
                            <a:schemeClr val="bg1"/>
                          </a:solidFill>
                          <a:latin typeface="Verdana" panose="020B0604030504040204" pitchFamily="34" charset="0"/>
                          <a:ea typeface="Verdana" panose="020B0604030504040204" pitchFamily="34" charset="0"/>
                          <a:cs typeface="Verdana" panose="020B0604030504040204" pitchFamily="34" charset="0"/>
                        </a:rPr>
                        <a:t>Compan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b="1">
                          <a:solidFill>
                            <a:schemeClr val="bg1"/>
                          </a:solidFill>
                          <a:latin typeface="Verdana" panose="020B0604030504040204" pitchFamily="34" charset="0"/>
                          <a:ea typeface="Verdana" panose="020B0604030504040204" pitchFamily="34" charset="0"/>
                          <a:cs typeface="Verdana" panose="020B0604030504040204" pitchFamily="34" charset="0"/>
                        </a:rPr>
                        <a:t>2024-07-19 Closing Price</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2024-07-26 Projected Close</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Projected Return (%)</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164215"/>
                  </a:ext>
                </a:extLst>
              </a:tr>
              <a:tr h="809580">
                <a:tc>
                  <a:txBody>
                    <a:bodyPr/>
                    <a:lstStyle/>
                    <a:p>
                      <a:endParaRPr lang="en-CA" sz="140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53.4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59.4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solidFill>
                            <a:srgbClr val="347170"/>
                          </a:solidFill>
                          <a:latin typeface="Verdana" panose="020B0604030504040204" pitchFamily="34" charset="0"/>
                          <a:ea typeface="Verdana" panose="020B0604030504040204" pitchFamily="34" charset="0"/>
                          <a:cs typeface="Verdana" panose="020B0604030504040204" pitchFamily="34" charset="0"/>
                        </a:rPr>
                        <a:t>+11.0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6562464"/>
                  </a:ext>
                </a:extLst>
              </a:tr>
              <a:tr h="809580">
                <a:tc>
                  <a:txBody>
                    <a:bodyPr/>
                    <a:lstStyle/>
                    <a:p>
                      <a:endParaRPr lang="en-CA" sz="140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33.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32.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solidFill>
                            <a:srgbClr val="FF0000"/>
                          </a:solidFill>
                          <a:latin typeface="Verdana" panose="020B0604030504040204" pitchFamily="34" charset="0"/>
                          <a:ea typeface="Verdana" panose="020B0604030504040204" pitchFamily="34" charset="0"/>
                          <a:cs typeface="Verdana" panose="020B0604030504040204" pitchFamily="34" charset="0"/>
                        </a:rPr>
                        <a:t>-2.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64940320"/>
                  </a:ext>
                </a:extLst>
              </a:tr>
              <a:tr h="809580">
                <a:tc>
                  <a:txBody>
                    <a:bodyPr/>
                    <a:lstStyle/>
                    <a:p>
                      <a:endParaRPr lang="en-CA" sz="140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67.5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67.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solidFill>
                            <a:srgbClr val="FF0000"/>
                          </a:solidFill>
                          <a:latin typeface="Verdana" panose="020B0604030504040204" pitchFamily="34" charset="0"/>
                          <a:ea typeface="Verdana" panose="020B0604030504040204" pitchFamily="34" charset="0"/>
                          <a:cs typeface="Verdana" panose="020B0604030504040204" pitchFamily="34" charset="0"/>
                        </a:rPr>
                        <a:t>-0.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3813982"/>
                  </a:ext>
                </a:extLst>
              </a:tr>
              <a:tr h="809580">
                <a:tc>
                  <a:txBody>
                    <a:bodyPr/>
                    <a:lstStyle/>
                    <a:p>
                      <a:endParaRPr lang="en-CA" sz="140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99.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104.7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solidFill>
                            <a:srgbClr val="347170"/>
                          </a:solidFill>
                          <a:latin typeface="Verdana" panose="020B0604030504040204" pitchFamily="34" charset="0"/>
                          <a:ea typeface="Verdana" panose="020B0604030504040204" pitchFamily="34" charset="0"/>
                          <a:cs typeface="Verdana" panose="020B0604030504040204" pitchFamily="34" charset="0"/>
                        </a:rPr>
                        <a:t>+5.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43450301"/>
                  </a:ext>
                </a:extLst>
              </a:tr>
              <a:tr h="809580">
                <a:tc>
                  <a:txBody>
                    <a:bodyPr/>
                    <a:lstStyle/>
                    <a:p>
                      <a:endParaRPr lang="en-CA" sz="140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135.8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117.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solidFill>
                            <a:srgbClr val="FF0000"/>
                          </a:solidFill>
                          <a:latin typeface="Verdana" panose="020B0604030504040204" pitchFamily="34" charset="0"/>
                          <a:ea typeface="Verdana" panose="020B0604030504040204" pitchFamily="34" charset="0"/>
                          <a:cs typeface="Verdana" panose="020B0604030504040204" pitchFamily="34" charset="0"/>
                        </a:rPr>
                        <a:t>-13.6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77002060"/>
                  </a:ext>
                </a:extLst>
              </a:tr>
              <a:tr h="809580">
                <a:tc>
                  <a:txBody>
                    <a:bodyPr/>
                    <a:lstStyle/>
                    <a:p>
                      <a:endParaRPr lang="en-CA" sz="140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247.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latin typeface="Verdana" panose="020B0604030504040204" pitchFamily="34" charset="0"/>
                          <a:ea typeface="Verdana" panose="020B0604030504040204" pitchFamily="34" charset="0"/>
                          <a:cs typeface="Verdana" panose="020B0604030504040204" pitchFamily="34" charset="0"/>
                        </a:rPr>
                        <a:t>$235.8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400">
                          <a:solidFill>
                            <a:srgbClr val="FF0000"/>
                          </a:solidFill>
                          <a:latin typeface="Verdana" panose="020B0604030504040204" pitchFamily="34" charset="0"/>
                          <a:ea typeface="Verdana" panose="020B0604030504040204" pitchFamily="34" charset="0"/>
                          <a:cs typeface="Verdana" panose="020B0604030504040204" pitchFamily="34" charset="0"/>
                        </a:rPr>
                        <a:t>-4.7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47152163"/>
                  </a:ext>
                </a:extLst>
              </a:tr>
            </a:tbl>
          </a:graphicData>
        </a:graphic>
      </p:graphicFrame>
      <p:pic>
        <p:nvPicPr>
          <p:cNvPr id="5" name="Picture 2" descr="Chipotle Mexican Grill Logo PNG ...">
            <a:extLst>
              <a:ext uri="{FF2B5EF4-FFF2-40B4-BE49-F238E27FC236}">
                <a16:creationId xmlns:a16="http://schemas.microsoft.com/office/drawing/2014/main" id="{B859D997-2E2E-DBD4-86EE-3D8132A9F6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84" y="1684744"/>
            <a:ext cx="686635" cy="686635"/>
          </a:xfrm>
          <a:prstGeom prst="ellipse">
            <a:avLst/>
          </a:prstGeom>
          <a:noFill/>
          <a:extLst>
            <a:ext uri="{909E8E84-426E-40DD-AFC4-6F175D3DCCD1}">
              <a14:hiddenFill xmlns:a14="http://schemas.microsoft.com/office/drawing/2010/main">
                <a:solidFill>
                  <a:srgbClr val="FFFFFF"/>
                </a:solidFill>
              </a14:hiddenFill>
            </a:ext>
          </a:extLst>
        </p:spPr>
      </p:pic>
      <p:pic>
        <p:nvPicPr>
          <p:cNvPr id="6" name="Picture 14">
            <a:extLst>
              <a:ext uri="{FF2B5EF4-FFF2-40B4-BE49-F238E27FC236}">
                <a16:creationId xmlns:a16="http://schemas.microsoft.com/office/drawing/2014/main" id="{2ADCA5ED-CAE8-4B23-3A1A-0741B9F453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152" y="2674360"/>
            <a:ext cx="1625100" cy="32790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8" descr="Uber - Social media &amp; Logos Icons">
            <a:extLst>
              <a:ext uri="{FF2B5EF4-FFF2-40B4-BE49-F238E27FC236}">
                <a16:creationId xmlns:a16="http://schemas.microsoft.com/office/drawing/2014/main" id="{61A2AC2F-A89D-D400-50C1-41D087BC8B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6094" y="3294065"/>
            <a:ext cx="671216" cy="67121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a:extLst>
              <a:ext uri="{FF2B5EF4-FFF2-40B4-BE49-F238E27FC236}">
                <a16:creationId xmlns:a16="http://schemas.microsoft.com/office/drawing/2014/main" id="{809057FF-2BE6-8121-4CB6-3F544E736E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6320" y="4994411"/>
            <a:ext cx="1690765" cy="4929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Salesforce Logo and symbol, meaning, history, PNG, brand">
            <a:extLst>
              <a:ext uri="{FF2B5EF4-FFF2-40B4-BE49-F238E27FC236}">
                <a16:creationId xmlns:a16="http://schemas.microsoft.com/office/drawing/2014/main" id="{D6687024-E9CC-26CF-716D-2D6D577435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8285" y="5701544"/>
            <a:ext cx="1126837" cy="74048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4">
            <a:extLst>
              <a:ext uri="{FF2B5EF4-FFF2-40B4-BE49-F238E27FC236}">
                <a16:creationId xmlns:a16="http://schemas.microsoft.com/office/drawing/2014/main" id="{7D21BE7E-3C12-B51B-48D2-26EAC1942132}"/>
              </a:ext>
            </a:extLst>
          </p:cNvPr>
          <p:cNvSpPr/>
          <p:nvPr/>
        </p:nvSpPr>
        <p:spPr>
          <a:xfrm>
            <a:off x="6095999" y="944288"/>
            <a:ext cx="5708649" cy="73999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b="1"/>
              <a:t>Fund Allocation</a:t>
            </a:r>
          </a:p>
        </p:txBody>
      </p:sp>
      <p:sp>
        <p:nvSpPr>
          <p:cNvPr id="12" name="Text Placeholder 6">
            <a:extLst>
              <a:ext uri="{FF2B5EF4-FFF2-40B4-BE49-F238E27FC236}">
                <a16:creationId xmlns:a16="http://schemas.microsoft.com/office/drawing/2014/main" id="{CB1F57C4-584A-5CF9-F359-624EC5900C6B}"/>
              </a:ext>
            </a:extLst>
          </p:cNvPr>
          <p:cNvSpPr txBox="1">
            <a:spLocks/>
          </p:cNvSpPr>
          <p:nvPr/>
        </p:nvSpPr>
        <p:spPr>
          <a:xfrm>
            <a:off x="7975263" y="3653200"/>
            <a:ext cx="3829385" cy="1203143"/>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a:t>
            </a: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Return Projection: </a:t>
            </a:r>
            <a:r>
              <a:rPr lang="en-CA" sz="1400">
                <a:solidFill>
                  <a:srgbClr val="347170"/>
                </a:solidFill>
                <a:latin typeface="Verdana" panose="020B0604030504040204" pitchFamily="34" charset="0"/>
                <a:ea typeface="Verdana" panose="020B0604030504040204" pitchFamily="34" charset="0"/>
                <a:cs typeface="Verdana" panose="020B0604030504040204" pitchFamily="34" charset="0"/>
              </a:rPr>
              <a:t>+5.59%</a:t>
            </a:r>
          </a:p>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otal Return Projection: </a:t>
            </a:r>
            <a:r>
              <a:rPr lang="en-CA" sz="1400">
                <a:solidFill>
                  <a:srgbClr val="347170"/>
                </a:solidFill>
                <a:latin typeface="Verdana" panose="020B0604030504040204" pitchFamily="34" charset="0"/>
                <a:ea typeface="Verdana" panose="020B0604030504040204" pitchFamily="34" charset="0"/>
                <a:cs typeface="Verdana" panose="020B0604030504040204" pitchFamily="34" charset="0"/>
              </a:rPr>
              <a:t>+16.63%</a:t>
            </a:r>
          </a:p>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 % Allocation: </a:t>
            </a:r>
            <a:r>
              <a:rPr lang="en-CA" sz="1400">
                <a:latin typeface="Verdana" panose="020B0604030504040204" pitchFamily="34" charset="0"/>
                <a:ea typeface="Verdana" panose="020B0604030504040204" pitchFamily="34" charset="0"/>
                <a:cs typeface="Verdana" panose="020B0604030504040204" pitchFamily="34" charset="0"/>
              </a:rPr>
              <a:t>+33.60%</a:t>
            </a:r>
            <a:r>
              <a:rPr kumimoji="0" lang="en-US" sz="1400" b="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mc:AlternateContent xmlns:mc="http://schemas.openxmlformats.org/markup-compatibility/2006">
        <mc:Choice xmlns:a14="http://schemas.microsoft.com/office/drawing/2010/main" Requires="a14">
          <p:sp>
            <p:nvSpPr>
              <p:cNvPr id="2" name="Text Placeholder 6">
                <a:extLst>
                  <a:ext uri="{FF2B5EF4-FFF2-40B4-BE49-F238E27FC236}">
                    <a16:creationId xmlns:a16="http://schemas.microsoft.com/office/drawing/2014/main" id="{270F85EE-7843-3BBC-7B94-1B51436B6C4A}"/>
                  </a:ext>
                </a:extLst>
              </p:cNvPr>
              <p:cNvSpPr txBox="1">
                <a:spLocks/>
              </p:cNvSpPr>
              <p:nvPr/>
            </p:nvSpPr>
            <p:spPr>
              <a:xfrm>
                <a:off x="6095999" y="1938116"/>
                <a:ext cx="5708650" cy="1461254"/>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defTabSz="228554">
                  <a:spcAft>
                    <a:spcPts val="1200"/>
                  </a:spcAft>
                  <a:defRPr/>
                </a:pPr>
                <a:r>
                  <a:rPr lang="en-CA"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mpany % Allocation Formula: </a:t>
                </a:r>
                <a14:m>
                  <m:oMath xmlns:m="http://schemas.openxmlformats.org/officeDocument/2006/math">
                    <m:f>
                      <m:fPr>
                        <m:ctrlP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ctrlPr>
                      </m:fPr>
                      <m:num>
                        <m: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t>𝐶𝑜𝑚𝑝𝑎𝑛𝑦</m:t>
                        </m:r>
                        <m: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t> </m:t>
                        </m:r>
                        <m: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t>𝑅𝑒𝑡𝑢𝑟𝑛</m:t>
                        </m:r>
                        <m: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t> </m:t>
                        </m:r>
                        <m: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t>𝑃𝑟𝑜𝑗𝑒𝑐𝑡𝑖𝑜𝑛</m:t>
                        </m:r>
                      </m:num>
                      <m:den>
                        <m: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t>𝑇𝑜𝑡𝑎𝑙</m:t>
                        </m:r>
                        <m: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t> </m:t>
                        </m:r>
                        <m: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t>𝑅𝑒𝑡𝑢𝑟𝑛</m:t>
                        </m:r>
                        <m: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t> </m:t>
                        </m:r>
                        <m:r>
                          <a:rPr lang="en-CA" sz="1400" b="0" i="1" smtClean="0">
                            <a:solidFill>
                              <a:srgbClr val="000000"/>
                            </a:solidFill>
                            <a:latin typeface="Cambria Math" panose="02040503050406030204" pitchFamily="18" charset="0"/>
                            <a:ea typeface="Verdana" panose="020B0604030504040204" pitchFamily="34" charset="0"/>
                            <a:sym typeface="Verdana" panose="020B0604030504040204" pitchFamily="34" charset="0"/>
                          </a:rPr>
                          <m:t>𝑃𝑟𝑜𝑗𝑒𝑐𝑡𝑖𝑜𝑛</m:t>
                        </m:r>
                      </m:den>
                    </m:f>
                    <m:r>
                      <a:rPr lang="en-CA" sz="1400" b="0" i="1" smtClean="0">
                        <a:solidFill>
                          <a:srgbClr val="000000"/>
                        </a:solidFill>
                        <a:latin typeface="Cambria Math" panose="02040503050406030204" pitchFamily="18" charset="0"/>
                        <a:ea typeface="Cambria Math" panose="02040503050406030204" pitchFamily="18" charset="0"/>
                        <a:sym typeface="Verdana" panose="020B0604030504040204" pitchFamily="34" charset="0"/>
                      </a:rPr>
                      <m:t>×100%</m:t>
                    </m:r>
                  </m:oMath>
                </a14:m>
                <a:r>
                  <a:rPr lang="en-CA"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endParaRPr kumimoji="0" lang="en-US" sz="1400" b="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mc:Choice>
        <mc:Fallback>
          <p:sp>
            <p:nvSpPr>
              <p:cNvPr id="2" name="Text Placeholder 6">
                <a:extLst>
                  <a:ext uri="{FF2B5EF4-FFF2-40B4-BE49-F238E27FC236}">
                    <a16:creationId xmlns:a16="http://schemas.microsoft.com/office/drawing/2014/main" id="{270F85EE-7843-3BBC-7B94-1B51436B6C4A}"/>
                  </a:ext>
                </a:extLst>
              </p:cNvPr>
              <p:cNvSpPr txBox="1">
                <a:spLocks noRot="1" noChangeAspect="1" noMove="1" noResize="1" noEditPoints="1" noAdjustHandles="1" noChangeArrowheads="1" noChangeShapeType="1" noTextEdit="1"/>
              </p:cNvSpPr>
              <p:nvPr/>
            </p:nvSpPr>
            <p:spPr>
              <a:xfrm>
                <a:off x="6095999" y="1938116"/>
                <a:ext cx="5708650" cy="1461254"/>
              </a:xfrm>
              <a:prstGeom prst="rect">
                <a:avLst/>
              </a:prstGeom>
              <a:blipFill>
                <a:blip r:embed="rId7"/>
                <a:stretch>
                  <a:fillRect/>
                </a:stretch>
              </a:blipFill>
              <a:ln>
                <a:solidFill>
                  <a:schemeClr val="accent1">
                    <a:shade val="15000"/>
                  </a:schemeClr>
                </a:solidFill>
                <a:prstDash val="dash"/>
              </a:ln>
              <a:effectLst/>
            </p:spPr>
            <p:txBody>
              <a:bodyPr/>
              <a:lstStyle/>
              <a:p>
                <a:r>
                  <a:rPr lang="en-CA">
                    <a:noFill/>
                  </a:rPr>
                  <a:t> </a:t>
                </a:r>
              </a:p>
            </p:txBody>
          </p:sp>
        </mc:Fallback>
      </mc:AlternateContent>
      <p:sp>
        <p:nvSpPr>
          <p:cNvPr id="14" name="Text Placeholder 6">
            <a:extLst>
              <a:ext uri="{FF2B5EF4-FFF2-40B4-BE49-F238E27FC236}">
                <a16:creationId xmlns:a16="http://schemas.microsoft.com/office/drawing/2014/main" id="{8CF59EB6-CCFE-F7E9-3C44-B7CE03700487}"/>
              </a:ext>
            </a:extLst>
          </p:cNvPr>
          <p:cNvSpPr txBox="1">
            <a:spLocks/>
          </p:cNvSpPr>
          <p:nvPr/>
        </p:nvSpPr>
        <p:spPr>
          <a:xfrm>
            <a:off x="7975263" y="5260598"/>
            <a:ext cx="3829386" cy="1203143"/>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defTabSz="228554">
              <a:spcAft>
                <a:spcPts val="1200"/>
              </a:spcAft>
              <a:defRPr/>
            </a:pP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MG Return Projection: </a:t>
            </a:r>
            <a:r>
              <a:rPr lang="en-CA" sz="1400">
                <a:solidFill>
                  <a:srgbClr val="347170"/>
                </a:solidFill>
                <a:latin typeface="Verdana" panose="020B0604030504040204" pitchFamily="34" charset="0"/>
                <a:ea typeface="Verdana" panose="020B0604030504040204" pitchFamily="34" charset="0"/>
                <a:cs typeface="Verdana" panose="020B0604030504040204" pitchFamily="34" charset="0"/>
              </a:rPr>
              <a:t>+11.04%</a:t>
            </a:r>
          </a:p>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otal Return Projection: </a:t>
            </a:r>
            <a:r>
              <a:rPr lang="en-CA" sz="1400">
                <a:solidFill>
                  <a:srgbClr val="347170"/>
                </a:solidFill>
                <a:latin typeface="Verdana" panose="020B0604030504040204" pitchFamily="34" charset="0"/>
                <a:ea typeface="Verdana" panose="020B0604030504040204" pitchFamily="34" charset="0"/>
                <a:cs typeface="Verdana" panose="020B0604030504040204" pitchFamily="34" charset="0"/>
              </a:rPr>
              <a:t>+16.63%</a:t>
            </a:r>
          </a:p>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MG % Allocation: </a:t>
            </a:r>
            <a:r>
              <a:rPr lang="en-CA" sz="1400">
                <a:latin typeface="Verdana" panose="020B0604030504040204" pitchFamily="34" charset="0"/>
                <a:ea typeface="Verdana" panose="020B0604030504040204" pitchFamily="34" charset="0"/>
                <a:cs typeface="Verdana" panose="020B0604030504040204" pitchFamily="34" charset="0"/>
              </a:rPr>
              <a:t>+66.40%</a:t>
            </a:r>
            <a:r>
              <a:rPr kumimoji="0" lang="en-US" sz="1400" b="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pic>
        <p:nvPicPr>
          <p:cNvPr id="16" name="Picture 2" descr="Chipotle Mexican Grill Logo PNG ...">
            <a:extLst>
              <a:ext uri="{FF2B5EF4-FFF2-40B4-BE49-F238E27FC236}">
                <a16:creationId xmlns:a16="http://schemas.microsoft.com/office/drawing/2014/main" id="{DF5878B9-4B17-4263-631D-AFF92B99D1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35260" y="5487381"/>
            <a:ext cx="686635" cy="686635"/>
          </a:xfrm>
          <a:prstGeom prst="ellipse">
            <a:avLst/>
          </a:prstGeom>
          <a:noFill/>
          <a:extLst>
            <a:ext uri="{909E8E84-426E-40DD-AFC4-6F175D3DCCD1}">
              <a14:hiddenFill xmlns:a14="http://schemas.microsoft.com/office/drawing/2010/main">
                <a:solidFill>
                  <a:srgbClr val="FFFFFF"/>
                </a:solidFill>
              </a14:hiddenFill>
            </a:ext>
          </a:extLst>
        </p:spPr>
      </p:pic>
      <p:pic>
        <p:nvPicPr>
          <p:cNvPr id="15" name="Picture 8">
            <a:extLst>
              <a:ext uri="{FF2B5EF4-FFF2-40B4-BE49-F238E27FC236}">
                <a16:creationId xmlns:a16="http://schemas.microsoft.com/office/drawing/2014/main" id="{C6416B47-B11D-9D8C-CF8F-884D11E8FBFF}"/>
              </a:ext>
            </a:extLst>
          </p:cNvPr>
          <p:cNvPicPr>
            <a:picLocks noChangeAspect="1" noChangeArrowheads="1"/>
          </p:cNvPicPr>
          <p:nvPr/>
        </p:nvPicPr>
        <p:blipFill rotWithShape="1">
          <a:blip r:embed="rId8">
            <a:extLst>
              <a:ext uri="{837473B0-CC2E-450A-ABE3-18F120FF3D39}">
                <a1611:picAttrSrcUrl xmlns:a1611="http://schemas.microsoft.com/office/drawing/2016/11/main" r:id="rId9"/>
              </a:ext>
            </a:extLst>
          </a:blip>
          <a:srcRect l="-632" t="-1" r="2186" b="-300"/>
          <a:stretch/>
        </p:blipFill>
        <p:spPr bwMode="auto">
          <a:xfrm>
            <a:off x="6314929" y="3874436"/>
            <a:ext cx="1327296" cy="76066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a:extLst>
              <a:ext uri="{FF2B5EF4-FFF2-40B4-BE49-F238E27FC236}">
                <a16:creationId xmlns:a16="http://schemas.microsoft.com/office/drawing/2014/main" id="{4B391951-531F-883F-3BD3-B7E8D7028237}"/>
              </a:ext>
            </a:extLst>
          </p:cNvPr>
          <p:cNvPicPr>
            <a:picLocks noChangeAspect="1" noChangeArrowheads="1"/>
          </p:cNvPicPr>
          <p:nvPr/>
        </p:nvPicPr>
        <p:blipFill rotWithShape="1">
          <a:blip r:embed="rId8">
            <a:extLst>
              <a:ext uri="{837473B0-CC2E-450A-ABE3-18F120FF3D39}">
                <a1611:picAttrSrcUrl xmlns:a1611="http://schemas.microsoft.com/office/drawing/2016/11/main" r:id="rId9"/>
              </a:ext>
            </a:extLst>
          </a:blip>
          <a:srcRect l="-632" t="-1" r="2186" b="-300"/>
          <a:stretch/>
        </p:blipFill>
        <p:spPr bwMode="auto">
          <a:xfrm>
            <a:off x="641050" y="4160610"/>
            <a:ext cx="1114072" cy="638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66543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FD4C2A8-F6BC-78FF-FD2C-33FAF89BC058}"/>
              </a:ext>
            </a:extLst>
          </p:cNvPr>
          <p:cNvSpPr>
            <a:spLocks noGrp="1"/>
          </p:cNvSpPr>
          <p:nvPr>
            <p:ph type="title"/>
          </p:nvPr>
        </p:nvSpPr>
        <p:spPr/>
        <p:txBody>
          <a:bodyPr/>
          <a:lstStyle/>
          <a:p>
            <a:r>
              <a:rPr lang="en-US"/>
              <a:t>Fund Allocation – Chipotle Mexican Grill and Est</a:t>
            </a:r>
            <a:r>
              <a:rPr lang="en-CA" err="1"/>
              <a:t>é</a:t>
            </a:r>
            <a:r>
              <a:rPr lang="en-US"/>
              <a:t>e Lauder</a:t>
            </a:r>
          </a:p>
        </p:txBody>
      </p:sp>
      <p:graphicFrame>
        <p:nvGraphicFramePr>
          <p:cNvPr id="4" name="Gráfico 9">
            <a:extLst>
              <a:ext uri="{FF2B5EF4-FFF2-40B4-BE49-F238E27FC236}">
                <a16:creationId xmlns:a16="http://schemas.microsoft.com/office/drawing/2014/main" id="{9CEF3D7B-43D5-E11B-622C-88BDA87CC052}"/>
              </a:ext>
            </a:extLst>
          </p:cNvPr>
          <p:cNvGraphicFramePr/>
          <p:nvPr>
            <p:extLst>
              <p:ext uri="{D42A27DB-BD31-4B8C-83A1-F6EECF244321}">
                <p14:modId xmlns:p14="http://schemas.microsoft.com/office/powerpoint/2010/main" val="1374717601"/>
              </p:ext>
            </p:extLst>
          </p:nvPr>
        </p:nvGraphicFramePr>
        <p:xfrm>
          <a:off x="464262" y="1452186"/>
          <a:ext cx="4659080" cy="461750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6">
            <a:extLst>
              <a:ext uri="{FF2B5EF4-FFF2-40B4-BE49-F238E27FC236}">
                <a16:creationId xmlns:a16="http://schemas.microsoft.com/office/drawing/2014/main" id="{327AB118-D032-4AC1-ACA4-3E39FB725901}"/>
              </a:ext>
            </a:extLst>
          </p:cNvPr>
          <p:cNvSpPr txBox="1">
            <a:spLocks/>
          </p:cNvSpPr>
          <p:nvPr/>
        </p:nvSpPr>
        <p:spPr>
          <a:xfrm>
            <a:off x="7454911" y="1915235"/>
            <a:ext cx="3829385" cy="1203143"/>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 % Allocation: </a:t>
            </a:r>
            <a:r>
              <a:rPr lang="en-CA" sz="1400">
                <a:latin typeface="Verdana" panose="020B0604030504040204" pitchFamily="34" charset="0"/>
                <a:ea typeface="Verdana" panose="020B0604030504040204" pitchFamily="34" charset="0"/>
                <a:cs typeface="Verdana" panose="020B0604030504040204" pitchFamily="34" charset="0"/>
              </a:rPr>
              <a:t>33.60%</a:t>
            </a:r>
          </a:p>
          <a:p>
            <a:pPr algn="ctr" defTabSz="228554">
              <a:spcAft>
                <a:spcPts val="1200"/>
              </a:spcAft>
              <a:defRPr/>
            </a:pPr>
            <a:r>
              <a:rPr lang="en-CA" sz="1400" b="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otal </a:t>
            </a:r>
            <a:r>
              <a:rPr kumimoji="0" lang="en-CA" sz="1400" b="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und Amount: </a:t>
            </a:r>
            <a:r>
              <a:rPr kumimoji="0" lang="en-CA" sz="140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1 Million</a:t>
            </a:r>
          </a:p>
          <a:p>
            <a:pPr algn="ctr" defTabSz="228554">
              <a:spcAft>
                <a:spcPts val="1200"/>
              </a:spcAft>
              <a:defRPr/>
            </a:pPr>
            <a:r>
              <a:rPr kumimoji="0" lang="en-US" sz="1400" b="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L Dollar Allocation: </a:t>
            </a:r>
            <a:r>
              <a:rPr kumimoji="0" lang="en-US" sz="140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336,000</a:t>
            </a:r>
          </a:p>
        </p:txBody>
      </p:sp>
      <p:pic>
        <p:nvPicPr>
          <p:cNvPr id="10" name="Picture 2" descr="Chipotle Mexican Grill Logo PNG ...">
            <a:extLst>
              <a:ext uri="{FF2B5EF4-FFF2-40B4-BE49-F238E27FC236}">
                <a16:creationId xmlns:a16="http://schemas.microsoft.com/office/drawing/2014/main" id="{F61400EB-7BDD-86D1-D104-0711B1DCB6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42630" y="4074269"/>
            <a:ext cx="1092992" cy="1092992"/>
          </a:xfrm>
          <a:prstGeom prst="ellipse">
            <a:avLst/>
          </a:prstGeom>
          <a:noFill/>
          <a:extLst>
            <a:ext uri="{909E8E84-426E-40DD-AFC4-6F175D3DCCD1}">
              <a14:hiddenFill xmlns:a14="http://schemas.microsoft.com/office/drawing/2010/main">
                <a:solidFill>
                  <a:srgbClr val="FFFFFF"/>
                </a:solidFill>
              </a14:hiddenFill>
            </a:ext>
          </a:extLst>
        </p:spPr>
      </p:pic>
      <p:pic>
        <p:nvPicPr>
          <p:cNvPr id="11" name="Picture 2" descr="Chipotle Mexican Grill Logo PNG ...">
            <a:extLst>
              <a:ext uri="{FF2B5EF4-FFF2-40B4-BE49-F238E27FC236}">
                <a16:creationId xmlns:a16="http://schemas.microsoft.com/office/drawing/2014/main" id="{0CB34F58-DEB8-B312-6CC0-89BCB528F6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81944" y="3948110"/>
            <a:ext cx="738947" cy="738947"/>
          </a:xfrm>
          <a:prstGeom prst="ellipse">
            <a:avLst/>
          </a:prstGeom>
          <a:noFill/>
          <a:extLst>
            <a:ext uri="{909E8E84-426E-40DD-AFC4-6F175D3DCCD1}">
              <a14:hiddenFill xmlns:a14="http://schemas.microsoft.com/office/drawing/2010/main">
                <a:solidFill>
                  <a:srgbClr val="FFFFFF"/>
                </a:solidFill>
              </a14:hiddenFill>
            </a:ext>
          </a:extLst>
        </p:spPr>
      </p:pic>
      <p:sp>
        <p:nvSpPr>
          <p:cNvPr id="13" name="Text Placeholder 6">
            <a:extLst>
              <a:ext uri="{FF2B5EF4-FFF2-40B4-BE49-F238E27FC236}">
                <a16:creationId xmlns:a16="http://schemas.microsoft.com/office/drawing/2014/main" id="{23342738-EF1E-0E73-3BF8-AE64D301ABB4}"/>
              </a:ext>
            </a:extLst>
          </p:cNvPr>
          <p:cNvSpPr txBox="1">
            <a:spLocks/>
          </p:cNvSpPr>
          <p:nvPr/>
        </p:nvSpPr>
        <p:spPr>
          <a:xfrm>
            <a:off x="7454911" y="4019193"/>
            <a:ext cx="3829385" cy="1203143"/>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MG % Allocation: </a:t>
            </a:r>
            <a:r>
              <a:rPr lang="en-CA" sz="1400">
                <a:latin typeface="Verdana" panose="020B0604030504040204" pitchFamily="34" charset="0"/>
                <a:ea typeface="Verdana" panose="020B0604030504040204" pitchFamily="34" charset="0"/>
                <a:cs typeface="Verdana" panose="020B0604030504040204" pitchFamily="34" charset="0"/>
              </a:rPr>
              <a:t>66.40%</a:t>
            </a:r>
          </a:p>
          <a:p>
            <a:pPr algn="ctr" defTabSz="228554">
              <a:spcAft>
                <a:spcPts val="1200"/>
              </a:spcAft>
              <a:defRPr/>
            </a:pPr>
            <a:r>
              <a:rPr lang="en-CA" sz="1400" b="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otal </a:t>
            </a:r>
            <a:r>
              <a:rPr kumimoji="0" lang="en-CA" sz="1400" b="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und Amount: </a:t>
            </a:r>
            <a:r>
              <a:rPr kumimoji="0" lang="en-CA" sz="140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1 Million</a:t>
            </a:r>
          </a:p>
          <a:p>
            <a:pPr algn="ctr" defTabSz="228554">
              <a:spcAft>
                <a:spcPts val="1200"/>
              </a:spcAft>
              <a:defRPr/>
            </a:pPr>
            <a:r>
              <a:rPr kumimoji="0" lang="en-US" sz="1400" b="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CMG Dollar Allocation: </a:t>
            </a:r>
            <a:r>
              <a:rPr kumimoji="0" lang="en-US" sz="140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664,000</a:t>
            </a:r>
          </a:p>
        </p:txBody>
      </p:sp>
      <p:pic>
        <p:nvPicPr>
          <p:cNvPr id="7" name="Picture 8">
            <a:extLst>
              <a:ext uri="{FF2B5EF4-FFF2-40B4-BE49-F238E27FC236}">
                <a16:creationId xmlns:a16="http://schemas.microsoft.com/office/drawing/2014/main" id="{6C3318DA-7F36-587D-6968-27E8C840988E}"/>
              </a:ext>
            </a:extLst>
          </p:cNvPr>
          <p:cNvPicPr>
            <a:picLocks noChangeAspect="1" noChangeArrowheads="1"/>
          </p:cNvPicPr>
          <p:nvPr/>
        </p:nvPicPr>
        <p:blipFill rotWithShape="1">
          <a:blip r:embed="rId4">
            <a:extLst>
              <a:ext uri="{837473B0-CC2E-450A-ABE3-18F120FF3D39}">
                <a1611:picAttrSrcUrl xmlns:a1611="http://schemas.microsoft.com/office/drawing/2016/11/main" r:id="rId5"/>
              </a:ext>
            </a:extLst>
          </a:blip>
          <a:srcRect l="-632" t="-1" r="2186" b="-300"/>
          <a:stretch/>
        </p:blipFill>
        <p:spPr bwMode="auto">
          <a:xfrm>
            <a:off x="1130908" y="3055844"/>
            <a:ext cx="1230327" cy="70509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a:extLst>
              <a:ext uri="{FF2B5EF4-FFF2-40B4-BE49-F238E27FC236}">
                <a16:creationId xmlns:a16="http://schemas.microsoft.com/office/drawing/2014/main" id="{EF99224D-1457-22C8-2F39-56E8F4A5EF1D}"/>
              </a:ext>
            </a:extLst>
          </p:cNvPr>
          <p:cNvPicPr>
            <a:picLocks noChangeAspect="1" noChangeArrowheads="1"/>
          </p:cNvPicPr>
          <p:nvPr/>
        </p:nvPicPr>
        <p:blipFill rotWithShape="1">
          <a:blip r:embed="rId4">
            <a:extLst>
              <a:ext uri="{837473B0-CC2E-450A-ABE3-18F120FF3D39}">
                <a1611:picAttrSrcUrl xmlns:a1611="http://schemas.microsoft.com/office/drawing/2016/11/main" r:id="rId5"/>
              </a:ext>
            </a:extLst>
          </a:blip>
          <a:srcRect l="-632" t="-1" r="2186" b="-300"/>
          <a:stretch/>
        </p:blipFill>
        <p:spPr bwMode="auto">
          <a:xfrm>
            <a:off x="5287977" y="1943051"/>
            <a:ext cx="2002297" cy="1147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5934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2AB24C-7131-F6B8-873A-3655500FC98E}"/>
              </a:ext>
            </a:extLst>
          </p:cNvPr>
          <p:cNvSpPr>
            <a:spLocks noGrp="1"/>
          </p:cNvSpPr>
          <p:nvPr>
            <p:ph type="title"/>
          </p:nvPr>
        </p:nvSpPr>
        <p:spPr/>
        <p:txBody>
          <a:bodyPr>
            <a:normAutofit/>
          </a:bodyPr>
          <a:lstStyle/>
          <a:p>
            <a:r>
              <a:rPr lang="en-US"/>
              <a:t>Allocation Projection</a:t>
            </a:r>
          </a:p>
        </p:txBody>
      </p:sp>
      <p:graphicFrame>
        <p:nvGraphicFramePr>
          <p:cNvPr id="4" name="Table 3">
            <a:extLst>
              <a:ext uri="{FF2B5EF4-FFF2-40B4-BE49-F238E27FC236}">
                <a16:creationId xmlns:a16="http://schemas.microsoft.com/office/drawing/2014/main" id="{878955A9-CBF7-9AE8-026E-6A1BBC35C28A}"/>
              </a:ext>
            </a:extLst>
          </p:cNvPr>
          <p:cNvGraphicFramePr>
            <a:graphicFrameLocks noGrp="1"/>
          </p:cNvGraphicFramePr>
          <p:nvPr>
            <p:extLst>
              <p:ext uri="{D42A27DB-BD31-4B8C-83A1-F6EECF244321}">
                <p14:modId xmlns:p14="http://schemas.microsoft.com/office/powerpoint/2010/main" val="1538256755"/>
              </p:ext>
            </p:extLst>
          </p:nvPr>
        </p:nvGraphicFramePr>
        <p:xfrm>
          <a:off x="289870" y="1168406"/>
          <a:ext cx="11414772" cy="5138189"/>
        </p:xfrm>
        <a:graphic>
          <a:graphicData uri="http://schemas.openxmlformats.org/drawingml/2006/table">
            <a:tbl>
              <a:tblPr firstRow="1" bandRow="1">
                <a:tableStyleId>{5C22544A-7EE6-4342-B048-85BDC9FD1C3A}</a:tableStyleId>
              </a:tblPr>
              <a:tblGrid>
                <a:gridCol w="2354718">
                  <a:extLst>
                    <a:ext uri="{9D8B030D-6E8A-4147-A177-3AD203B41FA5}">
                      <a16:colId xmlns:a16="http://schemas.microsoft.com/office/drawing/2014/main" val="4245256249"/>
                    </a:ext>
                  </a:extLst>
                </a:gridCol>
                <a:gridCol w="2492188">
                  <a:extLst>
                    <a:ext uri="{9D8B030D-6E8A-4147-A177-3AD203B41FA5}">
                      <a16:colId xmlns:a16="http://schemas.microsoft.com/office/drawing/2014/main" val="3122895160"/>
                    </a:ext>
                  </a:extLst>
                </a:gridCol>
                <a:gridCol w="1945342">
                  <a:extLst>
                    <a:ext uri="{9D8B030D-6E8A-4147-A177-3AD203B41FA5}">
                      <a16:colId xmlns:a16="http://schemas.microsoft.com/office/drawing/2014/main" val="1801644092"/>
                    </a:ext>
                  </a:extLst>
                </a:gridCol>
                <a:gridCol w="2133600">
                  <a:extLst>
                    <a:ext uri="{9D8B030D-6E8A-4147-A177-3AD203B41FA5}">
                      <a16:colId xmlns:a16="http://schemas.microsoft.com/office/drawing/2014/main" val="4134210389"/>
                    </a:ext>
                  </a:extLst>
                </a:gridCol>
                <a:gridCol w="2488924">
                  <a:extLst>
                    <a:ext uri="{9D8B030D-6E8A-4147-A177-3AD203B41FA5}">
                      <a16:colId xmlns:a16="http://schemas.microsoft.com/office/drawing/2014/main" val="2998332690"/>
                    </a:ext>
                  </a:extLst>
                </a:gridCol>
              </a:tblGrid>
              <a:tr h="1117748">
                <a:tc>
                  <a:txBody>
                    <a:bodyPr/>
                    <a:lstStyle/>
                    <a:p>
                      <a:pPr algn="ctr"/>
                      <a:r>
                        <a:rPr lang="en-CA" sz="1800">
                          <a:solidFill>
                            <a:schemeClr val="bg1"/>
                          </a:solidFill>
                          <a:latin typeface="Verdana" panose="020B0604030504040204" pitchFamily="34" charset="0"/>
                          <a:ea typeface="Verdana" panose="020B0604030504040204" pitchFamily="34" charset="0"/>
                          <a:cs typeface="Verdana" panose="020B0604030504040204" pitchFamily="34" charset="0"/>
                        </a:rPr>
                        <a:t>Compan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GB" sz="1800" b="1" kern="1200">
                          <a:solidFill>
                            <a:schemeClr val="bg1"/>
                          </a:solidFill>
                          <a:latin typeface="Verdana" panose="020B0604030504040204" pitchFamily="34" charset="0"/>
                          <a:ea typeface="Verdana" panose="020B0604030504040204" pitchFamily="34" charset="0"/>
                          <a:cs typeface="Verdana" panose="020B0604030504040204" pitchFamily="34" charset="0"/>
                        </a:rPr>
                        <a:t>Portfolio %</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kern="1200" noProof="0">
                          <a:solidFill>
                            <a:schemeClr val="bg1"/>
                          </a:solidFill>
                          <a:latin typeface="Verdana" panose="020B0604030504040204" pitchFamily="34" charset="0"/>
                          <a:ea typeface="Verdana" panose="020B0604030504040204" pitchFamily="34" charset="0"/>
                          <a:cs typeface="Verdana" panose="020B0604030504040204" pitchFamily="34" charset="0"/>
                        </a:rPr>
                        <a:t>Allocation $</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kern="1200" noProof="0">
                          <a:solidFill>
                            <a:schemeClr val="bg1"/>
                          </a:solidFill>
                          <a:latin typeface="Verdana" panose="020B0604030504040204" pitchFamily="34" charset="0"/>
                          <a:ea typeface="Verdana" panose="020B0604030504040204" pitchFamily="34" charset="0"/>
                          <a:cs typeface="Verdana" panose="020B0604030504040204" pitchFamily="34" charset="0"/>
                        </a:rPr>
                        <a:t>Projected Appreciation</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kern="1200" noProof="0">
                          <a:solidFill>
                            <a:schemeClr val="bg1"/>
                          </a:solidFill>
                          <a:latin typeface="Verdana" panose="020B0604030504040204" pitchFamily="34" charset="0"/>
                          <a:ea typeface="Verdana" panose="020B0604030504040204" pitchFamily="34" charset="0"/>
                          <a:cs typeface="Verdana" panose="020B0604030504040204" pitchFamily="34" charset="0"/>
                        </a:rPr>
                        <a:t>Projected Investment Value</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164215"/>
                  </a:ext>
                </a:extLst>
              </a:tr>
              <a:tr h="1340147">
                <a:tc>
                  <a:txBody>
                    <a:bodyPr/>
                    <a:lstStyle/>
                    <a:p>
                      <a:pPr algn="ctr"/>
                      <a:r>
                        <a:rPr lang="en-CA" sz="1800" b="1">
                          <a:latin typeface="Verdana" panose="020B0604030504040204" pitchFamily="34" charset="0"/>
                          <a:ea typeface="Verdana" panose="020B0604030504040204" pitchFamily="34" charset="0"/>
                          <a:cs typeface="Verdana" panose="020B0604030504040204" pitchFamily="34" charset="0"/>
                        </a:rPr>
                        <a:t>Estée Lau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3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336,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800" b="1">
                          <a:solidFill>
                            <a:srgbClr val="347170"/>
                          </a:solidFill>
                          <a:latin typeface="Verdana" panose="020B0604030504040204" pitchFamily="34" charset="0"/>
                          <a:ea typeface="Verdana" panose="020B0604030504040204" pitchFamily="34" charset="0"/>
                          <a:cs typeface="Verdana" panose="020B0604030504040204" pitchFamily="34" charset="0"/>
                        </a:rPr>
                        <a:t>+5.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354,78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6562464"/>
                  </a:ext>
                </a:extLst>
              </a:tr>
              <a:tr h="1340147">
                <a:tc>
                  <a:txBody>
                    <a:bodyPr/>
                    <a:lstStyle/>
                    <a:p>
                      <a:pPr algn="ctr"/>
                      <a:r>
                        <a:rPr lang="en-CA" sz="1800" b="1">
                          <a:latin typeface="Verdana" panose="020B0604030504040204" pitchFamily="34" charset="0"/>
                          <a:ea typeface="Verdana" panose="020B0604030504040204" pitchFamily="34" charset="0"/>
                          <a:cs typeface="Verdana" panose="020B0604030504040204" pitchFamily="34" charset="0"/>
                        </a:rPr>
                        <a:t>Chipotle Mexican Gri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66.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66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800" b="1">
                          <a:solidFill>
                            <a:srgbClr val="347170"/>
                          </a:solidFill>
                          <a:latin typeface="Verdana" panose="020B0604030504040204" pitchFamily="34" charset="0"/>
                          <a:ea typeface="Verdana" panose="020B0604030504040204" pitchFamily="34" charset="0"/>
                          <a:cs typeface="Verdana" panose="020B0604030504040204" pitchFamily="34" charset="0"/>
                        </a:rPr>
                        <a:t>+11.0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737,30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64940320"/>
                  </a:ext>
                </a:extLst>
              </a:tr>
              <a:tr h="1340147">
                <a:tc>
                  <a:txBody>
                    <a:bodyPr/>
                    <a:lstStyle/>
                    <a:p>
                      <a:pPr algn="ctr"/>
                      <a:r>
                        <a:rPr lang="en-CA" sz="1800" b="1">
                          <a:latin typeface="Verdana" panose="020B0604030504040204" pitchFamily="34" charset="0"/>
                          <a:ea typeface="Verdana" panose="020B0604030504040204" pitchFamily="34" charset="0"/>
                          <a:cs typeface="Verdana" panose="020B0604030504040204" pitchFamily="34" charset="0"/>
                        </a:rPr>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1,00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800" b="1">
                          <a:solidFill>
                            <a:srgbClr val="347170"/>
                          </a:solidFill>
                          <a:latin typeface="Verdana" panose="020B0604030504040204" pitchFamily="34" charset="0"/>
                          <a:ea typeface="Verdana" panose="020B0604030504040204" pitchFamily="34" charset="0"/>
                          <a:cs typeface="Verdana" panose="020B0604030504040204" pitchFamily="34" charset="0"/>
                        </a:rPr>
                        <a:t>+9.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1,092,08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73479561"/>
                  </a:ext>
                </a:extLst>
              </a:tr>
            </a:tbl>
          </a:graphicData>
        </a:graphic>
      </p:graphicFrame>
      <p:pic>
        <p:nvPicPr>
          <p:cNvPr id="2" name="Picture 8">
            <a:extLst>
              <a:ext uri="{FF2B5EF4-FFF2-40B4-BE49-F238E27FC236}">
                <a16:creationId xmlns:a16="http://schemas.microsoft.com/office/drawing/2014/main" id="{9271E59F-3E84-E923-D270-7DEDA512A4E2}"/>
              </a:ext>
            </a:extLst>
          </p:cNvPr>
          <p:cNvPicPr>
            <a:picLocks noChangeAspect="1" noChangeArrowheads="1"/>
          </p:cNvPicPr>
          <p:nvPr/>
        </p:nvPicPr>
        <p:blipFill rotWithShape="1">
          <a:blip r:embed="rId3">
            <a:extLst>
              <a:ext uri="{837473B0-CC2E-450A-ABE3-18F120FF3D39}">
                <a1611:picAttrSrcUrl xmlns:a1611="http://schemas.microsoft.com/office/drawing/2016/11/main" r:id="rId4"/>
              </a:ext>
            </a:extLst>
          </a:blip>
          <a:srcRect l="-632" t="-1" r="2186" b="-300"/>
          <a:stretch/>
        </p:blipFill>
        <p:spPr bwMode="auto">
          <a:xfrm>
            <a:off x="737305" y="2636058"/>
            <a:ext cx="1383609" cy="79294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hipotle Mexican Grill Logo PNG ...">
            <a:extLst>
              <a:ext uri="{FF2B5EF4-FFF2-40B4-BE49-F238E27FC236}">
                <a16:creationId xmlns:a16="http://schemas.microsoft.com/office/drawing/2014/main" id="{E396779A-996F-0E71-E59A-A5500155B2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14807" y="4268048"/>
            <a:ext cx="628604" cy="628604"/>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4375214"/>
      </p:ext>
    </p:extLst>
  </p:cSld>
  <p:clrMapOvr>
    <a:masterClrMapping/>
  </p:clrMapOvr>
  <p:extLst>
    <p:ext uri="{6950BFC3-D8DA-4A85-94F7-54DA5524770B}">
      <p188:commentRel xmlns:p188="http://schemas.microsoft.com/office/powerpoint/2018/8/main" r:id="rId2"/>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0F5FB313-C22A-098E-9D49-15084CA715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17" imgH="318" progId="TCLayout.ActiveDocument.1">
                  <p:embed/>
                </p:oleObj>
              </mc:Choice>
              <mc:Fallback>
                <p:oleObj name="Diapositiva de think-cell" r:id="rId4" imgW="317" imgH="318" progId="TCLayout.ActiveDocument.1">
                  <p:embed/>
                  <p:pic>
                    <p:nvPicPr>
                      <p:cNvPr id="6" name="Objeto 5" hidden="1">
                        <a:extLst>
                          <a:ext uri="{FF2B5EF4-FFF2-40B4-BE49-F238E27FC236}">
                            <a16:creationId xmlns:a16="http://schemas.microsoft.com/office/drawing/2014/main" id="{0F5FB313-C22A-098E-9D49-15084CA715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0B96FCD6-830C-00F6-6AE6-581EFA67FB9C}"/>
              </a:ext>
            </a:extLst>
          </p:cNvPr>
          <p:cNvSpPr>
            <a:spLocks noGrp="1"/>
          </p:cNvSpPr>
          <p:nvPr>
            <p:ph type="title"/>
          </p:nvPr>
        </p:nvSpPr>
        <p:spPr>
          <a:xfrm>
            <a:off x="384175" y="381000"/>
            <a:ext cx="1962786" cy="485775"/>
          </a:xfrm>
        </p:spPr>
        <p:txBody>
          <a:bodyPr vert="horz"/>
          <a:lstStyle/>
          <a:p>
            <a:r>
              <a:rPr lang="en-GB"/>
              <a:t>Monitoring</a:t>
            </a:r>
          </a:p>
        </p:txBody>
      </p:sp>
      <p:sp>
        <p:nvSpPr>
          <p:cNvPr id="8" name="Título 2">
            <a:extLst>
              <a:ext uri="{FF2B5EF4-FFF2-40B4-BE49-F238E27FC236}">
                <a16:creationId xmlns:a16="http://schemas.microsoft.com/office/drawing/2014/main" id="{F10EBFF6-B12A-5BDF-3F84-D3B3CE81CB57}"/>
              </a:ext>
            </a:extLst>
          </p:cNvPr>
          <p:cNvSpPr txBox="1">
            <a:spLocks/>
          </p:cNvSpPr>
          <p:nvPr/>
        </p:nvSpPr>
        <p:spPr>
          <a:xfrm>
            <a:off x="387352" y="999222"/>
            <a:ext cx="5640390" cy="4857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ctr"/>
            <a:r>
              <a:rPr lang="en-GB" sz="2000"/>
              <a:t>Chipotle Mexican Grill</a:t>
            </a:r>
          </a:p>
        </p:txBody>
      </p:sp>
      <p:sp>
        <p:nvSpPr>
          <p:cNvPr id="14" name="Título 2">
            <a:extLst>
              <a:ext uri="{FF2B5EF4-FFF2-40B4-BE49-F238E27FC236}">
                <a16:creationId xmlns:a16="http://schemas.microsoft.com/office/drawing/2014/main" id="{5EAC2325-9853-EF43-FAA8-0446B00320CA}"/>
              </a:ext>
            </a:extLst>
          </p:cNvPr>
          <p:cNvSpPr txBox="1">
            <a:spLocks/>
          </p:cNvSpPr>
          <p:nvPr/>
        </p:nvSpPr>
        <p:spPr>
          <a:xfrm>
            <a:off x="6164258" y="999221"/>
            <a:ext cx="5640390" cy="4857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ctr"/>
            <a:r>
              <a:rPr lang="en-CA" sz="2000" err="1"/>
              <a:t>Esté</a:t>
            </a:r>
            <a:r>
              <a:rPr lang="en-GB" sz="2000"/>
              <a:t>e Lauder</a:t>
            </a:r>
          </a:p>
        </p:txBody>
      </p:sp>
      <p:sp>
        <p:nvSpPr>
          <p:cNvPr id="15" name="Text Placeholder 6">
            <a:extLst>
              <a:ext uri="{FF2B5EF4-FFF2-40B4-BE49-F238E27FC236}">
                <a16:creationId xmlns:a16="http://schemas.microsoft.com/office/drawing/2014/main" id="{4CD6E20B-A406-1241-300C-8AF60BB6932F}"/>
              </a:ext>
            </a:extLst>
          </p:cNvPr>
          <p:cNvSpPr txBox="1">
            <a:spLocks/>
          </p:cNvSpPr>
          <p:nvPr/>
        </p:nvSpPr>
        <p:spPr>
          <a:xfrm>
            <a:off x="1006110" y="5049967"/>
            <a:ext cx="4602219" cy="1445957"/>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MG Target Price: </a:t>
            </a:r>
            <a:r>
              <a:rPr lang="en-US" sz="140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59.45</a:t>
            </a:r>
          </a:p>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MG</a:t>
            </a: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Return Projection: </a:t>
            </a:r>
            <a:r>
              <a:rPr lang="en-CA" sz="1400">
                <a:solidFill>
                  <a:srgbClr val="347170"/>
                </a:solidFill>
                <a:latin typeface="Verdana" panose="020B0604030504040204" pitchFamily="34" charset="0"/>
                <a:ea typeface="Verdana" panose="020B0604030504040204" pitchFamily="34" charset="0"/>
                <a:cs typeface="Verdana" panose="020B0604030504040204" pitchFamily="34" charset="0"/>
              </a:rPr>
              <a:t>+11.04%</a:t>
            </a:r>
          </a:p>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MG</a:t>
            </a: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Current Return: </a:t>
            </a:r>
            <a:r>
              <a:rPr lang="en-CA" sz="1400" b="1" kern="1200">
                <a:solidFill>
                  <a:srgbClr val="C00000"/>
                </a:solidFill>
                <a:latin typeface="Verdana" panose="020B0604030504040204" pitchFamily="34" charset="0"/>
                <a:ea typeface="Verdana" panose="020B0604030504040204" pitchFamily="34" charset="0"/>
                <a:cs typeface="Verdana" panose="020B0604030504040204" pitchFamily="34" charset="0"/>
              </a:rPr>
              <a:t>-4.58%</a:t>
            </a:r>
            <a:endParaRPr lang="en-CA" sz="1400">
              <a:solidFill>
                <a:srgbClr val="C00000"/>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 Placeholder 6">
            <a:extLst>
              <a:ext uri="{FF2B5EF4-FFF2-40B4-BE49-F238E27FC236}">
                <a16:creationId xmlns:a16="http://schemas.microsoft.com/office/drawing/2014/main" id="{FC817700-9FF8-91C5-F834-17A6EB793F23}"/>
              </a:ext>
            </a:extLst>
          </p:cNvPr>
          <p:cNvSpPr txBox="1">
            <a:spLocks/>
          </p:cNvSpPr>
          <p:nvPr/>
        </p:nvSpPr>
        <p:spPr>
          <a:xfrm>
            <a:off x="6679017" y="5049967"/>
            <a:ext cx="4602219" cy="1445957"/>
          </a:xfrm>
          <a:prstGeom prst="rect">
            <a:avLst/>
          </a:prstGeom>
          <a:solidFill>
            <a:schemeClr val="bg1">
              <a:lumMod val="95000"/>
            </a:schemeClr>
          </a:solidFill>
          <a:ln>
            <a:solidFill>
              <a:schemeClr val="accent1">
                <a:shade val="15000"/>
              </a:schemeClr>
            </a:solidFill>
            <a:prstDash val="dash"/>
          </a:ln>
          <a:effectLst/>
        </p:spPr>
        <p:txBody>
          <a:bodyPr lIns="9144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 Target Price: </a:t>
            </a:r>
            <a:r>
              <a:rPr lang="en-US" sz="140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104.72</a:t>
            </a:r>
          </a:p>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a:t>
            </a: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Return Projection: </a:t>
            </a:r>
            <a:r>
              <a:rPr lang="en-CA" sz="1400">
                <a:solidFill>
                  <a:srgbClr val="347170"/>
                </a:solidFill>
                <a:latin typeface="Verdana" panose="020B0604030504040204" pitchFamily="34" charset="0"/>
                <a:ea typeface="Verdana" panose="020B0604030504040204" pitchFamily="34" charset="0"/>
                <a:cs typeface="Verdana" panose="020B0604030504040204" pitchFamily="34" charset="0"/>
              </a:rPr>
              <a:t>+5.59%</a:t>
            </a:r>
          </a:p>
          <a:p>
            <a:pPr algn="ctr" defTabSz="228554">
              <a:spcAft>
                <a:spcPts val="1200"/>
              </a:spcAft>
              <a:defRPr/>
            </a:pPr>
            <a:r>
              <a:rPr lang="en-US" sz="1400" b="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a:t>
            </a: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Current Return: </a:t>
            </a:r>
            <a:r>
              <a:rPr lang="en-CA" sz="1400" b="1">
                <a:solidFill>
                  <a:srgbClr val="347170"/>
                </a:solidFill>
                <a:latin typeface="Verdana" panose="020B0604030504040204" pitchFamily="34" charset="0"/>
                <a:ea typeface="Verdana" panose="020B0604030504040204" pitchFamily="34" charset="0"/>
                <a:cs typeface="Verdana" panose="020B0604030504040204" pitchFamily="34" charset="0"/>
              </a:rPr>
              <a:t>+3.03%</a:t>
            </a:r>
            <a:endParaRPr lang="en-CA" sz="1400">
              <a:solidFill>
                <a:srgbClr val="347170"/>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 name="Chart 16">
            <a:extLst>
              <a:ext uri="{FF2B5EF4-FFF2-40B4-BE49-F238E27FC236}">
                <a16:creationId xmlns:a16="http://schemas.microsoft.com/office/drawing/2014/main" id="{71BCC0DB-1060-00FA-8709-D2C96AC69999}"/>
              </a:ext>
            </a:extLst>
          </p:cNvPr>
          <p:cNvGraphicFramePr/>
          <p:nvPr>
            <p:extLst>
              <p:ext uri="{D42A27DB-BD31-4B8C-83A1-F6EECF244321}">
                <p14:modId xmlns:p14="http://schemas.microsoft.com/office/powerpoint/2010/main" val="2308552509"/>
              </p:ext>
            </p:extLst>
          </p:nvPr>
        </p:nvGraphicFramePr>
        <p:xfrm>
          <a:off x="6159931" y="1589890"/>
          <a:ext cx="5640390" cy="3355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DE340413-DA2C-617F-D84A-81D80DD342AD}"/>
              </a:ext>
            </a:extLst>
          </p:cNvPr>
          <p:cNvGraphicFramePr/>
          <p:nvPr>
            <p:extLst>
              <p:ext uri="{D42A27DB-BD31-4B8C-83A1-F6EECF244321}">
                <p14:modId xmlns:p14="http://schemas.microsoft.com/office/powerpoint/2010/main" val="3067393184"/>
              </p:ext>
            </p:extLst>
          </p:nvPr>
        </p:nvGraphicFramePr>
        <p:xfrm>
          <a:off x="586696" y="1589890"/>
          <a:ext cx="5441046" cy="3355183"/>
        </p:xfrm>
        <a:graphic>
          <a:graphicData uri="http://schemas.openxmlformats.org/drawingml/2006/chart">
            <c:chart xmlns:c="http://schemas.openxmlformats.org/drawingml/2006/chart" xmlns:r="http://schemas.openxmlformats.org/officeDocument/2006/relationships" r:id="rId7"/>
          </a:graphicData>
        </a:graphic>
      </p:graphicFrame>
      <p:sp>
        <p:nvSpPr>
          <p:cNvPr id="19" name="Oval 18">
            <a:extLst>
              <a:ext uri="{FF2B5EF4-FFF2-40B4-BE49-F238E27FC236}">
                <a16:creationId xmlns:a16="http://schemas.microsoft.com/office/drawing/2014/main" id="{2E19F644-7745-208D-749E-1B9564086F4A}"/>
              </a:ext>
            </a:extLst>
          </p:cNvPr>
          <p:cNvSpPr/>
          <p:nvPr/>
        </p:nvSpPr>
        <p:spPr>
          <a:xfrm>
            <a:off x="5410180" y="2368605"/>
            <a:ext cx="188300" cy="18722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cs typeface="Verdana" panose="020B0604030504040204" pitchFamily="34" charset="0"/>
            </a:endParaRPr>
          </a:p>
        </p:txBody>
      </p:sp>
      <p:sp>
        <p:nvSpPr>
          <p:cNvPr id="20" name="Oval 19">
            <a:extLst>
              <a:ext uri="{FF2B5EF4-FFF2-40B4-BE49-F238E27FC236}">
                <a16:creationId xmlns:a16="http://schemas.microsoft.com/office/drawing/2014/main" id="{CFF1B04D-5B49-3D12-1D94-D3D185ED3EDB}"/>
              </a:ext>
            </a:extLst>
          </p:cNvPr>
          <p:cNvSpPr/>
          <p:nvPr/>
        </p:nvSpPr>
        <p:spPr>
          <a:xfrm>
            <a:off x="11097263" y="2354524"/>
            <a:ext cx="188300" cy="18722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cs typeface="Verdana" panose="020B0604030504040204" pitchFamily="34" charset="0"/>
            </a:endParaRPr>
          </a:p>
        </p:txBody>
      </p:sp>
      <p:grpSp>
        <p:nvGrpSpPr>
          <p:cNvPr id="7" name="Group 6">
            <a:extLst>
              <a:ext uri="{FF2B5EF4-FFF2-40B4-BE49-F238E27FC236}">
                <a16:creationId xmlns:a16="http://schemas.microsoft.com/office/drawing/2014/main" id="{232404AA-FD31-D8BD-47FD-D9204BB64AA1}"/>
              </a:ext>
            </a:extLst>
          </p:cNvPr>
          <p:cNvGrpSpPr/>
          <p:nvPr/>
        </p:nvGrpSpPr>
        <p:grpSpPr>
          <a:xfrm>
            <a:off x="4969799" y="362513"/>
            <a:ext cx="2252403" cy="504262"/>
            <a:chOff x="5039359" y="362513"/>
            <a:chExt cx="2252403" cy="504262"/>
          </a:xfrm>
        </p:grpSpPr>
        <p:sp>
          <p:nvSpPr>
            <p:cNvPr id="5" name="Rectangle 4">
              <a:extLst>
                <a:ext uri="{FF2B5EF4-FFF2-40B4-BE49-F238E27FC236}">
                  <a16:creationId xmlns:a16="http://schemas.microsoft.com/office/drawing/2014/main" id="{E9B02F5D-27AD-84FC-6A46-B0FE5FBAC212}"/>
                </a:ext>
              </a:extLst>
            </p:cNvPr>
            <p:cNvSpPr/>
            <p:nvPr/>
          </p:nvSpPr>
          <p:spPr>
            <a:xfrm>
              <a:off x="5039359" y="362513"/>
              <a:ext cx="2252403" cy="504262"/>
            </a:xfrm>
            <a:prstGeom prst="rect">
              <a:avLst/>
            </a:prstGeom>
            <a:solidFill>
              <a:srgbClr val="F9F9F9"/>
            </a:solidFill>
            <a:ln w="6350">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CA" sz="1600">
                  <a:solidFill>
                    <a:schemeClr val="tx1"/>
                  </a:solidFill>
                </a:rPr>
                <a:t>Target Price Marker:</a:t>
              </a:r>
            </a:p>
          </p:txBody>
        </p:sp>
        <p:sp>
          <p:nvSpPr>
            <p:cNvPr id="2" name="Oval 1">
              <a:extLst>
                <a:ext uri="{FF2B5EF4-FFF2-40B4-BE49-F238E27FC236}">
                  <a16:creationId xmlns:a16="http://schemas.microsoft.com/office/drawing/2014/main" id="{652EA4A0-B658-EF9D-D756-A797A06083CE}"/>
                </a:ext>
              </a:extLst>
            </p:cNvPr>
            <p:cNvSpPr/>
            <p:nvPr/>
          </p:nvSpPr>
          <p:spPr>
            <a:xfrm>
              <a:off x="6921420" y="521032"/>
              <a:ext cx="188300" cy="18722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1019241543"/>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2CDB17-09EC-8BAA-07C2-363CF2A92511}"/>
              </a:ext>
            </a:extLst>
          </p:cNvPr>
          <p:cNvSpPr>
            <a:spLocks noGrp="1"/>
          </p:cNvSpPr>
          <p:nvPr>
            <p:ph type="title"/>
          </p:nvPr>
        </p:nvSpPr>
        <p:spPr/>
        <p:txBody>
          <a:bodyPr/>
          <a:lstStyle/>
          <a:p>
            <a:r>
              <a:rPr lang="en-US"/>
              <a:t>What Happened?</a:t>
            </a:r>
          </a:p>
        </p:txBody>
      </p:sp>
      <p:pic>
        <p:nvPicPr>
          <p:cNvPr id="4" name="Picture 3">
            <a:extLst>
              <a:ext uri="{FF2B5EF4-FFF2-40B4-BE49-F238E27FC236}">
                <a16:creationId xmlns:a16="http://schemas.microsoft.com/office/drawing/2014/main" id="{3F038AED-A7A1-E7AF-C9FB-240DD85CC81A}"/>
              </a:ext>
            </a:extLst>
          </p:cNvPr>
          <p:cNvPicPr>
            <a:picLocks noChangeAspect="1"/>
          </p:cNvPicPr>
          <p:nvPr/>
        </p:nvPicPr>
        <p:blipFill>
          <a:blip r:embed="rId2"/>
          <a:stretch>
            <a:fillRect/>
          </a:stretch>
        </p:blipFill>
        <p:spPr>
          <a:xfrm>
            <a:off x="721318" y="1188932"/>
            <a:ext cx="5674360" cy="1562997"/>
          </a:xfrm>
          <a:prstGeom prst="rect">
            <a:avLst/>
          </a:prstGeom>
        </p:spPr>
      </p:pic>
      <p:pic>
        <p:nvPicPr>
          <p:cNvPr id="5" name="Picture 4">
            <a:extLst>
              <a:ext uri="{FF2B5EF4-FFF2-40B4-BE49-F238E27FC236}">
                <a16:creationId xmlns:a16="http://schemas.microsoft.com/office/drawing/2014/main" id="{80BB244B-80C9-A168-295B-02DD020AC32E}"/>
              </a:ext>
            </a:extLst>
          </p:cNvPr>
          <p:cNvPicPr>
            <a:picLocks noChangeAspect="1"/>
          </p:cNvPicPr>
          <p:nvPr/>
        </p:nvPicPr>
        <p:blipFill>
          <a:blip r:embed="rId3"/>
          <a:stretch>
            <a:fillRect/>
          </a:stretch>
        </p:blipFill>
        <p:spPr>
          <a:xfrm>
            <a:off x="384174" y="3451468"/>
            <a:ext cx="6273716" cy="2313103"/>
          </a:xfrm>
          <a:prstGeom prst="rect">
            <a:avLst/>
          </a:prstGeom>
        </p:spPr>
      </p:pic>
      <p:pic>
        <p:nvPicPr>
          <p:cNvPr id="1026" name="Picture 2" descr="On Investing In Gamestop And Other Meme Stocks | Medium">
            <a:extLst>
              <a:ext uri="{FF2B5EF4-FFF2-40B4-BE49-F238E27FC236}">
                <a16:creationId xmlns:a16="http://schemas.microsoft.com/office/drawing/2014/main" id="{D4ABE136-C382-992E-80B5-AC2A3ACD72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08240" y="1653823"/>
            <a:ext cx="3987483" cy="2954197"/>
          </a:xfrm>
          <a:prstGeom prst="rect">
            <a:avLst/>
          </a:prstGeom>
          <a:noFill/>
          <a:extLst>
            <a:ext uri="{909E8E84-426E-40DD-AFC4-6F175D3DCCD1}">
              <a14:hiddenFill xmlns:a14="http://schemas.microsoft.com/office/drawing/2010/main">
                <a:solidFill>
                  <a:srgbClr val="FFFFFF"/>
                </a:solidFill>
              </a14:hiddenFill>
            </a:ext>
          </a:extLst>
        </p:spPr>
      </p:pic>
      <p:sp>
        <p:nvSpPr>
          <p:cNvPr id="6" name="Marcador de pie de página 4">
            <a:extLst>
              <a:ext uri="{FF2B5EF4-FFF2-40B4-BE49-F238E27FC236}">
                <a16:creationId xmlns:a16="http://schemas.microsoft.com/office/drawing/2014/main" id="{7A4A7E23-94A7-CC1C-C4FE-BF7E6639DFE0}"/>
              </a:ext>
            </a:extLst>
          </p:cNvPr>
          <p:cNvSpPr txBox="1">
            <a:spLocks/>
          </p:cNvSpPr>
          <p:nvPr/>
        </p:nvSpPr>
        <p:spPr>
          <a:xfrm>
            <a:off x="0" y="6614160"/>
            <a:ext cx="5847522" cy="240681"/>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1050">
                <a:solidFill>
                  <a:srgbClr val="000000">
                    <a:tint val="75000"/>
                  </a:srgbClr>
                </a:solidFill>
                <a:latin typeface="Verdana"/>
              </a:rPr>
              <a:t>Source: CNBC &amp; </a:t>
            </a:r>
            <a:r>
              <a:rPr lang="en-US" sz="1050" err="1">
                <a:solidFill>
                  <a:srgbClr val="000000">
                    <a:tint val="75000"/>
                  </a:srgbClr>
                </a:solidFill>
                <a:latin typeface="Verdana"/>
              </a:rPr>
              <a:t>Marketwatch</a:t>
            </a:r>
            <a:endParaRPr lang="en-US" sz="1050">
              <a:solidFill>
                <a:srgbClr val="000000">
                  <a:tint val="75000"/>
                </a:srgbClr>
              </a:solidFill>
              <a:latin typeface="Verdana"/>
            </a:endParaRPr>
          </a:p>
        </p:txBody>
      </p:sp>
    </p:spTree>
    <p:extLst>
      <p:ext uri="{BB962C8B-B14F-4D97-AF65-F5344CB8AC3E}">
        <p14:creationId xmlns:p14="http://schemas.microsoft.com/office/powerpoint/2010/main" val="29484954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2AB24C-7131-F6B8-873A-3655500FC98E}"/>
              </a:ext>
            </a:extLst>
          </p:cNvPr>
          <p:cNvSpPr>
            <a:spLocks noGrp="1"/>
          </p:cNvSpPr>
          <p:nvPr>
            <p:ph type="title"/>
          </p:nvPr>
        </p:nvSpPr>
        <p:spPr/>
        <p:txBody>
          <a:bodyPr>
            <a:normAutofit/>
          </a:bodyPr>
          <a:lstStyle/>
          <a:p>
            <a:r>
              <a:rPr lang="en-US"/>
              <a:t>Allocation Reality</a:t>
            </a:r>
          </a:p>
        </p:txBody>
      </p:sp>
      <p:graphicFrame>
        <p:nvGraphicFramePr>
          <p:cNvPr id="4" name="Table 3">
            <a:extLst>
              <a:ext uri="{FF2B5EF4-FFF2-40B4-BE49-F238E27FC236}">
                <a16:creationId xmlns:a16="http://schemas.microsoft.com/office/drawing/2014/main" id="{878955A9-CBF7-9AE8-026E-6A1BBC35C28A}"/>
              </a:ext>
            </a:extLst>
          </p:cNvPr>
          <p:cNvGraphicFramePr>
            <a:graphicFrameLocks noGrp="1"/>
          </p:cNvGraphicFramePr>
          <p:nvPr>
            <p:extLst>
              <p:ext uri="{D42A27DB-BD31-4B8C-83A1-F6EECF244321}">
                <p14:modId xmlns:p14="http://schemas.microsoft.com/office/powerpoint/2010/main" val="2459651025"/>
              </p:ext>
            </p:extLst>
          </p:nvPr>
        </p:nvGraphicFramePr>
        <p:xfrm>
          <a:off x="289870" y="1168407"/>
          <a:ext cx="11414772" cy="4490714"/>
        </p:xfrm>
        <a:graphic>
          <a:graphicData uri="http://schemas.openxmlformats.org/drawingml/2006/table">
            <a:tbl>
              <a:tblPr firstRow="1" bandRow="1">
                <a:tableStyleId>{5C22544A-7EE6-4342-B048-85BDC9FD1C3A}</a:tableStyleId>
              </a:tblPr>
              <a:tblGrid>
                <a:gridCol w="2354718">
                  <a:extLst>
                    <a:ext uri="{9D8B030D-6E8A-4147-A177-3AD203B41FA5}">
                      <a16:colId xmlns:a16="http://schemas.microsoft.com/office/drawing/2014/main" val="4245256249"/>
                    </a:ext>
                  </a:extLst>
                </a:gridCol>
                <a:gridCol w="2492188">
                  <a:extLst>
                    <a:ext uri="{9D8B030D-6E8A-4147-A177-3AD203B41FA5}">
                      <a16:colId xmlns:a16="http://schemas.microsoft.com/office/drawing/2014/main" val="3122895160"/>
                    </a:ext>
                  </a:extLst>
                </a:gridCol>
                <a:gridCol w="1945342">
                  <a:extLst>
                    <a:ext uri="{9D8B030D-6E8A-4147-A177-3AD203B41FA5}">
                      <a16:colId xmlns:a16="http://schemas.microsoft.com/office/drawing/2014/main" val="1801644092"/>
                    </a:ext>
                  </a:extLst>
                </a:gridCol>
                <a:gridCol w="2133600">
                  <a:extLst>
                    <a:ext uri="{9D8B030D-6E8A-4147-A177-3AD203B41FA5}">
                      <a16:colId xmlns:a16="http://schemas.microsoft.com/office/drawing/2014/main" val="4134210389"/>
                    </a:ext>
                  </a:extLst>
                </a:gridCol>
                <a:gridCol w="2488924">
                  <a:extLst>
                    <a:ext uri="{9D8B030D-6E8A-4147-A177-3AD203B41FA5}">
                      <a16:colId xmlns:a16="http://schemas.microsoft.com/office/drawing/2014/main" val="2998332690"/>
                    </a:ext>
                  </a:extLst>
                </a:gridCol>
              </a:tblGrid>
              <a:tr h="976898">
                <a:tc>
                  <a:txBody>
                    <a:bodyPr/>
                    <a:lstStyle/>
                    <a:p>
                      <a:pPr algn="ctr"/>
                      <a:r>
                        <a:rPr lang="en-CA" sz="1800">
                          <a:solidFill>
                            <a:schemeClr val="bg1"/>
                          </a:solidFill>
                          <a:latin typeface="Verdana" panose="020B0604030504040204" pitchFamily="34" charset="0"/>
                          <a:ea typeface="Verdana" panose="020B0604030504040204" pitchFamily="34" charset="0"/>
                          <a:cs typeface="Verdana" panose="020B0604030504040204" pitchFamily="34" charset="0"/>
                        </a:rPr>
                        <a:t>Compan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GB" sz="1800" b="1" kern="1200">
                          <a:solidFill>
                            <a:schemeClr val="bg1"/>
                          </a:solidFill>
                          <a:latin typeface="Verdana" panose="020B0604030504040204" pitchFamily="34" charset="0"/>
                          <a:ea typeface="Verdana" panose="020B0604030504040204" pitchFamily="34" charset="0"/>
                          <a:cs typeface="Verdana" panose="020B0604030504040204" pitchFamily="34" charset="0"/>
                        </a:rPr>
                        <a:t>Portfolio %</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kern="1200" noProof="0">
                          <a:solidFill>
                            <a:schemeClr val="bg1"/>
                          </a:solidFill>
                          <a:latin typeface="Verdana" panose="020B0604030504040204" pitchFamily="34" charset="0"/>
                          <a:ea typeface="Verdana" panose="020B0604030504040204" pitchFamily="34" charset="0"/>
                          <a:cs typeface="Verdana" panose="020B0604030504040204" pitchFamily="34" charset="0"/>
                        </a:rPr>
                        <a:t>Allocation $</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kern="1200" noProof="0">
                          <a:solidFill>
                            <a:schemeClr val="bg1"/>
                          </a:solidFill>
                          <a:latin typeface="Verdana" panose="020B0604030504040204" pitchFamily="34" charset="0"/>
                          <a:ea typeface="Verdana" panose="020B0604030504040204" pitchFamily="34" charset="0"/>
                          <a:cs typeface="Verdana" panose="020B0604030504040204" pitchFamily="34" charset="0"/>
                        </a:rPr>
                        <a:t>Actual Appreciation</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kern="1200" noProof="0">
                          <a:solidFill>
                            <a:schemeClr val="bg1"/>
                          </a:solidFill>
                          <a:latin typeface="Verdana" panose="020B0604030504040204" pitchFamily="34" charset="0"/>
                          <a:ea typeface="Verdana" panose="020B0604030504040204" pitchFamily="34" charset="0"/>
                          <a:cs typeface="Verdana" panose="020B0604030504040204" pitchFamily="34" charset="0"/>
                        </a:rPr>
                        <a:t>Actual Investment Value</a:t>
                      </a:r>
                    </a:p>
                  </a:txBody>
                  <a:tcPr marL="72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164215"/>
                  </a:ext>
                </a:extLst>
              </a:tr>
              <a:tr h="1171272">
                <a:tc>
                  <a:txBody>
                    <a:bodyPr/>
                    <a:lstStyle/>
                    <a:p>
                      <a:pPr algn="ctr"/>
                      <a:r>
                        <a:rPr lang="en-CA" sz="1800" b="1">
                          <a:latin typeface="Verdana" panose="020B0604030504040204" pitchFamily="34" charset="0"/>
                          <a:ea typeface="Verdana" panose="020B0604030504040204" pitchFamily="34" charset="0"/>
                          <a:cs typeface="Verdana" panose="020B0604030504040204" pitchFamily="34" charset="0"/>
                        </a:rPr>
                        <a:t>Estée Lau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3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336,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CA" sz="1800" b="1">
                          <a:solidFill>
                            <a:srgbClr val="347170"/>
                          </a:solidFill>
                          <a:latin typeface="Verdana" panose="020B0604030504040204" pitchFamily="34" charset="0"/>
                          <a:ea typeface="Verdana" panose="020B0604030504040204" pitchFamily="34" charset="0"/>
                          <a:cs typeface="Verdana" panose="020B0604030504040204" pitchFamily="34" charset="0"/>
                        </a:rPr>
                        <a:t>+3.0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800" b="1" kern="1200">
                          <a:solidFill>
                            <a:srgbClr val="347170"/>
                          </a:solidFill>
                          <a:latin typeface="Verdana" panose="020B0604030504040204" pitchFamily="34" charset="0"/>
                          <a:ea typeface="Verdana" panose="020B0604030504040204" pitchFamily="34" charset="0"/>
                          <a:cs typeface="Verdana" panose="020B0604030504040204" pitchFamily="34" charset="0"/>
                        </a:rPr>
                        <a:t>$346,18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6562464"/>
                  </a:ext>
                </a:extLst>
              </a:tr>
              <a:tr h="1171272">
                <a:tc>
                  <a:txBody>
                    <a:bodyPr/>
                    <a:lstStyle/>
                    <a:p>
                      <a:pPr algn="ctr"/>
                      <a:r>
                        <a:rPr lang="en-CA" sz="1800" b="1">
                          <a:latin typeface="Verdana" panose="020B0604030504040204" pitchFamily="34" charset="0"/>
                          <a:ea typeface="Verdana" panose="020B0604030504040204" pitchFamily="34" charset="0"/>
                          <a:cs typeface="Verdana" panose="020B0604030504040204" pitchFamily="34" charset="0"/>
                        </a:rPr>
                        <a:t>Chipotle Mexican Gri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66.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66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rgbClr val="C00000"/>
                          </a:solidFill>
                          <a:latin typeface="Verdana" panose="020B0604030504040204" pitchFamily="34" charset="0"/>
                          <a:ea typeface="Verdana" panose="020B0604030504040204" pitchFamily="34" charset="0"/>
                          <a:cs typeface="Verdana" panose="020B0604030504040204" pitchFamily="34" charset="0"/>
                        </a:rPr>
                        <a:t>-4.5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800" b="1" kern="1200">
                          <a:solidFill>
                            <a:srgbClr val="C00000"/>
                          </a:solidFill>
                          <a:latin typeface="Verdana" panose="020B0604030504040204" pitchFamily="34" charset="0"/>
                          <a:ea typeface="Verdana" panose="020B0604030504040204" pitchFamily="34" charset="0"/>
                          <a:cs typeface="Verdana" panose="020B0604030504040204" pitchFamily="34" charset="0"/>
                        </a:rPr>
                        <a:t>$633,58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64940320"/>
                  </a:ext>
                </a:extLst>
              </a:tr>
              <a:tr h="1171272">
                <a:tc>
                  <a:txBody>
                    <a:bodyPr/>
                    <a:lstStyle/>
                    <a:p>
                      <a:pPr algn="ctr"/>
                      <a:r>
                        <a:rPr lang="en-CA" sz="1800" b="1">
                          <a:latin typeface="Verdana" panose="020B0604030504040204" pitchFamily="34" charset="0"/>
                          <a:ea typeface="Verdana" panose="020B0604030504040204" pitchFamily="34" charset="0"/>
                          <a:cs typeface="Verdana" panose="020B0604030504040204" pitchFamily="34" charset="0"/>
                        </a:rPr>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chemeClr val="dk1"/>
                          </a:solidFill>
                          <a:latin typeface="Verdana" panose="020B0604030504040204" pitchFamily="34" charset="0"/>
                          <a:ea typeface="Verdana" panose="020B0604030504040204" pitchFamily="34" charset="0"/>
                          <a:cs typeface="Verdana" panose="020B0604030504040204" pitchFamily="34" charset="0"/>
                        </a:rPr>
                        <a:t>$1,00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r>
                        <a:rPr lang="en-CA" sz="1800" b="1" kern="1200">
                          <a:solidFill>
                            <a:srgbClr val="C00000"/>
                          </a:solidFill>
                          <a:latin typeface="Verdana" panose="020B0604030504040204" pitchFamily="34" charset="0"/>
                          <a:ea typeface="Verdana" panose="020B0604030504040204" pitchFamily="34" charset="0"/>
                          <a:cs typeface="Verdana" panose="020B0604030504040204" pitchFamily="34" charset="0"/>
                        </a:rPr>
                        <a:t>-2.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800" b="1" kern="1200">
                          <a:solidFill>
                            <a:srgbClr val="C00000"/>
                          </a:solidFill>
                          <a:latin typeface="Verdana" panose="020B0604030504040204" pitchFamily="34" charset="0"/>
                          <a:ea typeface="Verdana" panose="020B0604030504040204" pitchFamily="34" charset="0"/>
                          <a:cs typeface="Verdana" panose="020B0604030504040204" pitchFamily="34" charset="0"/>
                        </a:rPr>
                        <a:t>$979,76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73479561"/>
                  </a:ext>
                </a:extLst>
              </a:tr>
            </a:tbl>
          </a:graphicData>
        </a:graphic>
      </p:graphicFrame>
      <p:pic>
        <p:nvPicPr>
          <p:cNvPr id="5" name="Picture 2" descr="Chipotle Mexican Grill Logo PNG ...">
            <a:extLst>
              <a:ext uri="{FF2B5EF4-FFF2-40B4-BE49-F238E27FC236}">
                <a16:creationId xmlns:a16="http://schemas.microsoft.com/office/drawing/2014/main" id="{DEA5736F-72F9-519B-FF95-00EFFEB913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2555" y="3944683"/>
            <a:ext cx="516844" cy="516844"/>
          </a:xfrm>
          <a:prstGeom prst="ellipse">
            <a:avLst/>
          </a:prstGeom>
          <a:noFill/>
          <a:extLst>
            <a:ext uri="{909E8E84-426E-40DD-AFC4-6F175D3DCCD1}">
              <a14:hiddenFill xmlns:a14="http://schemas.microsoft.com/office/drawing/2010/main">
                <a:solidFill>
                  <a:srgbClr val="FFFFFF"/>
                </a:solidFill>
              </a14:hiddenFill>
            </a:ext>
          </a:extLst>
        </p:spPr>
      </p:pic>
      <p:pic>
        <p:nvPicPr>
          <p:cNvPr id="2" name="Picture 8">
            <a:extLst>
              <a:ext uri="{FF2B5EF4-FFF2-40B4-BE49-F238E27FC236}">
                <a16:creationId xmlns:a16="http://schemas.microsoft.com/office/drawing/2014/main" id="{9271E59F-3E84-E923-D270-7DEDA512A4E2}"/>
              </a:ext>
            </a:extLst>
          </p:cNvPr>
          <p:cNvPicPr>
            <a:picLocks noChangeAspect="1" noChangeArrowheads="1"/>
          </p:cNvPicPr>
          <p:nvPr/>
        </p:nvPicPr>
        <p:blipFill rotWithShape="1">
          <a:blip r:embed="rId4">
            <a:extLst>
              <a:ext uri="{837473B0-CC2E-450A-ABE3-18F120FF3D39}">
                <a1611:picAttrSrcUrl xmlns:a1611="http://schemas.microsoft.com/office/drawing/2016/11/main" r:id="rId5"/>
              </a:ext>
            </a:extLst>
          </a:blip>
          <a:srcRect l="-632" t="-1" r="2186" b="-300"/>
          <a:stretch/>
        </p:blipFill>
        <p:spPr bwMode="auto">
          <a:xfrm>
            <a:off x="822960" y="2589952"/>
            <a:ext cx="1176034" cy="67398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6">
            <a:extLst>
              <a:ext uri="{FF2B5EF4-FFF2-40B4-BE49-F238E27FC236}">
                <a16:creationId xmlns:a16="http://schemas.microsoft.com/office/drawing/2014/main" id="{189E79BD-7289-5EA0-6FAE-A4FA6607A2A7}"/>
              </a:ext>
            </a:extLst>
          </p:cNvPr>
          <p:cNvSpPr txBox="1">
            <a:spLocks/>
          </p:cNvSpPr>
          <p:nvPr/>
        </p:nvSpPr>
        <p:spPr>
          <a:xfrm>
            <a:off x="284167" y="5849162"/>
            <a:ext cx="11420475" cy="817511"/>
          </a:xfrm>
          <a:prstGeom prst="rect">
            <a:avLst/>
          </a:prstGeom>
          <a:solidFill>
            <a:schemeClr val="bg1">
              <a:lumMod val="95000"/>
            </a:schemeClr>
          </a:solidFill>
          <a:ln>
            <a:solidFill>
              <a:schemeClr val="accent1">
                <a:shade val="15000"/>
              </a:schemeClr>
            </a:solidFill>
          </a:ln>
          <a:effectLst/>
        </p:spPr>
        <p:txBody>
          <a:bodyPr lIns="91440" tIns="36000" rIns="89988" bIns="36000" anchor="ctr"/>
          <a:lstStyle>
            <a:defPPr>
              <a:defRPr lang="en-US"/>
            </a:defPPr>
            <a:lvl1pPr marR="0" lvl="0" indent="0" algn="ctr" defTabSz="228554" fontAlgn="auto">
              <a:lnSpc>
                <a:spcPct val="100000"/>
              </a:lnSpc>
              <a:spcBef>
                <a:spcPts val="0"/>
              </a:spcBef>
              <a:spcAft>
                <a:spcPts val="1200"/>
              </a:spcAft>
              <a:buClrTx/>
              <a:buSzTx/>
              <a:buFont typeface="Arial" panose="020B0604020202020204" pitchFamily="34" charset="0"/>
              <a:buNone/>
              <a:tabLst/>
              <a:defRPr kumimoji="0" sz="1400" b="0" i="0" u="none" strike="noStrike"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2400" b="1">
                <a:sym typeface="Verdana" panose="020B0604030504040204" pitchFamily="34" charset="0"/>
              </a:rPr>
              <a:t>Total Loss = </a:t>
            </a:r>
            <a:r>
              <a:rPr lang="en-US" sz="2400" b="1">
                <a:solidFill>
                  <a:srgbClr val="C00000"/>
                </a:solidFill>
                <a:sym typeface="Verdana" panose="020B0604030504040204" pitchFamily="34" charset="0"/>
              </a:rPr>
              <a:t>$20,231</a:t>
            </a:r>
          </a:p>
        </p:txBody>
      </p:sp>
    </p:spTree>
    <p:extLst>
      <p:ext uri="{BB962C8B-B14F-4D97-AF65-F5344CB8AC3E}">
        <p14:creationId xmlns:p14="http://schemas.microsoft.com/office/powerpoint/2010/main" val="2049575005"/>
      </p:ext>
    </p:extLst>
  </p:cSld>
  <p:clrMapOvr>
    <a:masterClrMapping/>
  </p:clrMapOvr>
  <p:extLst>
    <p:ext uri="{6950BFC3-D8DA-4A85-94F7-54DA5524770B}">
      <p188:commentRel xmlns:p188="http://schemas.microsoft.com/office/powerpoint/2018/8/main" r:id="rId2"/>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1" name="TextBox 47">
            <a:extLst>
              <a:ext uri="{FF2B5EF4-FFF2-40B4-BE49-F238E27FC236}">
                <a16:creationId xmlns:a16="http://schemas.microsoft.com/office/drawing/2014/main" id="{0FBB6F4D-55B7-3717-B972-FB57E2F0FD84}"/>
              </a:ext>
            </a:extLst>
          </p:cNvPr>
          <p:cNvSpPr txBox="1"/>
          <p:nvPr/>
        </p:nvSpPr>
        <p:spPr>
          <a:xfrm>
            <a:off x="384174" y="3573593"/>
            <a:ext cx="5783264" cy="461665"/>
          </a:xfrm>
          <a:prstGeom prst="rect">
            <a:avLst/>
          </a:prstGeom>
          <a:noFill/>
        </p:spPr>
        <p:txBody>
          <a:bodyPr wrap="square" rtlCol="0" anchor="ctr">
            <a:spAutoFit/>
          </a:bodyPr>
          <a:lstStyle/>
          <a:p>
            <a:r>
              <a:rPr lang="en-US"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Nate’s Group</a:t>
            </a:r>
          </a:p>
        </p:txBody>
      </p:sp>
      <p:sp>
        <p:nvSpPr>
          <p:cNvPr id="2" name="TextBox 47">
            <a:extLst>
              <a:ext uri="{FF2B5EF4-FFF2-40B4-BE49-F238E27FC236}">
                <a16:creationId xmlns:a16="http://schemas.microsoft.com/office/drawing/2014/main" id="{2586AC7D-2C94-3C6B-F76B-1670FDEE94C8}"/>
              </a:ext>
            </a:extLst>
          </p:cNvPr>
          <p:cNvSpPr txBox="1"/>
          <p:nvPr/>
        </p:nvSpPr>
        <p:spPr>
          <a:xfrm>
            <a:off x="384174" y="2365165"/>
            <a:ext cx="5783264" cy="830997"/>
          </a:xfrm>
          <a:prstGeom prst="rect">
            <a:avLst/>
          </a:prstGeom>
          <a:noFill/>
        </p:spPr>
        <p:txBody>
          <a:bodyPr wrap="square" rtlCol="0" anchor="ctr">
            <a:spAutoFit/>
          </a:bodyPr>
          <a:lstStyle/>
          <a:p>
            <a:r>
              <a:rPr lang="en-US" sz="48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hank you</a:t>
            </a:r>
          </a:p>
        </p:txBody>
      </p:sp>
      <p:pic>
        <p:nvPicPr>
          <p:cNvPr id="3" name="Graphic 2">
            <a:extLst>
              <a:ext uri="{FF2B5EF4-FFF2-40B4-BE49-F238E27FC236}">
                <a16:creationId xmlns:a16="http://schemas.microsoft.com/office/drawing/2014/main" id="{D2D69C4A-068E-C787-E99F-E8042AB93136}"/>
              </a:ext>
            </a:extLst>
          </p:cNvPr>
          <p:cNvPicPr>
            <a:picLocks noChangeAspect="1"/>
          </p:cNvPicPr>
          <p:nvPr/>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b="18609"/>
          <a:stretch/>
        </p:blipFill>
        <p:spPr>
          <a:xfrm>
            <a:off x="8279704" y="2312905"/>
            <a:ext cx="2881109" cy="2521375"/>
          </a:xfrm>
          <a:prstGeom prst="rect">
            <a:avLst/>
          </a:prstGeom>
        </p:spPr>
      </p:pic>
    </p:spTree>
    <p:extLst>
      <p:ext uri="{BB962C8B-B14F-4D97-AF65-F5344CB8AC3E}">
        <p14:creationId xmlns:p14="http://schemas.microsoft.com/office/powerpoint/2010/main" val="2616875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lipse 18462">
            <a:extLst>
              <a:ext uri="{FF2B5EF4-FFF2-40B4-BE49-F238E27FC236}">
                <a16:creationId xmlns:a16="http://schemas.microsoft.com/office/drawing/2014/main" id="{9B16C0DE-9B9F-E519-CAA7-E2AD19A11942}"/>
              </a:ext>
            </a:extLst>
          </p:cNvPr>
          <p:cNvSpPr/>
          <p:nvPr/>
        </p:nvSpPr>
        <p:spPr>
          <a:xfrm>
            <a:off x="5338305" y="2937057"/>
            <a:ext cx="1592264" cy="15922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Verdana"/>
                <a:ea typeface="+mn-ea"/>
                <a:cs typeface="+mn-cs"/>
              </a:rPr>
              <a:t>CRISP-DM Model</a:t>
            </a:r>
          </a:p>
        </p:txBody>
      </p:sp>
      <p:grpSp>
        <p:nvGrpSpPr>
          <p:cNvPr id="4" name="Group 3">
            <a:extLst>
              <a:ext uri="{FF2B5EF4-FFF2-40B4-BE49-F238E27FC236}">
                <a16:creationId xmlns:a16="http://schemas.microsoft.com/office/drawing/2014/main" id="{47B67802-13AA-8549-C1C7-28BAF6CDB620}"/>
              </a:ext>
            </a:extLst>
          </p:cNvPr>
          <p:cNvGrpSpPr/>
          <p:nvPr/>
        </p:nvGrpSpPr>
        <p:grpSpPr>
          <a:xfrm>
            <a:off x="3369674" y="1202053"/>
            <a:ext cx="5496556" cy="5022854"/>
            <a:chOff x="3579774" y="1155242"/>
            <a:chExt cx="5496556" cy="5022854"/>
          </a:xfrm>
        </p:grpSpPr>
        <p:sp>
          <p:nvSpPr>
            <p:cNvPr id="6" name="Elipse 18463">
              <a:extLst>
                <a:ext uri="{FF2B5EF4-FFF2-40B4-BE49-F238E27FC236}">
                  <a16:creationId xmlns:a16="http://schemas.microsoft.com/office/drawing/2014/main" id="{82347AE5-E11F-925B-A34E-2A8732CD3700}"/>
                </a:ext>
              </a:extLst>
            </p:cNvPr>
            <p:cNvSpPr/>
            <p:nvPr/>
          </p:nvSpPr>
          <p:spPr>
            <a:xfrm>
              <a:off x="4503736" y="1155242"/>
              <a:ext cx="1846268" cy="1846268"/>
            </a:xfrm>
            <a:prstGeom prst="ellipse">
              <a:avLst/>
            </a:prstGeom>
            <a:solidFill>
              <a:srgbClr val="1D9A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1400" dirty="0">
                  <a:solidFill>
                    <a:srgbClr val="FFFFFF"/>
                  </a:solidFill>
                  <a:latin typeface="Verdana"/>
                </a:rPr>
                <a:t>Deployment</a:t>
              </a:r>
            </a:p>
          </p:txBody>
        </p:sp>
        <p:sp>
          <p:nvSpPr>
            <p:cNvPr id="7" name="Elipse 18464">
              <a:extLst>
                <a:ext uri="{FF2B5EF4-FFF2-40B4-BE49-F238E27FC236}">
                  <a16:creationId xmlns:a16="http://schemas.microsoft.com/office/drawing/2014/main" id="{7159BCF0-A705-A258-EE4F-1FE2D84AFE1A}"/>
                </a:ext>
              </a:extLst>
            </p:cNvPr>
            <p:cNvSpPr/>
            <p:nvPr/>
          </p:nvSpPr>
          <p:spPr>
            <a:xfrm>
              <a:off x="6306100" y="1155242"/>
              <a:ext cx="1846268" cy="1846268"/>
            </a:xfrm>
            <a:prstGeom prst="ellipse">
              <a:avLst/>
            </a:prstGeom>
            <a:solidFill>
              <a:srgbClr val="1D9A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0" lang="en-US" sz="1400" b="0" i="0" u="none" strike="noStrike" kern="1200" cap="none" spc="0" normalizeH="0" baseline="0" noProof="0">
                  <a:ln>
                    <a:noFill/>
                  </a:ln>
                  <a:solidFill>
                    <a:srgbClr val="FFFFFF"/>
                  </a:solidFill>
                  <a:effectLst/>
                  <a:uLnTx/>
                  <a:uFillTx/>
                  <a:latin typeface="Verdana"/>
                  <a:ea typeface="+mn-ea"/>
                  <a:cs typeface="+mn-cs"/>
                </a:rPr>
                <a:t>Business Understanding</a:t>
              </a:r>
            </a:p>
          </p:txBody>
        </p:sp>
        <p:sp>
          <p:nvSpPr>
            <p:cNvPr id="8" name="Elipse 18465">
              <a:extLst>
                <a:ext uri="{FF2B5EF4-FFF2-40B4-BE49-F238E27FC236}">
                  <a16:creationId xmlns:a16="http://schemas.microsoft.com/office/drawing/2014/main" id="{8C8E5823-0E68-E0C9-EE7D-255C9C4A4260}"/>
                </a:ext>
              </a:extLst>
            </p:cNvPr>
            <p:cNvSpPr/>
            <p:nvPr/>
          </p:nvSpPr>
          <p:spPr>
            <a:xfrm>
              <a:off x="7230062" y="2743535"/>
              <a:ext cx="1846268" cy="1846268"/>
            </a:xfrm>
            <a:prstGeom prst="ellipse">
              <a:avLst/>
            </a:prstGeom>
            <a:solidFill>
              <a:srgbClr val="1D9A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rgbClr val="FFFFFF"/>
                  </a:solidFill>
                  <a:latin typeface="Verdana"/>
                </a:rPr>
                <a:t>Data Understanding</a:t>
              </a:r>
            </a:p>
          </p:txBody>
        </p:sp>
        <p:sp>
          <p:nvSpPr>
            <p:cNvPr id="9" name="Elipse 18466">
              <a:extLst>
                <a:ext uri="{FF2B5EF4-FFF2-40B4-BE49-F238E27FC236}">
                  <a16:creationId xmlns:a16="http://schemas.microsoft.com/office/drawing/2014/main" id="{E02ECC97-323C-C8B4-8F69-B58DD6E0A660}"/>
                </a:ext>
              </a:extLst>
            </p:cNvPr>
            <p:cNvSpPr/>
            <p:nvPr/>
          </p:nvSpPr>
          <p:spPr>
            <a:xfrm>
              <a:off x="3579774" y="2743535"/>
              <a:ext cx="1846268" cy="1846268"/>
            </a:xfrm>
            <a:prstGeom prst="ellipse">
              <a:avLst/>
            </a:prstGeom>
            <a:solidFill>
              <a:srgbClr val="1D9A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rgbClr val="FFFFFF"/>
                  </a:solidFill>
                  <a:latin typeface="Verdana"/>
                </a:rPr>
                <a:t>Evaluation</a:t>
              </a:r>
            </a:p>
          </p:txBody>
        </p:sp>
        <p:sp>
          <p:nvSpPr>
            <p:cNvPr id="10" name="Elipse 18471">
              <a:extLst>
                <a:ext uri="{FF2B5EF4-FFF2-40B4-BE49-F238E27FC236}">
                  <a16:creationId xmlns:a16="http://schemas.microsoft.com/office/drawing/2014/main" id="{6FC2ACE9-C971-9BB7-B1B3-DFDC26F400C6}"/>
                </a:ext>
              </a:extLst>
            </p:cNvPr>
            <p:cNvSpPr/>
            <p:nvPr/>
          </p:nvSpPr>
          <p:spPr>
            <a:xfrm>
              <a:off x="4503736" y="4331828"/>
              <a:ext cx="1846268" cy="1846268"/>
            </a:xfrm>
            <a:prstGeom prst="ellipse">
              <a:avLst/>
            </a:prstGeom>
            <a:solidFill>
              <a:srgbClr val="1D9A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rgbClr val="FFFFFF"/>
                  </a:solidFill>
                  <a:latin typeface="Verdana"/>
                </a:rPr>
                <a:t>Modelling</a:t>
              </a:r>
            </a:p>
          </p:txBody>
        </p:sp>
        <p:sp>
          <p:nvSpPr>
            <p:cNvPr id="11" name="Elipse 18472">
              <a:extLst>
                <a:ext uri="{FF2B5EF4-FFF2-40B4-BE49-F238E27FC236}">
                  <a16:creationId xmlns:a16="http://schemas.microsoft.com/office/drawing/2014/main" id="{16994B77-C702-3A38-E557-D54C6180F883}"/>
                </a:ext>
              </a:extLst>
            </p:cNvPr>
            <p:cNvSpPr/>
            <p:nvPr/>
          </p:nvSpPr>
          <p:spPr>
            <a:xfrm>
              <a:off x="6306100" y="4331828"/>
              <a:ext cx="1846268" cy="1846268"/>
            </a:xfrm>
            <a:prstGeom prst="ellipse">
              <a:avLst/>
            </a:prstGeom>
            <a:solidFill>
              <a:srgbClr val="1D9A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rgbClr val="FFFFFF"/>
                  </a:solidFill>
                  <a:latin typeface="Verdana"/>
                </a:rPr>
                <a:t>Data Preparation</a:t>
              </a:r>
            </a:p>
          </p:txBody>
        </p:sp>
      </p:grpSp>
      <p:grpSp>
        <p:nvGrpSpPr>
          <p:cNvPr id="13" name="Group 12">
            <a:extLst>
              <a:ext uri="{FF2B5EF4-FFF2-40B4-BE49-F238E27FC236}">
                <a16:creationId xmlns:a16="http://schemas.microsoft.com/office/drawing/2014/main" id="{7472A748-A74F-C075-D9B0-3C79AF5C6D2A}"/>
              </a:ext>
            </a:extLst>
          </p:cNvPr>
          <p:cNvGrpSpPr/>
          <p:nvPr/>
        </p:nvGrpSpPr>
        <p:grpSpPr>
          <a:xfrm rot="7764313">
            <a:off x="5310430" y="2895954"/>
            <a:ext cx="1615044" cy="1655084"/>
            <a:chOff x="5382138" y="2997539"/>
            <a:chExt cx="1615044" cy="1655084"/>
          </a:xfrm>
        </p:grpSpPr>
        <p:sp>
          <p:nvSpPr>
            <p:cNvPr id="12" name="Arco 18475">
              <a:extLst>
                <a:ext uri="{FF2B5EF4-FFF2-40B4-BE49-F238E27FC236}">
                  <a16:creationId xmlns:a16="http://schemas.microsoft.com/office/drawing/2014/main" id="{2ACFD477-33BF-FB75-05FC-67A9E378C204}"/>
                </a:ext>
              </a:extLst>
            </p:cNvPr>
            <p:cNvSpPr/>
            <p:nvPr/>
          </p:nvSpPr>
          <p:spPr>
            <a:xfrm>
              <a:off x="5404918" y="3060359"/>
              <a:ext cx="1592264" cy="1592264"/>
            </a:xfrm>
            <a:prstGeom prst="arc">
              <a:avLst>
                <a:gd name="adj1" fmla="val 158409"/>
                <a:gd name="adj2" fmla="val 10699095"/>
              </a:avLst>
            </a:prstGeom>
            <a:noFill/>
            <a:ln w="57150">
              <a:solidFill>
                <a:srgbClr val="002060"/>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2" name="Arco 18475">
              <a:extLst>
                <a:ext uri="{FF2B5EF4-FFF2-40B4-BE49-F238E27FC236}">
                  <a16:creationId xmlns:a16="http://schemas.microsoft.com/office/drawing/2014/main" id="{BBA15E7C-F5BF-9849-EE43-E04D3919826B}"/>
                </a:ext>
              </a:extLst>
            </p:cNvPr>
            <p:cNvSpPr/>
            <p:nvPr/>
          </p:nvSpPr>
          <p:spPr>
            <a:xfrm rot="10800000">
              <a:off x="5382138" y="2997539"/>
              <a:ext cx="1592264" cy="1592264"/>
            </a:xfrm>
            <a:prstGeom prst="arc">
              <a:avLst>
                <a:gd name="adj1" fmla="val 158409"/>
                <a:gd name="adj2" fmla="val 10699095"/>
              </a:avLst>
            </a:prstGeom>
            <a:noFill/>
            <a:ln w="57150">
              <a:solidFill>
                <a:srgbClr val="002060"/>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BD2CF49C-CE55-DDAB-B0BB-6F769111A3C9}"/>
              </a:ext>
            </a:extLst>
          </p:cNvPr>
          <p:cNvGrpSpPr/>
          <p:nvPr/>
        </p:nvGrpSpPr>
        <p:grpSpPr>
          <a:xfrm>
            <a:off x="129858" y="1525088"/>
            <a:ext cx="11932284" cy="4419092"/>
            <a:chOff x="129858" y="1507047"/>
            <a:chExt cx="11932284" cy="4419092"/>
          </a:xfrm>
        </p:grpSpPr>
        <p:grpSp>
          <p:nvGrpSpPr>
            <p:cNvPr id="54" name="Group 53">
              <a:extLst>
                <a:ext uri="{FF2B5EF4-FFF2-40B4-BE49-F238E27FC236}">
                  <a16:creationId xmlns:a16="http://schemas.microsoft.com/office/drawing/2014/main" id="{E1909CF2-4E28-8868-2F52-CD4674A367FF}"/>
                </a:ext>
              </a:extLst>
            </p:cNvPr>
            <p:cNvGrpSpPr/>
            <p:nvPr/>
          </p:nvGrpSpPr>
          <p:grpSpPr>
            <a:xfrm>
              <a:off x="323589" y="1664548"/>
              <a:ext cx="11544823" cy="4261591"/>
              <a:chOff x="323439" y="1664548"/>
              <a:chExt cx="11544823" cy="4261591"/>
            </a:xfrm>
          </p:grpSpPr>
          <p:sp>
            <p:nvSpPr>
              <p:cNvPr id="20" name="Up Arrow 60">
                <a:extLst>
                  <a:ext uri="{FF2B5EF4-FFF2-40B4-BE49-F238E27FC236}">
                    <a16:creationId xmlns:a16="http://schemas.microsoft.com/office/drawing/2014/main" id="{16A8B801-1C64-3C35-16F5-5ED2F3A2BA4C}"/>
                  </a:ext>
                </a:extLst>
              </p:cNvPr>
              <p:cNvSpPr/>
              <p:nvPr/>
            </p:nvSpPr>
            <p:spPr>
              <a:xfrm rot="5400000">
                <a:off x="8023135" y="1957208"/>
                <a:ext cx="410308" cy="492369"/>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sp>
            <p:nvSpPr>
              <p:cNvPr id="21" name="Up Arrow 60">
                <a:extLst>
                  <a:ext uri="{FF2B5EF4-FFF2-40B4-BE49-F238E27FC236}">
                    <a16:creationId xmlns:a16="http://schemas.microsoft.com/office/drawing/2014/main" id="{386A9853-80E6-D1EE-ED52-BA2F3635FC83}"/>
                  </a:ext>
                </a:extLst>
              </p:cNvPr>
              <p:cNvSpPr/>
              <p:nvPr/>
            </p:nvSpPr>
            <p:spPr>
              <a:xfrm rot="16200000">
                <a:off x="3758557" y="1957208"/>
                <a:ext cx="410308" cy="492369"/>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sp>
            <p:nvSpPr>
              <p:cNvPr id="22" name="Up Arrow 60">
                <a:extLst>
                  <a:ext uri="{FF2B5EF4-FFF2-40B4-BE49-F238E27FC236}">
                    <a16:creationId xmlns:a16="http://schemas.microsoft.com/office/drawing/2014/main" id="{053BA9E4-BCB2-E5B7-D28C-5D04BECF680E}"/>
                  </a:ext>
                </a:extLst>
              </p:cNvPr>
              <p:cNvSpPr/>
              <p:nvPr/>
            </p:nvSpPr>
            <p:spPr>
              <a:xfrm rot="16200000">
                <a:off x="2845985" y="3547486"/>
                <a:ext cx="410308" cy="492369"/>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sp>
            <p:nvSpPr>
              <p:cNvPr id="23" name="Up Arrow 60">
                <a:extLst>
                  <a:ext uri="{FF2B5EF4-FFF2-40B4-BE49-F238E27FC236}">
                    <a16:creationId xmlns:a16="http://schemas.microsoft.com/office/drawing/2014/main" id="{F3095E07-8285-0814-1EF7-562A0AA05568}"/>
                  </a:ext>
                </a:extLst>
              </p:cNvPr>
              <p:cNvSpPr/>
              <p:nvPr/>
            </p:nvSpPr>
            <p:spPr>
              <a:xfrm rot="16200000">
                <a:off x="3758557" y="5135780"/>
                <a:ext cx="410308" cy="492369"/>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sp>
            <p:nvSpPr>
              <p:cNvPr id="24" name="Up Arrow 60">
                <a:extLst>
                  <a:ext uri="{FF2B5EF4-FFF2-40B4-BE49-F238E27FC236}">
                    <a16:creationId xmlns:a16="http://schemas.microsoft.com/office/drawing/2014/main" id="{8AA4CBEA-3421-712E-05F5-7677773C6698}"/>
                  </a:ext>
                </a:extLst>
              </p:cNvPr>
              <p:cNvSpPr/>
              <p:nvPr/>
            </p:nvSpPr>
            <p:spPr>
              <a:xfrm rot="5400000">
                <a:off x="8935707" y="3547486"/>
                <a:ext cx="410308" cy="492369"/>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sp>
            <p:nvSpPr>
              <p:cNvPr id="25" name="Up Arrow 60">
                <a:extLst>
                  <a:ext uri="{FF2B5EF4-FFF2-40B4-BE49-F238E27FC236}">
                    <a16:creationId xmlns:a16="http://schemas.microsoft.com/office/drawing/2014/main" id="{E7293F22-675E-6AC3-AC4F-025163AAC6FE}"/>
                  </a:ext>
                </a:extLst>
              </p:cNvPr>
              <p:cNvSpPr/>
              <p:nvPr/>
            </p:nvSpPr>
            <p:spPr>
              <a:xfrm rot="5400000">
                <a:off x="8023135" y="5135781"/>
                <a:ext cx="410308" cy="492369"/>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Verdana"/>
                  <a:ea typeface="+mn-ea"/>
                  <a:cs typeface="+mn-cs"/>
                </a:endParaRPr>
              </a:p>
            </p:txBody>
          </p:sp>
          <p:grpSp>
            <p:nvGrpSpPr>
              <p:cNvPr id="28" name="Group 27">
                <a:extLst>
                  <a:ext uri="{FF2B5EF4-FFF2-40B4-BE49-F238E27FC236}">
                    <a16:creationId xmlns:a16="http://schemas.microsoft.com/office/drawing/2014/main" id="{F9E6E86B-62C0-49EC-F76A-632523C36198}"/>
                  </a:ext>
                </a:extLst>
              </p:cNvPr>
              <p:cNvGrpSpPr/>
              <p:nvPr/>
            </p:nvGrpSpPr>
            <p:grpSpPr>
              <a:xfrm>
                <a:off x="1224920" y="1731338"/>
                <a:ext cx="2425736" cy="1081636"/>
                <a:chOff x="2124692" y="137253"/>
                <a:chExt cx="4257450" cy="1081636"/>
              </a:xfrm>
            </p:grpSpPr>
            <p:sp>
              <p:nvSpPr>
                <p:cNvPr id="29" name="Round Same Side Corner Rectangle 28">
                  <a:extLst>
                    <a:ext uri="{FF2B5EF4-FFF2-40B4-BE49-F238E27FC236}">
                      <a16:creationId xmlns:a16="http://schemas.microsoft.com/office/drawing/2014/main" id="{1DFD156D-D88E-1753-2833-BEF8509E8ACE}"/>
                    </a:ext>
                  </a:extLst>
                </p:cNvPr>
                <p:cNvSpPr/>
                <p:nvPr/>
              </p:nvSpPr>
              <p:spPr>
                <a:xfrm rot="5400000">
                  <a:off x="3712599" y="-1450654"/>
                  <a:ext cx="1081636" cy="4257450"/>
                </a:xfrm>
                <a:prstGeom prst="round2SameRect">
                  <a:avLst>
                    <a:gd name="adj1" fmla="val 10423"/>
                    <a:gd name="adj2" fmla="val 11002"/>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0" name="Round Same Side Corner Rectangle 4">
                  <a:extLst>
                    <a:ext uri="{FF2B5EF4-FFF2-40B4-BE49-F238E27FC236}">
                      <a16:creationId xmlns:a16="http://schemas.microsoft.com/office/drawing/2014/main" id="{6C2687DD-8C66-6022-6131-D42C55056810}"/>
                    </a:ext>
                  </a:extLst>
                </p:cNvPr>
                <p:cNvSpPr txBox="1"/>
                <p:nvPr/>
              </p:nvSpPr>
              <p:spPr>
                <a:xfrm>
                  <a:off x="2124693" y="190053"/>
                  <a:ext cx="4204649" cy="97603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7150" tIns="28575" rIns="57150" bIns="28575" numCol="1" spcCol="1270" anchor="ctr" anchorCtr="0">
                  <a:noAutofit/>
                </a:bodyPr>
                <a:lstStyle/>
                <a:p>
                  <a:pPr marL="0" lvl="1" algn="ctr" defTabSz="666750">
                    <a:lnSpc>
                      <a:spcPct val="90000"/>
                    </a:lnSpc>
                    <a:spcBef>
                      <a:spcPct val="0"/>
                    </a:spcBef>
                    <a:spcAft>
                      <a:spcPct val="15000"/>
                    </a:spcAft>
                  </a:pPr>
                  <a:r>
                    <a:rPr lang="en-CA" sz="1400" dirty="0"/>
                    <a:t>Implement the model for practical use.</a:t>
                  </a:r>
                  <a:endParaRPr lang="en-US" sz="1400" dirty="0"/>
                </a:p>
              </p:txBody>
            </p:sp>
          </p:grpSp>
          <p:grpSp>
            <p:nvGrpSpPr>
              <p:cNvPr id="31" name="Group 30">
                <a:extLst>
                  <a:ext uri="{FF2B5EF4-FFF2-40B4-BE49-F238E27FC236}">
                    <a16:creationId xmlns:a16="http://schemas.microsoft.com/office/drawing/2014/main" id="{37F20CD6-C419-4069-FCEC-2D191BA47052}"/>
                  </a:ext>
                </a:extLst>
              </p:cNvPr>
              <p:cNvGrpSpPr/>
              <p:nvPr/>
            </p:nvGrpSpPr>
            <p:grpSpPr>
              <a:xfrm>
                <a:off x="323439" y="3246645"/>
                <a:ext cx="2425736" cy="1081636"/>
                <a:chOff x="2124692" y="137253"/>
                <a:chExt cx="4257450" cy="1081636"/>
              </a:xfrm>
            </p:grpSpPr>
            <p:sp>
              <p:nvSpPr>
                <p:cNvPr id="32" name="Round Same Side Corner Rectangle 31">
                  <a:extLst>
                    <a:ext uri="{FF2B5EF4-FFF2-40B4-BE49-F238E27FC236}">
                      <a16:creationId xmlns:a16="http://schemas.microsoft.com/office/drawing/2014/main" id="{92DABA48-4E10-D51D-0223-A872EEA8C4BF}"/>
                    </a:ext>
                  </a:extLst>
                </p:cNvPr>
                <p:cNvSpPr/>
                <p:nvPr/>
              </p:nvSpPr>
              <p:spPr>
                <a:xfrm rot="5400000">
                  <a:off x="3712599" y="-1450654"/>
                  <a:ext cx="1081636" cy="4257450"/>
                </a:xfrm>
                <a:prstGeom prst="round2SameRect">
                  <a:avLst>
                    <a:gd name="adj1" fmla="val 10423"/>
                    <a:gd name="adj2" fmla="val 11002"/>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3" name="Round Same Side Corner Rectangle 4">
                  <a:extLst>
                    <a:ext uri="{FF2B5EF4-FFF2-40B4-BE49-F238E27FC236}">
                      <a16:creationId xmlns:a16="http://schemas.microsoft.com/office/drawing/2014/main" id="{106F2E83-14BA-7F51-87DC-CE257F222AB3}"/>
                    </a:ext>
                  </a:extLst>
                </p:cNvPr>
                <p:cNvSpPr txBox="1"/>
                <p:nvPr/>
              </p:nvSpPr>
              <p:spPr>
                <a:xfrm>
                  <a:off x="2124694" y="190053"/>
                  <a:ext cx="4204649" cy="97603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7150" tIns="28575" rIns="57150" bIns="28575" numCol="1" spcCol="1270" anchor="ctr" anchorCtr="0">
                  <a:noAutofit/>
                </a:bodyPr>
                <a:lstStyle/>
                <a:p>
                  <a:pPr marL="0" lvl="1" algn="ctr" defTabSz="666750">
                    <a:lnSpc>
                      <a:spcPct val="90000"/>
                    </a:lnSpc>
                    <a:spcBef>
                      <a:spcPct val="0"/>
                    </a:spcBef>
                    <a:spcAft>
                      <a:spcPct val="15000"/>
                    </a:spcAft>
                  </a:pPr>
                  <a:r>
                    <a:rPr lang="en-CA" sz="1400"/>
                    <a:t>Assess the model to meet the business objectives.</a:t>
                  </a:r>
                  <a:endParaRPr lang="en-US" sz="1400"/>
                </a:p>
              </p:txBody>
            </p:sp>
          </p:grpSp>
          <p:grpSp>
            <p:nvGrpSpPr>
              <p:cNvPr id="34" name="Group 33">
                <a:extLst>
                  <a:ext uri="{FF2B5EF4-FFF2-40B4-BE49-F238E27FC236}">
                    <a16:creationId xmlns:a16="http://schemas.microsoft.com/office/drawing/2014/main" id="{0B91A1C4-6C8D-C0C0-51A8-5783A47DDFEC}"/>
                  </a:ext>
                </a:extLst>
              </p:cNvPr>
              <p:cNvGrpSpPr/>
              <p:nvPr/>
            </p:nvGrpSpPr>
            <p:grpSpPr>
              <a:xfrm>
                <a:off x="8541343" y="1664548"/>
                <a:ext cx="2425736" cy="1081636"/>
                <a:chOff x="2124692" y="137253"/>
                <a:chExt cx="4257450" cy="1081636"/>
              </a:xfrm>
            </p:grpSpPr>
            <p:sp>
              <p:nvSpPr>
                <p:cNvPr id="35" name="Round Same Side Corner Rectangle 34">
                  <a:extLst>
                    <a:ext uri="{FF2B5EF4-FFF2-40B4-BE49-F238E27FC236}">
                      <a16:creationId xmlns:a16="http://schemas.microsoft.com/office/drawing/2014/main" id="{3599AF6D-F51C-49D5-F9B8-8F3DB74B5B46}"/>
                    </a:ext>
                  </a:extLst>
                </p:cNvPr>
                <p:cNvSpPr/>
                <p:nvPr/>
              </p:nvSpPr>
              <p:spPr>
                <a:xfrm rot="5400000">
                  <a:off x="3712599" y="-1450654"/>
                  <a:ext cx="1081636" cy="4257450"/>
                </a:xfrm>
                <a:prstGeom prst="round2SameRect">
                  <a:avLst>
                    <a:gd name="adj1" fmla="val 10423"/>
                    <a:gd name="adj2" fmla="val 11002"/>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6" name="Round Same Side Corner Rectangle 4">
                  <a:extLst>
                    <a:ext uri="{FF2B5EF4-FFF2-40B4-BE49-F238E27FC236}">
                      <a16:creationId xmlns:a16="http://schemas.microsoft.com/office/drawing/2014/main" id="{5DA1B4DE-3D58-5D53-8B7D-B3DD33BEF55D}"/>
                    </a:ext>
                  </a:extLst>
                </p:cNvPr>
                <p:cNvSpPr txBox="1"/>
                <p:nvPr/>
              </p:nvSpPr>
              <p:spPr>
                <a:xfrm>
                  <a:off x="2124693" y="190053"/>
                  <a:ext cx="4204649" cy="97603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7150" tIns="28575" rIns="57150" bIns="28575" numCol="1" spcCol="1270" anchor="ctr" anchorCtr="0">
                  <a:noAutofit/>
                </a:bodyPr>
                <a:lstStyle/>
                <a:p>
                  <a:pPr marL="0" lvl="1" algn="ctr" defTabSz="666750">
                    <a:lnSpc>
                      <a:spcPct val="90000"/>
                    </a:lnSpc>
                    <a:spcBef>
                      <a:spcPct val="0"/>
                    </a:spcBef>
                    <a:spcAft>
                      <a:spcPct val="15000"/>
                    </a:spcAft>
                  </a:pPr>
                  <a:r>
                    <a:rPr lang="en-CA" sz="1400" dirty="0"/>
                    <a:t>Define project objectives from a business perspective.</a:t>
                  </a:r>
                  <a:endParaRPr lang="en-US" sz="1400" dirty="0"/>
                </a:p>
              </p:txBody>
            </p:sp>
          </p:grpSp>
          <p:grpSp>
            <p:nvGrpSpPr>
              <p:cNvPr id="37" name="Group 36">
                <a:extLst>
                  <a:ext uri="{FF2B5EF4-FFF2-40B4-BE49-F238E27FC236}">
                    <a16:creationId xmlns:a16="http://schemas.microsoft.com/office/drawing/2014/main" id="{B67CA8B3-E72A-CEBF-B7AC-E70F4606CEB1}"/>
                  </a:ext>
                </a:extLst>
              </p:cNvPr>
              <p:cNvGrpSpPr/>
              <p:nvPr/>
            </p:nvGrpSpPr>
            <p:grpSpPr>
              <a:xfrm>
                <a:off x="9442526" y="3312796"/>
                <a:ext cx="2425736" cy="1081636"/>
                <a:chOff x="2124692" y="137253"/>
                <a:chExt cx="4257450" cy="1081636"/>
              </a:xfrm>
            </p:grpSpPr>
            <p:sp>
              <p:nvSpPr>
                <p:cNvPr id="38" name="Round Same Side Corner Rectangle 37">
                  <a:extLst>
                    <a:ext uri="{FF2B5EF4-FFF2-40B4-BE49-F238E27FC236}">
                      <a16:creationId xmlns:a16="http://schemas.microsoft.com/office/drawing/2014/main" id="{D19B7097-1F3E-1916-4D7B-99C42766E97A}"/>
                    </a:ext>
                  </a:extLst>
                </p:cNvPr>
                <p:cNvSpPr/>
                <p:nvPr/>
              </p:nvSpPr>
              <p:spPr>
                <a:xfrm rot="5400000">
                  <a:off x="3712599" y="-1450654"/>
                  <a:ext cx="1081636" cy="4257450"/>
                </a:xfrm>
                <a:prstGeom prst="round2SameRect">
                  <a:avLst>
                    <a:gd name="adj1" fmla="val 10423"/>
                    <a:gd name="adj2" fmla="val 11002"/>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9" name="Round Same Side Corner Rectangle 4">
                  <a:extLst>
                    <a:ext uri="{FF2B5EF4-FFF2-40B4-BE49-F238E27FC236}">
                      <a16:creationId xmlns:a16="http://schemas.microsoft.com/office/drawing/2014/main" id="{43854A21-AB27-8CD8-6AFF-33D68239D013}"/>
                    </a:ext>
                  </a:extLst>
                </p:cNvPr>
                <p:cNvSpPr txBox="1"/>
                <p:nvPr/>
              </p:nvSpPr>
              <p:spPr>
                <a:xfrm>
                  <a:off x="2124693" y="190053"/>
                  <a:ext cx="4204649" cy="97603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7150" tIns="28575" rIns="57150" bIns="28575" numCol="1" spcCol="1270" anchor="ctr" anchorCtr="0">
                  <a:noAutofit/>
                </a:bodyPr>
                <a:lstStyle/>
                <a:p>
                  <a:pPr marL="0" lvl="1" algn="ctr" defTabSz="666750">
                    <a:lnSpc>
                      <a:spcPct val="90000"/>
                    </a:lnSpc>
                    <a:spcBef>
                      <a:spcPct val="0"/>
                    </a:spcBef>
                    <a:spcAft>
                      <a:spcPct val="15000"/>
                    </a:spcAft>
                  </a:pPr>
                  <a:r>
                    <a:rPr lang="en-CA" sz="1400"/>
                    <a:t>Load initial data and familiarize with properties.</a:t>
                  </a:r>
                  <a:endParaRPr lang="en-US" sz="1400"/>
                </a:p>
              </p:txBody>
            </p:sp>
          </p:grpSp>
          <p:grpSp>
            <p:nvGrpSpPr>
              <p:cNvPr id="40" name="Group 39">
                <a:extLst>
                  <a:ext uri="{FF2B5EF4-FFF2-40B4-BE49-F238E27FC236}">
                    <a16:creationId xmlns:a16="http://schemas.microsoft.com/office/drawing/2014/main" id="{BFB8B63A-2077-7503-A53F-02115781EAAD}"/>
                  </a:ext>
                </a:extLst>
              </p:cNvPr>
              <p:cNvGrpSpPr/>
              <p:nvPr/>
            </p:nvGrpSpPr>
            <p:grpSpPr>
              <a:xfrm>
                <a:off x="1224920" y="4841146"/>
                <a:ext cx="2425736" cy="1081636"/>
                <a:chOff x="2124692" y="137253"/>
                <a:chExt cx="4257450" cy="1081636"/>
              </a:xfrm>
            </p:grpSpPr>
            <p:sp>
              <p:nvSpPr>
                <p:cNvPr id="41" name="Round Same Side Corner Rectangle 40">
                  <a:extLst>
                    <a:ext uri="{FF2B5EF4-FFF2-40B4-BE49-F238E27FC236}">
                      <a16:creationId xmlns:a16="http://schemas.microsoft.com/office/drawing/2014/main" id="{7052F7BF-0CEE-5A74-0A4D-AE7BA6715B0A}"/>
                    </a:ext>
                  </a:extLst>
                </p:cNvPr>
                <p:cNvSpPr/>
                <p:nvPr/>
              </p:nvSpPr>
              <p:spPr>
                <a:xfrm rot="5400000">
                  <a:off x="3712599" y="-1450654"/>
                  <a:ext cx="1081636" cy="4257450"/>
                </a:xfrm>
                <a:prstGeom prst="round2SameRect">
                  <a:avLst>
                    <a:gd name="adj1" fmla="val 10423"/>
                    <a:gd name="adj2" fmla="val 11002"/>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2" name="Round Same Side Corner Rectangle 4">
                  <a:extLst>
                    <a:ext uri="{FF2B5EF4-FFF2-40B4-BE49-F238E27FC236}">
                      <a16:creationId xmlns:a16="http://schemas.microsoft.com/office/drawing/2014/main" id="{838FB5F1-DE53-C5BF-2E39-2770B139EB74}"/>
                    </a:ext>
                  </a:extLst>
                </p:cNvPr>
                <p:cNvSpPr txBox="1"/>
                <p:nvPr/>
              </p:nvSpPr>
              <p:spPr>
                <a:xfrm>
                  <a:off x="2124693" y="190053"/>
                  <a:ext cx="4204649" cy="97603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7150" tIns="28575" rIns="57150" bIns="28575" numCol="1" spcCol="1270" anchor="ctr" anchorCtr="0">
                  <a:noAutofit/>
                </a:bodyPr>
                <a:lstStyle/>
                <a:p>
                  <a:pPr marL="0" lvl="1" algn="ctr" defTabSz="666750">
                    <a:lnSpc>
                      <a:spcPct val="90000"/>
                    </a:lnSpc>
                    <a:spcBef>
                      <a:spcPct val="0"/>
                    </a:spcBef>
                    <a:spcAft>
                      <a:spcPct val="15000"/>
                    </a:spcAft>
                  </a:pPr>
                  <a:r>
                    <a:rPr lang="en-CA" sz="1400"/>
                    <a:t>Apply modeling techniques to the cleaned dataset.</a:t>
                  </a:r>
                  <a:endParaRPr lang="en-US" sz="1400"/>
                </a:p>
              </p:txBody>
            </p:sp>
          </p:grpSp>
          <p:grpSp>
            <p:nvGrpSpPr>
              <p:cNvPr id="43" name="Group 42">
                <a:extLst>
                  <a:ext uri="{FF2B5EF4-FFF2-40B4-BE49-F238E27FC236}">
                    <a16:creationId xmlns:a16="http://schemas.microsoft.com/office/drawing/2014/main" id="{1882EBD6-947C-014A-2161-44FA99938EC2}"/>
                  </a:ext>
                </a:extLst>
              </p:cNvPr>
              <p:cNvGrpSpPr/>
              <p:nvPr/>
            </p:nvGrpSpPr>
            <p:grpSpPr>
              <a:xfrm>
                <a:off x="8541343" y="4844503"/>
                <a:ext cx="2425736" cy="1081636"/>
                <a:chOff x="2124692" y="137253"/>
                <a:chExt cx="4257450" cy="1081636"/>
              </a:xfrm>
            </p:grpSpPr>
            <p:sp>
              <p:nvSpPr>
                <p:cNvPr id="44" name="Round Same Side Corner Rectangle 43">
                  <a:extLst>
                    <a:ext uri="{FF2B5EF4-FFF2-40B4-BE49-F238E27FC236}">
                      <a16:creationId xmlns:a16="http://schemas.microsoft.com/office/drawing/2014/main" id="{9D4F87D5-B167-E277-262B-4289E2D2C560}"/>
                    </a:ext>
                  </a:extLst>
                </p:cNvPr>
                <p:cNvSpPr/>
                <p:nvPr/>
              </p:nvSpPr>
              <p:spPr>
                <a:xfrm rot="5400000">
                  <a:off x="3712599" y="-1450654"/>
                  <a:ext cx="1081636" cy="4257450"/>
                </a:xfrm>
                <a:prstGeom prst="round2SameRect">
                  <a:avLst>
                    <a:gd name="adj1" fmla="val 10423"/>
                    <a:gd name="adj2" fmla="val 11002"/>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5" name="Round Same Side Corner Rectangle 4">
                  <a:extLst>
                    <a:ext uri="{FF2B5EF4-FFF2-40B4-BE49-F238E27FC236}">
                      <a16:creationId xmlns:a16="http://schemas.microsoft.com/office/drawing/2014/main" id="{AE479FB4-43B1-7759-75FB-781D165EF0DD}"/>
                    </a:ext>
                  </a:extLst>
                </p:cNvPr>
                <p:cNvSpPr txBox="1"/>
                <p:nvPr/>
              </p:nvSpPr>
              <p:spPr>
                <a:xfrm>
                  <a:off x="2124693" y="190053"/>
                  <a:ext cx="4204649" cy="97603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7150" tIns="28575" rIns="57150" bIns="28575" numCol="1" spcCol="1270" anchor="ctr" anchorCtr="0">
                  <a:noAutofit/>
                </a:bodyPr>
                <a:lstStyle/>
                <a:p>
                  <a:pPr marL="0" lvl="1" algn="ctr" defTabSz="666750">
                    <a:lnSpc>
                      <a:spcPct val="90000"/>
                    </a:lnSpc>
                    <a:spcBef>
                      <a:spcPct val="0"/>
                    </a:spcBef>
                    <a:spcAft>
                      <a:spcPct val="15000"/>
                    </a:spcAft>
                  </a:pPr>
                  <a:r>
                    <a:rPr lang="en-CA" sz="1400"/>
                    <a:t>Clean data into the final dataset for modeling.</a:t>
                  </a:r>
                  <a:endParaRPr lang="en-US" sz="1400"/>
                </a:p>
              </p:txBody>
            </p:sp>
          </p:grpSp>
        </p:grpSp>
        <p:sp>
          <p:nvSpPr>
            <p:cNvPr id="14" name="Elipse 14">
              <a:extLst>
                <a:ext uri="{FF2B5EF4-FFF2-40B4-BE49-F238E27FC236}">
                  <a16:creationId xmlns:a16="http://schemas.microsoft.com/office/drawing/2014/main" id="{FC3EF743-B3CE-C9BF-1F60-C5BB73F7723E}"/>
                </a:ext>
              </a:extLst>
            </p:cNvPr>
            <p:cNvSpPr/>
            <p:nvPr/>
          </p:nvSpPr>
          <p:spPr>
            <a:xfrm>
              <a:off x="1032547" y="1538963"/>
              <a:ext cx="384746" cy="384746"/>
            </a:xfrm>
            <a:prstGeom prst="ellipse">
              <a:avLst/>
            </a:prstGeom>
            <a:solidFill>
              <a:srgbClr val="5AE0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a:t>6</a:t>
              </a:r>
            </a:p>
          </p:txBody>
        </p:sp>
        <p:sp>
          <p:nvSpPr>
            <p:cNvPr id="15" name="Elipse 14">
              <a:extLst>
                <a:ext uri="{FF2B5EF4-FFF2-40B4-BE49-F238E27FC236}">
                  <a16:creationId xmlns:a16="http://schemas.microsoft.com/office/drawing/2014/main" id="{C2DEACDB-129A-7FA6-43D5-D8CDF240B2BE}"/>
                </a:ext>
              </a:extLst>
            </p:cNvPr>
            <p:cNvSpPr/>
            <p:nvPr/>
          </p:nvSpPr>
          <p:spPr>
            <a:xfrm>
              <a:off x="10774707" y="1507047"/>
              <a:ext cx="384746" cy="384746"/>
            </a:xfrm>
            <a:prstGeom prst="ellipse">
              <a:avLst/>
            </a:prstGeom>
            <a:solidFill>
              <a:srgbClr val="5AE0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a:t>1</a:t>
              </a:r>
            </a:p>
          </p:txBody>
        </p:sp>
        <p:sp>
          <p:nvSpPr>
            <p:cNvPr id="16" name="Elipse 14">
              <a:extLst>
                <a:ext uri="{FF2B5EF4-FFF2-40B4-BE49-F238E27FC236}">
                  <a16:creationId xmlns:a16="http://schemas.microsoft.com/office/drawing/2014/main" id="{C13E7CAD-A0E8-B937-5C5E-64E6B02AAA25}"/>
                </a:ext>
              </a:extLst>
            </p:cNvPr>
            <p:cNvSpPr/>
            <p:nvPr/>
          </p:nvSpPr>
          <p:spPr>
            <a:xfrm>
              <a:off x="11677396" y="3120421"/>
              <a:ext cx="384746" cy="384746"/>
            </a:xfrm>
            <a:prstGeom prst="ellipse">
              <a:avLst/>
            </a:prstGeom>
            <a:solidFill>
              <a:srgbClr val="5AE0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a:t>2</a:t>
              </a:r>
            </a:p>
          </p:txBody>
        </p:sp>
        <p:sp>
          <p:nvSpPr>
            <p:cNvPr id="18" name="Elipse 14">
              <a:extLst>
                <a:ext uri="{FF2B5EF4-FFF2-40B4-BE49-F238E27FC236}">
                  <a16:creationId xmlns:a16="http://schemas.microsoft.com/office/drawing/2014/main" id="{A0B5E989-A7B7-7F72-67AA-012EE9A67655}"/>
                </a:ext>
              </a:extLst>
            </p:cNvPr>
            <p:cNvSpPr/>
            <p:nvPr/>
          </p:nvSpPr>
          <p:spPr>
            <a:xfrm>
              <a:off x="1032547" y="4649132"/>
              <a:ext cx="384746" cy="384746"/>
            </a:xfrm>
            <a:prstGeom prst="ellipse">
              <a:avLst/>
            </a:prstGeom>
            <a:solidFill>
              <a:srgbClr val="5AE0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a:t>4</a:t>
              </a:r>
            </a:p>
          </p:txBody>
        </p:sp>
        <p:sp>
          <p:nvSpPr>
            <p:cNvPr id="19" name="Elipse 14">
              <a:extLst>
                <a:ext uri="{FF2B5EF4-FFF2-40B4-BE49-F238E27FC236}">
                  <a16:creationId xmlns:a16="http://schemas.microsoft.com/office/drawing/2014/main" id="{2F265457-4585-3D50-283C-CE721BC932A9}"/>
                </a:ext>
              </a:extLst>
            </p:cNvPr>
            <p:cNvSpPr/>
            <p:nvPr/>
          </p:nvSpPr>
          <p:spPr>
            <a:xfrm>
              <a:off x="10769459" y="4649132"/>
              <a:ext cx="384746" cy="384746"/>
            </a:xfrm>
            <a:prstGeom prst="ellipse">
              <a:avLst/>
            </a:prstGeom>
            <a:solidFill>
              <a:srgbClr val="5AE0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a:t>3</a:t>
              </a:r>
            </a:p>
          </p:txBody>
        </p:sp>
        <p:sp>
          <p:nvSpPr>
            <p:cNvPr id="17" name="Elipse 14">
              <a:extLst>
                <a:ext uri="{FF2B5EF4-FFF2-40B4-BE49-F238E27FC236}">
                  <a16:creationId xmlns:a16="http://schemas.microsoft.com/office/drawing/2014/main" id="{A8B31D81-8514-8FFD-6DFE-93E2B6B551B6}"/>
                </a:ext>
              </a:extLst>
            </p:cNvPr>
            <p:cNvSpPr/>
            <p:nvPr/>
          </p:nvSpPr>
          <p:spPr>
            <a:xfrm>
              <a:off x="129858" y="3054270"/>
              <a:ext cx="384746" cy="384746"/>
            </a:xfrm>
            <a:prstGeom prst="ellipse">
              <a:avLst/>
            </a:prstGeom>
            <a:solidFill>
              <a:srgbClr val="5AE0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a:t>5</a:t>
              </a:r>
            </a:p>
          </p:txBody>
        </p:sp>
      </p:grpSp>
      <p:sp>
        <p:nvSpPr>
          <p:cNvPr id="26" name="Título 2">
            <a:extLst>
              <a:ext uri="{FF2B5EF4-FFF2-40B4-BE49-F238E27FC236}">
                <a16:creationId xmlns:a16="http://schemas.microsoft.com/office/drawing/2014/main" id="{B1513E89-7556-FDD5-1FA3-28FEE0418A4B}"/>
              </a:ext>
            </a:extLst>
          </p:cNvPr>
          <p:cNvSpPr txBox="1">
            <a:spLocks/>
          </p:cNvSpPr>
          <p:nvPr/>
        </p:nvSpPr>
        <p:spPr>
          <a:xfrm>
            <a:off x="536574" y="533400"/>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b="0"/>
              <a:t>Project Structure – CRISP-DM</a:t>
            </a:r>
          </a:p>
        </p:txBody>
      </p:sp>
    </p:spTree>
    <p:extLst>
      <p:ext uri="{BB962C8B-B14F-4D97-AF65-F5344CB8AC3E}">
        <p14:creationId xmlns:p14="http://schemas.microsoft.com/office/powerpoint/2010/main" val="2192708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Freeform 986">
            <a:extLst>
              <a:ext uri="{FF2B5EF4-FFF2-40B4-BE49-F238E27FC236}">
                <a16:creationId xmlns:a16="http://schemas.microsoft.com/office/drawing/2014/main" id="{CF9BE560-FAFB-E60E-CC8A-AF895887E7A6}"/>
              </a:ext>
            </a:extLst>
          </p:cNvPr>
          <p:cNvSpPr>
            <a:spLocks noChangeAspect="1" noChangeArrowheads="1"/>
          </p:cNvSpPr>
          <p:nvPr/>
        </p:nvSpPr>
        <p:spPr bwMode="auto">
          <a:xfrm>
            <a:off x="8279703" y="1987354"/>
            <a:ext cx="2883291" cy="2883291"/>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6207B"/>
              </a:solidFill>
              <a:effectLst/>
              <a:uLnTx/>
              <a:uFillTx/>
              <a:latin typeface="Verdana"/>
              <a:ea typeface="+mn-ea"/>
              <a:cs typeface="+mn-cs"/>
            </a:endParaRPr>
          </a:p>
        </p:txBody>
      </p:sp>
      <p:sp>
        <p:nvSpPr>
          <p:cNvPr id="4" name="TextBox 47">
            <a:extLst>
              <a:ext uri="{FF2B5EF4-FFF2-40B4-BE49-F238E27FC236}">
                <a16:creationId xmlns:a16="http://schemas.microsoft.com/office/drawing/2014/main" id="{03E942F2-BA33-F1CD-A78E-45E3539785C5}"/>
              </a:ext>
            </a:extLst>
          </p:cNvPr>
          <p:cNvSpPr txBox="1"/>
          <p:nvPr/>
        </p:nvSpPr>
        <p:spPr>
          <a:xfrm>
            <a:off x="384174" y="3573593"/>
            <a:ext cx="5783264" cy="461665"/>
          </a:xfrm>
          <a:prstGeom prst="rect">
            <a:avLst/>
          </a:prstGeom>
          <a:noFill/>
        </p:spPr>
        <p:txBody>
          <a:bodyPr wrap="square" rtlCol="0" anchor="ctr">
            <a:spAutoFit/>
          </a:bodyPr>
          <a:lstStyle/>
          <a:p>
            <a:r>
              <a:rPr lang="en-US"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RISP-DM Model Part 1</a:t>
            </a:r>
          </a:p>
        </p:txBody>
      </p:sp>
      <p:sp>
        <p:nvSpPr>
          <p:cNvPr id="5" name="TextBox 47">
            <a:extLst>
              <a:ext uri="{FF2B5EF4-FFF2-40B4-BE49-F238E27FC236}">
                <a16:creationId xmlns:a16="http://schemas.microsoft.com/office/drawing/2014/main" id="{2D391B25-AB3D-4E98-9D6A-2D2165594A68}"/>
              </a:ext>
            </a:extLst>
          </p:cNvPr>
          <p:cNvSpPr txBox="1"/>
          <p:nvPr/>
        </p:nvSpPr>
        <p:spPr>
          <a:xfrm>
            <a:off x="371475" y="2402743"/>
            <a:ext cx="7801758"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usiness Understanding</a:t>
            </a:r>
          </a:p>
        </p:txBody>
      </p:sp>
    </p:spTree>
    <p:extLst>
      <p:ext uri="{BB962C8B-B14F-4D97-AF65-F5344CB8AC3E}">
        <p14:creationId xmlns:p14="http://schemas.microsoft.com/office/powerpoint/2010/main" val="36869998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47B874B-E4EA-6EB1-03CA-9DE005DE6E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6" name="Objeto 5" hidden="1">
                        <a:extLst>
                          <a:ext uri="{FF2B5EF4-FFF2-40B4-BE49-F238E27FC236}">
                            <a16:creationId xmlns:a16="http://schemas.microsoft.com/office/drawing/2014/main" id="{447B874B-E4EA-6EB1-03CA-9DE005DE6E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2">
            <a:extLst>
              <a:ext uri="{FF2B5EF4-FFF2-40B4-BE49-F238E27FC236}">
                <a16:creationId xmlns:a16="http://schemas.microsoft.com/office/drawing/2014/main" id="{1A06D1F9-80A5-C9DB-5981-C0BD13DE9012}"/>
              </a:ext>
            </a:extLst>
          </p:cNvPr>
          <p:cNvSpPr txBox="1">
            <a:spLocks/>
          </p:cNvSpPr>
          <p:nvPr/>
        </p:nvSpPr>
        <p:spPr>
          <a:xfrm>
            <a:off x="536574" y="533400"/>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b="0" dirty="0"/>
              <a:t>Six Target Stocks</a:t>
            </a:r>
          </a:p>
        </p:txBody>
      </p:sp>
      <p:pic>
        <p:nvPicPr>
          <p:cNvPr id="7" name="Picture 2" descr="Chipotle Mexican Grill Logo PNG ...">
            <a:extLst>
              <a:ext uri="{FF2B5EF4-FFF2-40B4-BE49-F238E27FC236}">
                <a16:creationId xmlns:a16="http://schemas.microsoft.com/office/drawing/2014/main" id="{62498E3F-6DC1-4B74-AD38-C671186E19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7565" y="1167744"/>
            <a:ext cx="1626523" cy="1626523"/>
          </a:xfrm>
          <a:prstGeom prst="ellipse">
            <a:avLst/>
          </a:prstGeom>
          <a:noFill/>
          <a:extLst>
            <a:ext uri="{909E8E84-426E-40DD-AFC4-6F175D3DCCD1}">
              <a14:hiddenFill xmlns:a14="http://schemas.microsoft.com/office/drawing/2010/main">
                <a:solidFill>
                  <a:srgbClr val="FFFFFF"/>
                </a:solidFill>
              </a14:hiddenFill>
            </a:ext>
          </a:extLst>
        </p:spPr>
      </p:pic>
      <p:pic>
        <p:nvPicPr>
          <p:cNvPr id="8" name="Picture 14">
            <a:extLst>
              <a:ext uri="{FF2B5EF4-FFF2-40B4-BE49-F238E27FC236}">
                <a16:creationId xmlns:a16="http://schemas.microsoft.com/office/drawing/2014/main" id="{10893C23-416D-1678-86A4-7E85777025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5201" y="3616467"/>
            <a:ext cx="2191251" cy="41368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Salesforce Logo and symbol, meaning, history, PNG, brand">
            <a:extLst>
              <a:ext uri="{FF2B5EF4-FFF2-40B4-BE49-F238E27FC236}">
                <a16:creationId xmlns:a16="http://schemas.microsoft.com/office/drawing/2014/main" id="{88D0E05F-96AC-82E4-DD39-0B2AD4BA789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23750" y="4913261"/>
            <a:ext cx="2208645" cy="14513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17414220-FC24-AF76-A666-549C4062924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03088" y="3453769"/>
            <a:ext cx="2449969" cy="72490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8" descr="Uber - Social media &amp; Logos Icons">
            <a:extLst>
              <a:ext uri="{FF2B5EF4-FFF2-40B4-BE49-F238E27FC236}">
                <a16:creationId xmlns:a16="http://schemas.microsoft.com/office/drawing/2014/main" id="{9DEB64A8-9A3A-583F-72B1-A23A303167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7495" y="4792705"/>
            <a:ext cx="1706663" cy="1706663"/>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FAA4FA5B-D615-028E-C411-1001B724F2C9}"/>
              </a:ext>
            </a:extLst>
          </p:cNvPr>
          <p:cNvSpPr txBox="1"/>
          <p:nvPr/>
        </p:nvSpPr>
        <p:spPr>
          <a:xfrm>
            <a:off x="2534665" y="1238865"/>
            <a:ext cx="3731776" cy="1600438"/>
          </a:xfrm>
          <a:prstGeom prst="rect">
            <a:avLst/>
          </a:prstGeom>
          <a:noFill/>
        </p:spPr>
        <p:txBody>
          <a:bodyPr wrap="square" rtlCol="0">
            <a:spAutoFit/>
          </a:bodyPr>
          <a:lstStyle/>
          <a:p>
            <a:r>
              <a:rPr lang="en-US" sz="1600" dirty="0">
                <a:latin typeface="Verdana" panose="020B0604030504040204" pitchFamily="34" charset="0"/>
                <a:ea typeface="Verdana" panose="020B0604030504040204" pitchFamily="34" charset="0"/>
              </a:rPr>
              <a:t>Chipotle is a fast-casual restaurant chain known for its customizable burritos, bowls, and tacos made with fresh, high-quality ingredients.</a:t>
            </a:r>
          </a:p>
          <a:p>
            <a:r>
              <a:rPr lang="en-US" sz="1600" b="1" dirty="0">
                <a:latin typeface="Verdana" panose="020B0604030504040204" pitchFamily="34" charset="0"/>
                <a:ea typeface="Verdana" panose="020B0604030504040204" pitchFamily="34" charset="0"/>
              </a:rPr>
              <a:t>Opening Price: $53.48</a:t>
            </a:r>
            <a:endParaRPr lang="en-CA" sz="1600" b="1" dirty="0">
              <a:latin typeface="Verdana" panose="020B0604030504040204" pitchFamily="34" charset="0"/>
              <a:ea typeface="Verdana" panose="020B0604030504040204" pitchFamily="34" charset="0"/>
            </a:endParaRPr>
          </a:p>
        </p:txBody>
      </p:sp>
      <p:sp>
        <p:nvSpPr>
          <p:cNvPr id="21" name="TextBox 20">
            <a:extLst>
              <a:ext uri="{FF2B5EF4-FFF2-40B4-BE49-F238E27FC236}">
                <a16:creationId xmlns:a16="http://schemas.microsoft.com/office/drawing/2014/main" id="{439F16A6-8B23-3D30-C858-F6B10DEC37B5}"/>
              </a:ext>
            </a:extLst>
          </p:cNvPr>
          <p:cNvSpPr txBox="1"/>
          <p:nvPr/>
        </p:nvSpPr>
        <p:spPr>
          <a:xfrm>
            <a:off x="2534665" y="3101159"/>
            <a:ext cx="3731776" cy="1354217"/>
          </a:xfrm>
          <a:prstGeom prst="rect">
            <a:avLst/>
          </a:prstGeom>
          <a:noFill/>
        </p:spPr>
        <p:txBody>
          <a:bodyPr wrap="square" rtlCol="0">
            <a:spAutoFit/>
          </a:bodyPr>
          <a:lstStyle/>
          <a:p>
            <a:r>
              <a:rPr lang="en-US" sz="1600">
                <a:latin typeface="Verdana" panose="020B0604030504040204" pitchFamily="34" charset="0"/>
                <a:ea typeface="Verdana" panose="020B0604030504040204" pitchFamily="34" charset="0"/>
              </a:rPr>
              <a:t>Kraft Heinz is a global food industry giant renowned for its iconic brands and wide range of popular, high-quality products.</a:t>
            </a:r>
          </a:p>
          <a:p>
            <a:r>
              <a:rPr lang="en-US" sz="1600" b="1">
                <a:latin typeface="Verdana" panose="020B0604030504040204" pitchFamily="34" charset="0"/>
                <a:ea typeface="Verdana" panose="020B0604030504040204" pitchFamily="34" charset="0"/>
              </a:rPr>
              <a:t>Opening Price: $33.15</a:t>
            </a:r>
            <a:endParaRPr lang="en-CA" sz="1600" b="1">
              <a:latin typeface="Verdana" panose="020B0604030504040204" pitchFamily="34" charset="0"/>
              <a:ea typeface="Verdana" panose="020B0604030504040204" pitchFamily="34" charset="0"/>
            </a:endParaRPr>
          </a:p>
        </p:txBody>
      </p:sp>
      <p:sp>
        <p:nvSpPr>
          <p:cNvPr id="22" name="TextBox 21">
            <a:extLst>
              <a:ext uri="{FF2B5EF4-FFF2-40B4-BE49-F238E27FC236}">
                <a16:creationId xmlns:a16="http://schemas.microsoft.com/office/drawing/2014/main" id="{425BC7DD-09A1-0675-70F6-15551787974E}"/>
              </a:ext>
            </a:extLst>
          </p:cNvPr>
          <p:cNvSpPr txBox="1"/>
          <p:nvPr/>
        </p:nvSpPr>
        <p:spPr>
          <a:xfrm>
            <a:off x="2534665" y="4904280"/>
            <a:ext cx="3731776" cy="1600438"/>
          </a:xfrm>
          <a:prstGeom prst="rect">
            <a:avLst/>
          </a:prstGeom>
          <a:noFill/>
        </p:spPr>
        <p:txBody>
          <a:bodyPr wrap="square" rtlCol="0">
            <a:spAutoFit/>
          </a:bodyPr>
          <a:lstStyle/>
          <a:p>
            <a:r>
              <a:rPr lang="en-US" sz="1600">
                <a:latin typeface="Verdana" panose="020B0604030504040204" pitchFamily="34" charset="0"/>
                <a:ea typeface="Verdana" panose="020B0604030504040204" pitchFamily="34" charset="0"/>
              </a:rPr>
              <a:t>Uber is a global technology company that revolutionizes transportation by connecting riders with drivers through a user-friendly mobile app. </a:t>
            </a:r>
          </a:p>
          <a:p>
            <a:r>
              <a:rPr lang="en-US" sz="1600" b="1">
                <a:latin typeface="Verdana" panose="020B0604030504040204" pitchFamily="34" charset="0"/>
                <a:ea typeface="Verdana" panose="020B0604030504040204" pitchFamily="34" charset="0"/>
              </a:rPr>
              <a:t>Opening Price: $67.53</a:t>
            </a:r>
            <a:endParaRPr lang="en-CA" sz="1600" b="1">
              <a:latin typeface="Verdana" panose="020B0604030504040204" pitchFamily="34" charset="0"/>
              <a:ea typeface="Verdana" panose="020B0604030504040204" pitchFamily="34" charset="0"/>
            </a:endParaRPr>
          </a:p>
        </p:txBody>
      </p:sp>
      <p:sp>
        <p:nvSpPr>
          <p:cNvPr id="23" name="TextBox 22">
            <a:extLst>
              <a:ext uri="{FF2B5EF4-FFF2-40B4-BE49-F238E27FC236}">
                <a16:creationId xmlns:a16="http://schemas.microsoft.com/office/drawing/2014/main" id="{1EF44D6A-D369-BA93-3889-15C02085E908}"/>
              </a:ext>
            </a:extLst>
          </p:cNvPr>
          <p:cNvSpPr txBox="1"/>
          <p:nvPr/>
        </p:nvSpPr>
        <p:spPr>
          <a:xfrm>
            <a:off x="8545968" y="1241855"/>
            <a:ext cx="3557541" cy="1600438"/>
          </a:xfrm>
          <a:prstGeom prst="rect">
            <a:avLst/>
          </a:prstGeom>
          <a:noFill/>
        </p:spPr>
        <p:txBody>
          <a:bodyPr wrap="square" rtlCol="0">
            <a:spAutoFit/>
          </a:bodyPr>
          <a:lstStyle/>
          <a:p>
            <a:r>
              <a:rPr lang="en-US" sz="1600">
                <a:latin typeface="Verdana" panose="020B0604030504040204" pitchFamily="34" charset="0"/>
                <a:ea typeface="Verdana" panose="020B0604030504040204" pitchFamily="34" charset="0"/>
              </a:rPr>
              <a:t>Estée Lauder is a leading global beauty company recognized for its premium skincare, makeup, fragrance, and hair care products. </a:t>
            </a:r>
          </a:p>
          <a:p>
            <a:r>
              <a:rPr lang="en-US" sz="1600" b="1">
                <a:latin typeface="Verdana" panose="020B0604030504040204" pitchFamily="34" charset="0"/>
                <a:ea typeface="Verdana" panose="020B0604030504040204" pitchFamily="34" charset="0"/>
              </a:rPr>
              <a:t>Opening Price: $98.89</a:t>
            </a:r>
            <a:endParaRPr lang="en-CA" sz="1600" b="1">
              <a:latin typeface="Verdana" panose="020B0604030504040204" pitchFamily="34" charset="0"/>
              <a:ea typeface="Verdana" panose="020B0604030504040204" pitchFamily="34" charset="0"/>
            </a:endParaRPr>
          </a:p>
        </p:txBody>
      </p:sp>
      <p:sp>
        <p:nvSpPr>
          <p:cNvPr id="24" name="TextBox 23">
            <a:extLst>
              <a:ext uri="{FF2B5EF4-FFF2-40B4-BE49-F238E27FC236}">
                <a16:creationId xmlns:a16="http://schemas.microsoft.com/office/drawing/2014/main" id="{A0DECABB-17A1-93F9-C652-A6F46C1EB77C}"/>
              </a:ext>
            </a:extLst>
          </p:cNvPr>
          <p:cNvSpPr txBox="1"/>
          <p:nvPr/>
        </p:nvSpPr>
        <p:spPr>
          <a:xfrm>
            <a:off x="8545968" y="3101159"/>
            <a:ext cx="3557541" cy="1600438"/>
          </a:xfrm>
          <a:prstGeom prst="rect">
            <a:avLst/>
          </a:prstGeom>
          <a:noFill/>
        </p:spPr>
        <p:txBody>
          <a:bodyPr wrap="square" rtlCol="0">
            <a:spAutoFit/>
          </a:bodyPr>
          <a:lstStyle/>
          <a:p>
            <a:r>
              <a:rPr lang="en-US" sz="1600">
                <a:latin typeface="Verdana" panose="020B0604030504040204" pitchFamily="34" charset="0"/>
                <a:ea typeface="Verdana" panose="020B0604030504040204" pitchFamily="34" charset="0"/>
              </a:rPr>
              <a:t>Expedia is a leading online travel company that offers comprehensive travel services, including booking flights, hotels, and vacations.</a:t>
            </a:r>
          </a:p>
          <a:p>
            <a:r>
              <a:rPr lang="en-US" sz="1600" b="1">
                <a:latin typeface="Verdana" panose="020B0604030504040204" pitchFamily="34" charset="0"/>
                <a:ea typeface="Verdana" panose="020B0604030504040204" pitchFamily="34" charset="0"/>
              </a:rPr>
              <a:t>Opening Price: $134.83</a:t>
            </a:r>
            <a:endParaRPr lang="en-CA" sz="1600" b="1">
              <a:latin typeface="Verdana" panose="020B0604030504040204" pitchFamily="34" charset="0"/>
              <a:ea typeface="Verdana" panose="020B0604030504040204" pitchFamily="34" charset="0"/>
            </a:endParaRPr>
          </a:p>
        </p:txBody>
      </p:sp>
      <p:sp>
        <p:nvSpPr>
          <p:cNvPr id="25" name="TextBox 24">
            <a:extLst>
              <a:ext uri="{FF2B5EF4-FFF2-40B4-BE49-F238E27FC236}">
                <a16:creationId xmlns:a16="http://schemas.microsoft.com/office/drawing/2014/main" id="{7C0FDE98-B42A-2B32-0000-577DA4307164}"/>
              </a:ext>
            </a:extLst>
          </p:cNvPr>
          <p:cNvSpPr txBox="1"/>
          <p:nvPr/>
        </p:nvSpPr>
        <p:spPr>
          <a:xfrm>
            <a:off x="8545968" y="5045871"/>
            <a:ext cx="3557541" cy="1354217"/>
          </a:xfrm>
          <a:prstGeom prst="rect">
            <a:avLst/>
          </a:prstGeom>
          <a:noFill/>
        </p:spPr>
        <p:txBody>
          <a:bodyPr wrap="square" rtlCol="0">
            <a:spAutoFit/>
          </a:bodyPr>
          <a:lstStyle/>
          <a:p>
            <a:r>
              <a:rPr lang="en-US" sz="1600">
                <a:latin typeface="Verdana" panose="020B0604030504040204" pitchFamily="34" charset="0"/>
                <a:ea typeface="Verdana" panose="020B0604030504040204" pitchFamily="34" charset="0"/>
              </a:rPr>
              <a:t>Salesforce is a global leader in cloud-based customer relationship management (CRM) software.</a:t>
            </a:r>
          </a:p>
          <a:p>
            <a:r>
              <a:rPr lang="en-US" sz="1600" b="1">
                <a:latin typeface="Verdana" panose="020B0604030504040204" pitchFamily="34" charset="0"/>
                <a:ea typeface="Verdana" panose="020B0604030504040204" pitchFamily="34" charset="0"/>
              </a:rPr>
              <a:t>Opening Price: $248.75</a:t>
            </a:r>
            <a:endParaRPr lang="en-CA" sz="1600" b="1">
              <a:latin typeface="Verdana" panose="020B0604030504040204" pitchFamily="34" charset="0"/>
              <a:ea typeface="Verdana" panose="020B0604030504040204" pitchFamily="34" charset="0"/>
            </a:endParaRPr>
          </a:p>
        </p:txBody>
      </p:sp>
      <p:pic>
        <p:nvPicPr>
          <p:cNvPr id="26" name="Picture 8">
            <a:extLst>
              <a:ext uri="{FF2B5EF4-FFF2-40B4-BE49-F238E27FC236}">
                <a16:creationId xmlns:a16="http://schemas.microsoft.com/office/drawing/2014/main" id="{99DDFE89-276C-C533-7685-87C7E5B51CC3}"/>
              </a:ext>
            </a:extLst>
          </p:cNvPr>
          <p:cNvPicPr>
            <a:picLocks noChangeAspect="1" noChangeArrowheads="1"/>
          </p:cNvPicPr>
          <p:nvPr/>
        </p:nvPicPr>
        <p:blipFill rotWithShape="1">
          <a:blip r:embed="rId11">
            <a:extLst>
              <a:ext uri="{837473B0-CC2E-450A-ABE3-18F120FF3D39}">
                <a1611:picAttrSrcUrl xmlns:a1611="http://schemas.microsoft.com/office/drawing/2016/11/main" r:id="rId12"/>
              </a:ext>
            </a:extLst>
          </a:blip>
          <a:srcRect l="-632" t="-1" r="2186" b="-300"/>
          <a:stretch/>
        </p:blipFill>
        <p:spPr bwMode="auto">
          <a:xfrm>
            <a:off x="6170604" y="1310576"/>
            <a:ext cx="2314937" cy="13266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3354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Freeform 986">
            <a:extLst>
              <a:ext uri="{FF2B5EF4-FFF2-40B4-BE49-F238E27FC236}">
                <a16:creationId xmlns:a16="http://schemas.microsoft.com/office/drawing/2014/main" id="{CF9BE560-FAFB-E60E-CC8A-AF895887E7A6}"/>
              </a:ext>
            </a:extLst>
          </p:cNvPr>
          <p:cNvSpPr>
            <a:spLocks noChangeAspect="1" noChangeArrowheads="1"/>
          </p:cNvSpPr>
          <p:nvPr/>
        </p:nvSpPr>
        <p:spPr bwMode="auto">
          <a:xfrm>
            <a:off x="8279703" y="1987354"/>
            <a:ext cx="2883291" cy="2883291"/>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6207B"/>
              </a:solidFill>
              <a:effectLst/>
              <a:uLnTx/>
              <a:uFillTx/>
              <a:latin typeface="Verdana"/>
              <a:ea typeface="+mn-ea"/>
              <a:cs typeface="+mn-cs"/>
            </a:endParaRPr>
          </a:p>
        </p:txBody>
      </p:sp>
      <p:sp>
        <p:nvSpPr>
          <p:cNvPr id="4" name="TextBox 47">
            <a:extLst>
              <a:ext uri="{FF2B5EF4-FFF2-40B4-BE49-F238E27FC236}">
                <a16:creationId xmlns:a16="http://schemas.microsoft.com/office/drawing/2014/main" id="{03E942F2-BA33-F1CD-A78E-45E3539785C5}"/>
              </a:ext>
            </a:extLst>
          </p:cNvPr>
          <p:cNvSpPr txBox="1"/>
          <p:nvPr/>
        </p:nvSpPr>
        <p:spPr>
          <a:xfrm>
            <a:off x="384174" y="3573593"/>
            <a:ext cx="5783264" cy="461665"/>
          </a:xfrm>
          <a:prstGeom prst="rect">
            <a:avLst/>
          </a:prstGeom>
          <a:noFill/>
        </p:spPr>
        <p:txBody>
          <a:bodyPr wrap="square" rtlCol="0" anchor="ctr">
            <a:spAutoFit/>
          </a:bodyPr>
          <a:lstStyle/>
          <a:p>
            <a:r>
              <a:rPr lang="en-US"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RISP-DM Model Part 2</a:t>
            </a:r>
          </a:p>
        </p:txBody>
      </p:sp>
      <p:sp>
        <p:nvSpPr>
          <p:cNvPr id="5" name="TextBox 47">
            <a:extLst>
              <a:ext uri="{FF2B5EF4-FFF2-40B4-BE49-F238E27FC236}">
                <a16:creationId xmlns:a16="http://schemas.microsoft.com/office/drawing/2014/main" id="{2D391B25-AB3D-4E98-9D6A-2D2165594A68}"/>
              </a:ext>
            </a:extLst>
          </p:cNvPr>
          <p:cNvSpPr txBox="1"/>
          <p:nvPr/>
        </p:nvSpPr>
        <p:spPr>
          <a:xfrm>
            <a:off x="371475" y="2402743"/>
            <a:ext cx="7801758" cy="830997"/>
          </a:xfrm>
          <a:prstGeom prst="rect">
            <a:avLst/>
          </a:prstGeom>
          <a:noFill/>
        </p:spPr>
        <p:txBody>
          <a:bodyPr wrap="square" rtlCol="0" anchor="ctr">
            <a:spAutoFit/>
          </a:bodyPr>
          <a:lstStyle/>
          <a:p>
            <a:r>
              <a:rPr lang="en-US" sz="48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ata Understanding</a:t>
            </a:r>
          </a:p>
        </p:txBody>
      </p:sp>
    </p:spTree>
    <p:extLst>
      <p:ext uri="{BB962C8B-B14F-4D97-AF65-F5344CB8AC3E}">
        <p14:creationId xmlns:p14="http://schemas.microsoft.com/office/powerpoint/2010/main" val="1683894061"/>
      </p:ext>
    </p:extLst>
  </p:cSld>
  <p:clrMapOvr>
    <a:masterClrMapping/>
  </p:clrMapOvr>
  <p:extLst>
    <p:ext uri="{6950BFC3-D8DA-4A85-94F7-54DA5524770B}">
      <p188:commentRel xmlns:p188="http://schemas.microsoft.com/office/powerpoint/2018/8/main" r:id="rId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F05140-2B4C-DFDB-782F-1D3D4DCE325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F05140-2B4C-DFDB-782F-1D3D4DCE325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35DAAD5F-096D-2472-3A5F-A080CB64B94C}"/>
              </a:ext>
            </a:extLst>
          </p:cNvPr>
          <p:cNvSpPr>
            <a:spLocks noGrp="1"/>
          </p:cNvSpPr>
          <p:nvPr>
            <p:ph type="title"/>
          </p:nvPr>
        </p:nvSpPr>
        <p:spPr/>
        <p:txBody>
          <a:bodyPr vert="horz"/>
          <a:lstStyle/>
          <a:p>
            <a:r>
              <a:rPr lang="en-US" dirty="0"/>
              <a:t>Initial Variable Analysi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TextBox 53">
            <a:extLst>
              <a:ext uri="{FF2B5EF4-FFF2-40B4-BE49-F238E27FC236}">
                <a16:creationId xmlns:a16="http://schemas.microsoft.com/office/drawing/2014/main" id="{44D30F00-F7B0-9EFC-5D85-A9623699C549}"/>
              </a:ext>
            </a:extLst>
          </p:cNvPr>
          <p:cNvSpPr txBox="1"/>
          <p:nvPr/>
        </p:nvSpPr>
        <p:spPr>
          <a:xfrm>
            <a:off x="741530" y="5663589"/>
            <a:ext cx="2757619"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pen, High,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w, Close</a:t>
            </a:r>
          </a:p>
        </p:txBody>
      </p:sp>
      <p:sp>
        <p:nvSpPr>
          <p:cNvPr id="49" name="Rectangle 81">
            <a:extLst>
              <a:ext uri="{FF2B5EF4-FFF2-40B4-BE49-F238E27FC236}">
                <a16:creationId xmlns:a16="http://schemas.microsoft.com/office/drawing/2014/main" id="{DA37C026-6084-7F39-FBCB-ECABAB8D2F39}"/>
              </a:ext>
            </a:extLst>
          </p:cNvPr>
          <p:cNvSpPr/>
          <p:nvPr/>
        </p:nvSpPr>
        <p:spPr>
          <a:xfrm>
            <a:off x="289358" y="5704962"/>
            <a:ext cx="239329" cy="221754"/>
          </a:xfrm>
          <a:prstGeom prst="rect">
            <a:avLst/>
          </a:prstGeom>
          <a:solidFill>
            <a:srgbClr val="34717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p>
        </p:txBody>
      </p:sp>
      <p:sp>
        <p:nvSpPr>
          <p:cNvPr id="19" name="TextBox 53">
            <a:extLst>
              <a:ext uri="{FF2B5EF4-FFF2-40B4-BE49-F238E27FC236}">
                <a16:creationId xmlns:a16="http://schemas.microsoft.com/office/drawing/2014/main" id="{1AE642F4-8936-2326-25D2-2573BA99F551}"/>
              </a:ext>
            </a:extLst>
          </p:cNvPr>
          <p:cNvSpPr txBox="1"/>
          <p:nvPr/>
        </p:nvSpPr>
        <p:spPr>
          <a:xfrm>
            <a:off x="741530" y="2100768"/>
            <a:ext cx="2617292" cy="322506"/>
          </a:xfrm>
          <a:prstGeom prst="rect">
            <a:avLst/>
          </a:prstGeom>
          <a:solidFill>
            <a:schemeClr val="bg1"/>
          </a:solidFill>
          <a:ln>
            <a:noFill/>
          </a:ln>
        </p:spPr>
        <p:txBody>
          <a:bodyPr wrap="square" lIns="0" tIns="108000" rIns="108000" bIns="72000" anchor="ctr">
            <a:noAutofit/>
          </a:bodyPr>
          <a:lstStyle/>
          <a:p>
            <a:pPr marR="0" lvl="0" indent="0" fontAlgn="auto">
              <a:lnSpc>
                <a:spcPct val="100000"/>
              </a:lnSpc>
              <a:spcBef>
                <a:spcPts val="0"/>
              </a:spcBef>
              <a:spcAft>
                <a:spcPts val="0"/>
              </a:spcAft>
              <a:buClrTx/>
              <a:buSzTx/>
              <a:buFontTx/>
              <a:buNone/>
              <a:tabLst/>
              <a:defRPr/>
            </a:pPr>
            <a:r>
              <a:rPr lang="en-GB" sz="1600" b="1"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ate</a:t>
            </a:r>
            <a:endParaRPr lang="en-GB" sz="1200" b="1"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TextBox 54">
            <a:extLst>
              <a:ext uri="{FF2B5EF4-FFF2-40B4-BE49-F238E27FC236}">
                <a16:creationId xmlns:a16="http://schemas.microsoft.com/office/drawing/2014/main" id="{6AED9F42-E532-6CC6-B6C8-DF1EEA68AC96}"/>
              </a:ext>
            </a:extLst>
          </p:cNvPr>
          <p:cNvSpPr txBox="1"/>
          <p:nvPr/>
        </p:nvSpPr>
        <p:spPr>
          <a:xfrm>
            <a:off x="3645030" y="2152308"/>
            <a:ext cx="5270997" cy="219426"/>
          </a:xfrm>
          <a:prstGeom prst="rect">
            <a:avLst/>
          </a:prstGeom>
          <a:noFill/>
          <a:ln w="6350">
            <a:noFill/>
            <a:prstDash val="dash"/>
          </a:ln>
        </p:spPr>
        <p:txBody>
          <a:bodyPr wrap="square" lIns="0" tIns="0" rIns="0" bIns="0" rtlCol="0" anchor="ctr">
            <a:noAutofit/>
          </a:bodyPr>
          <a:lstStyle/>
          <a:p>
            <a:r>
              <a:rPr lang="en-US" sz="1400" dirty="0">
                <a:solidFill>
                  <a:schemeClr val="tx2"/>
                </a:solidFill>
                <a:latin typeface="Verdana" panose="020B0604030504040204" pitchFamily="34" charset="0"/>
                <a:ea typeface="Verdana" panose="020B0604030504040204" pitchFamily="34" charset="0"/>
              </a:rPr>
              <a:t>Represents the specific trading day for which the stock data is recorded. It is typically formatted as YYYY-MM-DD.</a:t>
            </a:r>
            <a:endParaRPr lang="en-US" sz="14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2" name="Rectangle 55">
            <a:extLst>
              <a:ext uri="{FF2B5EF4-FFF2-40B4-BE49-F238E27FC236}">
                <a16:creationId xmlns:a16="http://schemas.microsoft.com/office/drawing/2014/main" id="{51435BB2-A154-7A7A-61F9-22F914626F6B}"/>
              </a:ext>
            </a:extLst>
          </p:cNvPr>
          <p:cNvSpPr/>
          <p:nvPr/>
        </p:nvSpPr>
        <p:spPr>
          <a:xfrm>
            <a:off x="279026" y="2151144"/>
            <a:ext cx="239329" cy="221754"/>
          </a:xfrm>
          <a:prstGeom prst="rect">
            <a:avLst/>
          </a:prstGeom>
          <a:solidFill>
            <a:srgbClr val="34717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grpSp>
        <p:nvGrpSpPr>
          <p:cNvPr id="51" name="Grupo 42">
            <a:extLst>
              <a:ext uri="{FF2B5EF4-FFF2-40B4-BE49-F238E27FC236}">
                <a16:creationId xmlns:a16="http://schemas.microsoft.com/office/drawing/2014/main" id="{E1E26842-4702-6662-4C93-2A76D97A6D01}"/>
              </a:ext>
            </a:extLst>
          </p:cNvPr>
          <p:cNvGrpSpPr/>
          <p:nvPr/>
        </p:nvGrpSpPr>
        <p:grpSpPr>
          <a:xfrm rot="10800000" flipH="1">
            <a:off x="3014230" y="2121836"/>
            <a:ext cx="261754" cy="280370"/>
            <a:chOff x="3657318" y="2960019"/>
            <a:chExt cx="428407" cy="506598"/>
          </a:xfrm>
        </p:grpSpPr>
        <p:grpSp>
          <p:nvGrpSpPr>
            <p:cNvPr id="52" name="Grupo 43">
              <a:extLst>
                <a:ext uri="{FF2B5EF4-FFF2-40B4-BE49-F238E27FC236}">
                  <a16:creationId xmlns:a16="http://schemas.microsoft.com/office/drawing/2014/main" id="{8642B8DA-CBB2-EA67-28E8-B2D5719F19C2}"/>
                </a:ext>
              </a:extLst>
            </p:cNvPr>
            <p:cNvGrpSpPr/>
            <p:nvPr/>
          </p:nvGrpSpPr>
          <p:grpSpPr>
            <a:xfrm>
              <a:off x="3828604" y="2960019"/>
              <a:ext cx="257121" cy="506598"/>
              <a:chOff x="2468880" y="3319199"/>
              <a:chExt cx="257121" cy="506598"/>
            </a:xfrm>
          </p:grpSpPr>
          <p:cxnSp>
            <p:nvCxnSpPr>
              <p:cNvPr id="54" name="Conector recto 45">
                <a:extLst>
                  <a:ext uri="{FF2B5EF4-FFF2-40B4-BE49-F238E27FC236}">
                    <a16:creationId xmlns:a16="http://schemas.microsoft.com/office/drawing/2014/main" id="{CC6E4D88-B40C-B897-6EA7-D228142E0E62}"/>
                  </a:ext>
                </a:extLst>
              </p:cNvPr>
              <p:cNvCxnSpPr/>
              <p:nvPr/>
            </p:nvCxnSpPr>
            <p:spPr>
              <a:xfrm>
                <a:off x="2468880" y="3319199"/>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cxnSp>
            <p:nvCxnSpPr>
              <p:cNvPr id="55" name="Conector recto 46">
                <a:extLst>
                  <a:ext uri="{FF2B5EF4-FFF2-40B4-BE49-F238E27FC236}">
                    <a16:creationId xmlns:a16="http://schemas.microsoft.com/office/drawing/2014/main" id="{25B12FED-B70F-BC37-4AF3-57538EBDFE08}"/>
                  </a:ext>
                </a:extLst>
              </p:cNvPr>
              <p:cNvCxnSpPr>
                <a:cxnSpLocks/>
              </p:cNvCxnSpPr>
              <p:nvPr/>
            </p:nvCxnSpPr>
            <p:spPr>
              <a:xfrm flipH="1">
                <a:off x="2468880" y="3568676"/>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cxnSp>
          <p:nvCxnSpPr>
            <p:cNvPr id="53" name="Conector recto 44">
              <a:extLst>
                <a:ext uri="{FF2B5EF4-FFF2-40B4-BE49-F238E27FC236}">
                  <a16:creationId xmlns:a16="http://schemas.microsoft.com/office/drawing/2014/main" id="{FB8A55DF-8512-6E05-5DAD-7AC77CA8EB6F}"/>
                </a:ext>
              </a:extLst>
            </p:cNvPr>
            <p:cNvCxnSpPr>
              <a:cxnSpLocks/>
            </p:cNvCxnSpPr>
            <p:nvPr/>
          </p:nvCxnSpPr>
          <p:spPr>
            <a:xfrm>
              <a:off x="3657318" y="3213306"/>
              <a:ext cx="414810" cy="0"/>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sp>
        <p:nvSpPr>
          <p:cNvPr id="31" name="TextBox 53">
            <a:extLst>
              <a:ext uri="{FF2B5EF4-FFF2-40B4-BE49-F238E27FC236}">
                <a16:creationId xmlns:a16="http://schemas.microsoft.com/office/drawing/2014/main" id="{4DE0FCDE-6424-FD63-D33E-0B84271393BD}"/>
              </a:ext>
            </a:extLst>
          </p:cNvPr>
          <p:cNvSpPr txBox="1"/>
          <p:nvPr/>
        </p:nvSpPr>
        <p:spPr>
          <a:xfrm>
            <a:off x="741530" y="3017271"/>
            <a:ext cx="2962873" cy="304501"/>
          </a:xfrm>
          <a:prstGeom prst="rect">
            <a:avLst/>
          </a:prstGeom>
          <a:solidFill>
            <a:schemeClr val="bg1"/>
          </a:solidFill>
          <a:ln>
            <a:noFill/>
          </a:ln>
        </p:spPr>
        <p:txBody>
          <a:bodyPr wrap="square" lIns="0" tIns="108000" rIns="108000" bIns="72000" anchor="ctr">
            <a:noAutofit/>
          </a:bodyPr>
          <a:lstStyle>
            <a:defPPr>
              <a:defRPr lang="en-US"/>
            </a:defPPr>
            <a:lvl1pPr marR="0" lvl="0" indent="0" fontAlgn="auto">
              <a:lnSpc>
                <a:spcPct val="100000"/>
              </a:lnSpc>
              <a:spcBef>
                <a:spcPts val="0"/>
              </a:spcBef>
              <a:spcAft>
                <a:spcPts val="0"/>
              </a:spcAft>
              <a:buClrTx/>
              <a:buSzTx/>
              <a:buFontTx/>
              <a:buNone/>
              <a:tabLst/>
              <a:defRPr sz="1200">
                <a:solidFill>
                  <a:schemeClr val="accent2"/>
                </a:solidFill>
                <a:latin typeface="Franklin Gothic Medium" panose="020B0603020102020204" pitchFamily="34" charset="0"/>
                <a:cs typeface="Poppins SemiBold" panose="02000000000000000000" pitchFamily="2" charset="0"/>
              </a:defRPr>
            </a:lvl1pPr>
          </a:lstStyle>
          <a:p>
            <a:r>
              <a:rPr lang="en-GB" sz="1600" b="1">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ymbol</a:t>
            </a:r>
          </a:p>
        </p:txBody>
      </p:sp>
      <p:sp>
        <p:nvSpPr>
          <p:cNvPr id="33" name="Rectangle 72">
            <a:extLst>
              <a:ext uri="{FF2B5EF4-FFF2-40B4-BE49-F238E27FC236}">
                <a16:creationId xmlns:a16="http://schemas.microsoft.com/office/drawing/2014/main" id="{5A3523F6-C060-E9B4-F209-DBC96B053C51}"/>
              </a:ext>
            </a:extLst>
          </p:cNvPr>
          <p:cNvSpPr/>
          <p:nvPr/>
        </p:nvSpPr>
        <p:spPr>
          <a:xfrm>
            <a:off x="287055" y="3058644"/>
            <a:ext cx="239329" cy="221754"/>
          </a:xfrm>
          <a:prstGeom prst="rect">
            <a:avLst/>
          </a:prstGeom>
          <a:solidFill>
            <a:srgbClr val="34717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36" name="TextBox 53">
            <a:extLst>
              <a:ext uri="{FF2B5EF4-FFF2-40B4-BE49-F238E27FC236}">
                <a16:creationId xmlns:a16="http://schemas.microsoft.com/office/drawing/2014/main" id="{B43915DD-5038-2D08-1957-84763585DD61}"/>
              </a:ext>
            </a:extLst>
          </p:cNvPr>
          <p:cNvSpPr txBox="1"/>
          <p:nvPr/>
        </p:nvSpPr>
        <p:spPr>
          <a:xfrm>
            <a:off x="741530" y="3899107"/>
            <a:ext cx="3024438"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j Close</a:t>
            </a:r>
          </a:p>
        </p:txBody>
      </p:sp>
      <p:sp>
        <p:nvSpPr>
          <p:cNvPr id="38" name="Rectangle 75">
            <a:extLst>
              <a:ext uri="{FF2B5EF4-FFF2-40B4-BE49-F238E27FC236}">
                <a16:creationId xmlns:a16="http://schemas.microsoft.com/office/drawing/2014/main" id="{65A6ED33-F8B9-EC3C-4A0A-5D4AB459B808}"/>
              </a:ext>
            </a:extLst>
          </p:cNvPr>
          <p:cNvSpPr/>
          <p:nvPr/>
        </p:nvSpPr>
        <p:spPr>
          <a:xfrm>
            <a:off x="294100" y="3940480"/>
            <a:ext cx="239329" cy="221754"/>
          </a:xfrm>
          <a:prstGeom prst="rect">
            <a:avLst/>
          </a:prstGeom>
          <a:solidFill>
            <a:srgbClr val="34717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41" name="TextBox 53">
            <a:extLst>
              <a:ext uri="{FF2B5EF4-FFF2-40B4-BE49-F238E27FC236}">
                <a16:creationId xmlns:a16="http://schemas.microsoft.com/office/drawing/2014/main" id="{12B7456C-5DA7-251A-C7D5-19ACF69496AF}"/>
              </a:ext>
            </a:extLst>
          </p:cNvPr>
          <p:cNvSpPr txBox="1"/>
          <p:nvPr/>
        </p:nvSpPr>
        <p:spPr>
          <a:xfrm>
            <a:off x="741530" y="4793623"/>
            <a:ext cx="2956221"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me</a:t>
            </a:r>
          </a:p>
        </p:txBody>
      </p:sp>
      <p:sp>
        <p:nvSpPr>
          <p:cNvPr id="43" name="Rectangle 78">
            <a:extLst>
              <a:ext uri="{FF2B5EF4-FFF2-40B4-BE49-F238E27FC236}">
                <a16:creationId xmlns:a16="http://schemas.microsoft.com/office/drawing/2014/main" id="{4313BE18-6038-9B8B-7472-A579B0F2A46C}"/>
              </a:ext>
            </a:extLst>
          </p:cNvPr>
          <p:cNvSpPr/>
          <p:nvPr/>
        </p:nvSpPr>
        <p:spPr>
          <a:xfrm>
            <a:off x="284949" y="4834996"/>
            <a:ext cx="239329" cy="221754"/>
          </a:xfrm>
          <a:prstGeom prst="rect">
            <a:avLst/>
          </a:prstGeom>
          <a:solidFill>
            <a:srgbClr val="34717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p>
        </p:txBody>
      </p:sp>
      <p:sp>
        <p:nvSpPr>
          <p:cNvPr id="8" name="TextBox 24">
            <a:extLst>
              <a:ext uri="{FF2B5EF4-FFF2-40B4-BE49-F238E27FC236}">
                <a16:creationId xmlns:a16="http://schemas.microsoft.com/office/drawing/2014/main" id="{C0940F2B-D06A-3775-922B-5C7CDFF47D72}"/>
              </a:ext>
            </a:extLst>
          </p:cNvPr>
          <p:cNvSpPr txBox="1"/>
          <p:nvPr/>
        </p:nvSpPr>
        <p:spPr>
          <a:xfrm>
            <a:off x="588186" y="1386692"/>
            <a:ext cx="2679489" cy="307777"/>
          </a:xfrm>
          <a:prstGeom prst="rect">
            <a:avLst/>
          </a:prstGeom>
          <a:noFill/>
        </p:spPr>
        <p:txBody>
          <a:bodyPr wrap="square" lIns="0" tIns="0" rIns="0" bIns="0" rtlCol="0" anchor="b">
            <a:noAutofit/>
          </a:bodyPr>
          <a:lstStyle/>
          <a:p>
            <a:r>
              <a:rPr lang="en-US" b="1">
                <a:solidFill>
                  <a:srgbClr val="34717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ariable</a:t>
            </a:r>
          </a:p>
        </p:txBody>
      </p:sp>
      <p:cxnSp>
        <p:nvCxnSpPr>
          <p:cNvPr id="9" name="Conector recto 9">
            <a:extLst>
              <a:ext uri="{FF2B5EF4-FFF2-40B4-BE49-F238E27FC236}">
                <a16:creationId xmlns:a16="http://schemas.microsoft.com/office/drawing/2014/main" id="{9C4FD6F0-638E-7493-D2E4-968903D00C3E}"/>
              </a:ext>
            </a:extLst>
          </p:cNvPr>
          <p:cNvCxnSpPr>
            <a:cxnSpLocks/>
          </p:cNvCxnSpPr>
          <p:nvPr/>
        </p:nvCxnSpPr>
        <p:spPr>
          <a:xfrm>
            <a:off x="585162" y="1721893"/>
            <a:ext cx="238141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24">
            <a:extLst>
              <a:ext uri="{FF2B5EF4-FFF2-40B4-BE49-F238E27FC236}">
                <a16:creationId xmlns:a16="http://schemas.microsoft.com/office/drawing/2014/main" id="{7B10FB18-DE69-93A8-3998-8FD233725CCA}"/>
              </a:ext>
            </a:extLst>
          </p:cNvPr>
          <p:cNvSpPr txBox="1"/>
          <p:nvPr/>
        </p:nvSpPr>
        <p:spPr>
          <a:xfrm>
            <a:off x="3083642" y="1386692"/>
            <a:ext cx="5045060" cy="307777"/>
          </a:xfrm>
          <a:prstGeom prst="rect">
            <a:avLst/>
          </a:prstGeom>
          <a:noFill/>
        </p:spPr>
        <p:txBody>
          <a:bodyPr wrap="square" lIns="0" tIns="0" rIns="0" bIns="0" rtlCol="0" anchor="b">
            <a:noAutofit/>
          </a:bodyPr>
          <a:lstStyle/>
          <a:p>
            <a:r>
              <a:rPr lang="en-US" b="1">
                <a:solidFill>
                  <a:srgbClr val="34717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scription</a:t>
            </a:r>
          </a:p>
        </p:txBody>
      </p:sp>
      <p:cxnSp>
        <p:nvCxnSpPr>
          <p:cNvPr id="12" name="Conector recto 9">
            <a:extLst>
              <a:ext uri="{FF2B5EF4-FFF2-40B4-BE49-F238E27FC236}">
                <a16:creationId xmlns:a16="http://schemas.microsoft.com/office/drawing/2014/main" id="{B876B9DB-CA3C-3329-835A-223637118B9B}"/>
              </a:ext>
            </a:extLst>
          </p:cNvPr>
          <p:cNvCxnSpPr>
            <a:cxnSpLocks/>
          </p:cNvCxnSpPr>
          <p:nvPr/>
        </p:nvCxnSpPr>
        <p:spPr>
          <a:xfrm>
            <a:off x="3101558" y="1721893"/>
            <a:ext cx="6105504"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2D245335-5BEB-4717-073D-77FD364904F3}"/>
              </a:ext>
            </a:extLst>
          </p:cNvPr>
          <p:cNvSpPr txBox="1"/>
          <p:nvPr/>
        </p:nvSpPr>
        <p:spPr>
          <a:xfrm>
            <a:off x="3645030" y="3059808"/>
            <a:ext cx="5270997" cy="219426"/>
          </a:xfrm>
          <a:prstGeom prst="rect">
            <a:avLst/>
          </a:prstGeom>
          <a:noFill/>
          <a:ln w="6350">
            <a:noFill/>
            <a:prstDash val="dash"/>
          </a:ln>
        </p:spPr>
        <p:txBody>
          <a:bodyPr wrap="square" lIns="0" tIns="0" rIns="0" bIns="0" rtlCol="0" anchor="ctr">
            <a:noAutofit/>
          </a:bodyPr>
          <a:lstStyle/>
          <a:p>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ique identifier assigned to a publicly traded company on a stock exchange. For example, "CRM" for Salesforce.</a:t>
            </a:r>
          </a:p>
        </p:txBody>
      </p:sp>
      <p:grpSp>
        <p:nvGrpSpPr>
          <p:cNvPr id="14" name="Grupo 42">
            <a:extLst>
              <a:ext uri="{FF2B5EF4-FFF2-40B4-BE49-F238E27FC236}">
                <a16:creationId xmlns:a16="http://schemas.microsoft.com/office/drawing/2014/main" id="{F672A47B-C49A-2FC8-75DC-436FA53F4105}"/>
              </a:ext>
            </a:extLst>
          </p:cNvPr>
          <p:cNvGrpSpPr/>
          <p:nvPr/>
        </p:nvGrpSpPr>
        <p:grpSpPr>
          <a:xfrm rot="10800000" flipH="1">
            <a:off x="3014230" y="3029336"/>
            <a:ext cx="261754" cy="280370"/>
            <a:chOff x="3657318" y="2960019"/>
            <a:chExt cx="428407" cy="506598"/>
          </a:xfrm>
        </p:grpSpPr>
        <p:grpSp>
          <p:nvGrpSpPr>
            <p:cNvPr id="15" name="Grupo 43">
              <a:extLst>
                <a:ext uri="{FF2B5EF4-FFF2-40B4-BE49-F238E27FC236}">
                  <a16:creationId xmlns:a16="http://schemas.microsoft.com/office/drawing/2014/main" id="{41BCE1D5-C3ED-98F5-1E81-618778DFE77C}"/>
                </a:ext>
              </a:extLst>
            </p:cNvPr>
            <p:cNvGrpSpPr/>
            <p:nvPr/>
          </p:nvGrpSpPr>
          <p:grpSpPr>
            <a:xfrm>
              <a:off x="3828604" y="2960019"/>
              <a:ext cx="257121" cy="506598"/>
              <a:chOff x="2468880" y="3319199"/>
              <a:chExt cx="257121" cy="506598"/>
            </a:xfrm>
          </p:grpSpPr>
          <p:cxnSp>
            <p:nvCxnSpPr>
              <p:cNvPr id="17" name="Conector recto 45">
                <a:extLst>
                  <a:ext uri="{FF2B5EF4-FFF2-40B4-BE49-F238E27FC236}">
                    <a16:creationId xmlns:a16="http://schemas.microsoft.com/office/drawing/2014/main" id="{7669F421-6FDA-C7B0-BEC7-94D216DA16D1}"/>
                  </a:ext>
                </a:extLst>
              </p:cNvPr>
              <p:cNvCxnSpPr/>
              <p:nvPr/>
            </p:nvCxnSpPr>
            <p:spPr>
              <a:xfrm>
                <a:off x="2468880" y="3319199"/>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cxnSp>
            <p:nvCxnSpPr>
              <p:cNvPr id="18" name="Conector recto 46">
                <a:extLst>
                  <a:ext uri="{FF2B5EF4-FFF2-40B4-BE49-F238E27FC236}">
                    <a16:creationId xmlns:a16="http://schemas.microsoft.com/office/drawing/2014/main" id="{0E40A828-2333-11C1-7FA5-07C1E866BCFD}"/>
                  </a:ext>
                </a:extLst>
              </p:cNvPr>
              <p:cNvCxnSpPr>
                <a:cxnSpLocks/>
              </p:cNvCxnSpPr>
              <p:nvPr/>
            </p:nvCxnSpPr>
            <p:spPr>
              <a:xfrm flipH="1">
                <a:off x="2468880" y="3568676"/>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cxnSp>
          <p:nvCxnSpPr>
            <p:cNvPr id="16" name="Conector recto 44">
              <a:extLst>
                <a:ext uri="{FF2B5EF4-FFF2-40B4-BE49-F238E27FC236}">
                  <a16:creationId xmlns:a16="http://schemas.microsoft.com/office/drawing/2014/main" id="{2A1FB3AC-63A4-0C79-D089-CB07649983A8}"/>
                </a:ext>
              </a:extLst>
            </p:cNvPr>
            <p:cNvCxnSpPr>
              <a:cxnSpLocks/>
            </p:cNvCxnSpPr>
            <p:nvPr/>
          </p:nvCxnSpPr>
          <p:spPr>
            <a:xfrm>
              <a:off x="3657318" y="3213306"/>
              <a:ext cx="414810" cy="0"/>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sp>
        <p:nvSpPr>
          <p:cNvPr id="21" name="TextBox 54">
            <a:extLst>
              <a:ext uri="{FF2B5EF4-FFF2-40B4-BE49-F238E27FC236}">
                <a16:creationId xmlns:a16="http://schemas.microsoft.com/office/drawing/2014/main" id="{C0C6FCA0-6697-5BAB-BD6C-5B605F4E713B}"/>
              </a:ext>
            </a:extLst>
          </p:cNvPr>
          <p:cNvSpPr txBox="1"/>
          <p:nvPr/>
        </p:nvSpPr>
        <p:spPr>
          <a:xfrm>
            <a:off x="3645030" y="3941644"/>
            <a:ext cx="5270997" cy="219426"/>
          </a:xfrm>
          <a:prstGeom prst="rect">
            <a:avLst/>
          </a:prstGeom>
          <a:noFill/>
          <a:ln w="6350">
            <a:noFill/>
            <a:prstDash val="dash"/>
          </a:ln>
        </p:spPr>
        <p:txBody>
          <a:bodyPr wrap="square" lIns="0" tIns="0" rIns="0" bIns="0" rtlCol="0" anchor="ctr">
            <a:noAutofit/>
          </a:bodyPr>
          <a:lstStyle/>
          <a:p>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epresents the closing price after adjustments for all applicable splits and dividend distributions.</a:t>
            </a:r>
          </a:p>
        </p:txBody>
      </p:sp>
      <p:grpSp>
        <p:nvGrpSpPr>
          <p:cNvPr id="23" name="Grupo 42">
            <a:extLst>
              <a:ext uri="{FF2B5EF4-FFF2-40B4-BE49-F238E27FC236}">
                <a16:creationId xmlns:a16="http://schemas.microsoft.com/office/drawing/2014/main" id="{03D3098E-D48C-7E07-F50A-7FD426785943}"/>
              </a:ext>
            </a:extLst>
          </p:cNvPr>
          <p:cNvGrpSpPr/>
          <p:nvPr/>
        </p:nvGrpSpPr>
        <p:grpSpPr>
          <a:xfrm rot="10800000" flipH="1">
            <a:off x="3014230" y="3911172"/>
            <a:ext cx="261754" cy="280370"/>
            <a:chOff x="3657318" y="2960019"/>
            <a:chExt cx="428407" cy="506598"/>
          </a:xfrm>
        </p:grpSpPr>
        <p:grpSp>
          <p:nvGrpSpPr>
            <p:cNvPr id="24" name="Grupo 43">
              <a:extLst>
                <a:ext uri="{FF2B5EF4-FFF2-40B4-BE49-F238E27FC236}">
                  <a16:creationId xmlns:a16="http://schemas.microsoft.com/office/drawing/2014/main" id="{1C65AF5C-E1DC-2E87-26FA-DB7A48BC32F1}"/>
                </a:ext>
              </a:extLst>
            </p:cNvPr>
            <p:cNvGrpSpPr/>
            <p:nvPr/>
          </p:nvGrpSpPr>
          <p:grpSpPr>
            <a:xfrm>
              <a:off x="3828604" y="2960019"/>
              <a:ext cx="257121" cy="506598"/>
              <a:chOff x="2468880" y="3319199"/>
              <a:chExt cx="257121" cy="506598"/>
            </a:xfrm>
          </p:grpSpPr>
          <p:cxnSp>
            <p:nvCxnSpPr>
              <p:cNvPr id="26" name="Conector recto 45">
                <a:extLst>
                  <a:ext uri="{FF2B5EF4-FFF2-40B4-BE49-F238E27FC236}">
                    <a16:creationId xmlns:a16="http://schemas.microsoft.com/office/drawing/2014/main" id="{9BF3B953-D13D-9DB5-F241-0E14554EADA6}"/>
                  </a:ext>
                </a:extLst>
              </p:cNvPr>
              <p:cNvCxnSpPr/>
              <p:nvPr/>
            </p:nvCxnSpPr>
            <p:spPr>
              <a:xfrm>
                <a:off x="2468880" y="3319199"/>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cxnSp>
            <p:nvCxnSpPr>
              <p:cNvPr id="27" name="Conector recto 46">
                <a:extLst>
                  <a:ext uri="{FF2B5EF4-FFF2-40B4-BE49-F238E27FC236}">
                    <a16:creationId xmlns:a16="http://schemas.microsoft.com/office/drawing/2014/main" id="{4E6650D1-7C65-D538-2B89-74507BBC1E73}"/>
                  </a:ext>
                </a:extLst>
              </p:cNvPr>
              <p:cNvCxnSpPr>
                <a:cxnSpLocks/>
              </p:cNvCxnSpPr>
              <p:nvPr/>
            </p:nvCxnSpPr>
            <p:spPr>
              <a:xfrm flipH="1">
                <a:off x="2468880" y="3568676"/>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cxnSp>
          <p:nvCxnSpPr>
            <p:cNvPr id="25" name="Conector recto 44">
              <a:extLst>
                <a:ext uri="{FF2B5EF4-FFF2-40B4-BE49-F238E27FC236}">
                  <a16:creationId xmlns:a16="http://schemas.microsoft.com/office/drawing/2014/main" id="{AF726EDA-5542-7378-2B5D-0BB7620D4335}"/>
                </a:ext>
              </a:extLst>
            </p:cNvPr>
            <p:cNvCxnSpPr>
              <a:cxnSpLocks/>
            </p:cNvCxnSpPr>
            <p:nvPr/>
          </p:nvCxnSpPr>
          <p:spPr>
            <a:xfrm>
              <a:off x="3657318" y="3213306"/>
              <a:ext cx="414810" cy="0"/>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sp>
        <p:nvSpPr>
          <p:cNvPr id="28" name="TextBox 54">
            <a:extLst>
              <a:ext uri="{FF2B5EF4-FFF2-40B4-BE49-F238E27FC236}">
                <a16:creationId xmlns:a16="http://schemas.microsoft.com/office/drawing/2014/main" id="{390E2909-1290-57D7-61F7-A41BA1DC4ECE}"/>
              </a:ext>
            </a:extLst>
          </p:cNvPr>
          <p:cNvSpPr txBox="1"/>
          <p:nvPr/>
        </p:nvSpPr>
        <p:spPr>
          <a:xfrm>
            <a:off x="3645030" y="4836160"/>
            <a:ext cx="5270997" cy="219426"/>
          </a:xfrm>
          <a:prstGeom prst="rect">
            <a:avLst/>
          </a:prstGeom>
          <a:noFill/>
          <a:ln w="6350">
            <a:noFill/>
            <a:prstDash val="dash"/>
          </a:ln>
        </p:spPr>
        <p:txBody>
          <a:bodyPr wrap="square" lIns="0" tIns="0" rIns="0" bIns="0" rtlCol="0" anchor="ctr">
            <a:noAutofit/>
          </a:bodyPr>
          <a:lstStyle/>
          <a:p>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ndicates the number of shares traded on a given trading day to reflect the level of activity.</a:t>
            </a:r>
          </a:p>
        </p:txBody>
      </p:sp>
      <p:grpSp>
        <p:nvGrpSpPr>
          <p:cNvPr id="29" name="Grupo 42">
            <a:extLst>
              <a:ext uri="{FF2B5EF4-FFF2-40B4-BE49-F238E27FC236}">
                <a16:creationId xmlns:a16="http://schemas.microsoft.com/office/drawing/2014/main" id="{49D1F611-0FA3-DCEC-8667-B0B67A1E4695}"/>
              </a:ext>
            </a:extLst>
          </p:cNvPr>
          <p:cNvGrpSpPr/>
          <p:nvPr/>
        </p:nvGrpSpPr>
        <p:grpSpPr>
          <a:xfrm rot="10800000" flipH="1">
            <a:off x="3014230" y="4805688"/>
            <a:ext cx="261754" cy="280370"/>
            <a:chOff x="3657318" y="2960019"/>
            <a:chExt cx="428407" cy="506598"/>
          </a:xfrm>
        </p:grpSpPr>
        <p:grpSp>
          <p:nvGrpSpPr>
            <p:cNvPr id="30" name="Grupo 43">
              <a:extLst>
                <a:ext uri="{FF2B5EF4-FFF2-40B4-BE49-F238E27FC236}">
                  <a16:creationId xmlns:a16="http://schemas.microsoft.com/office/drawing/2014/main" id="{0485A04E-CF87-3FA6-E014-0609ABD9D780}"/>
                </a:ext>
              </a:extLst>
            </p:cNvPr>
            <p:cNvGrpSpPr/>
            <p:nvPr/>
          </p:nvGrpSpPr>
          <p:grpSpPr>
            <a:xfrm>
              <a:off x="3828604" y="2960019"/>
              <a:ext cx="257121" cy="506598"/>
              <a:chOff x="2468880" y="3319199"/>
              <a:chExt cx="257121" cy="506598"/>
            </a:xfrm>
          </p:grpSpPr>
          <p:cxnSp>
            <p:nvCxnSpPr>
              <p:cNvPr id="35" name="Conector recto 45">
                <a:extLst>
                  <a:ext uri="{FF2B5EF4-FFF2-40B4-BE49-F238E27FC236}">
                    <a16:creationId xmlns:a16="http://schemas.microsoft.com/office/drawing/2014/main" id="{F7233207-564E-DA8D-CC7A-ABD845100293}"/>
                  </a:ext>
                </a:extLst>
              </p:cNvPr>
              <p:cNvCxnSpPr/>
              <p:nvPr/>
            </p:nvCxnSpPr>
            <p:spPr>
              <a:xfrm>
                <a:off x="2468880" y="3319199"/>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9F9C194F-B437-9F7A-E9BE-82A139C6926F}"/>
                  </a:ext>
                </a:extLst>
              </p:cNvPr>
              <p:cNvCxnSpPr>
                <a:cxnSpLocks/>
              </p:cNvCxnSpPr>
              <p:nvPr/>
            </p:nvCxnSpPr>
            <p:spPr>
              <a:xfrm flipH="1">
                <a:off x="2468880" y="3568676"/>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cxnSp>
          <p:nvCxnSpPr>
            <p:cNvPr id="32" name="Conector recto 44">
              <a:extLst>
                <a:ext uri="{FF2B5EF4-FFF2-40B4-BE49-F238E27FC236}">
                  <a16:creationId xmlns:a16="http://schemas.microsoft.com/office/drawing/2014/main" id="{163968AD-882A-D12F-9E93-0344E9EA13AE}"/>
                </a:ext>
              </a:extLst>
            </p:cNvPr>
            <p:cNvCxnSpPr>
              <a:cxnSpLocks/>
            </p:cNvCxnSpPr>
            <p:nvPr/>
          </p:nvCxnSpPr>
          <p:spPr>
            <a:xfrm>
              <a:off x="3657318" y="3213306"/>
              <a:ext cx="414810" cy="0"/>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sp>
        <p:nvSpPr>
          <p:cNvPr id="40" name="TextBox 54">
            <a:extLst>
              <a:ext uri="{FF2B5EF4-FFF2-40B4-BE49-F238E27FC236}">
                <a16:creationId xmlns:a16="http://schemas.microsoft.com/office/drawing/2014/main" id="{6D7069EC-D4EE-117C-9CBD-575F040F91E3}"/>
              </a:ext>
            </a:extLst>
          </p:cNvPr>
          <p:cNvSpPr txBox="1"/>
          <p:nvPr/>
        </p:nvSpPr>
        <p:spPr>
          <a:xfrm>
            <a:off x="3645030" y="5706126"/>
            <a:ext cx="5270997" cy="219426"/>
          </a:xfrm>
          <a:prstGeom prst="rect">
            <a:avLst/>
          </a:prstGeom>
          <a:noFill/>
          <a:ln w="6350">
            <a:noFill/>
            <a:prstDash val="dash"/>
          </a:ln>
        </p:spPr>
        <p:txBody>
          <a:bodyPr wrap="square" lIns="0" tIns="0" rIns="0" bIns="0" rtlCol="0" anchor="ctr">
            <a:noAutofit/>
          </a:bodyPr>
          <a:lstStyle/>
          <a:p>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ariables represent the stock price at various points during a trading day</a:t>
            </a:r>
          </a:p>
        </p:txBody>
      </p:sp>
      <p:grpSp>
        <p:nvGrpSpPr>
          <p:cNvPr id="42" name="Grupo 42">
            <a:extLst>
              <a:ext uri="{FF2B5EF4-FFF2-40B4-BE49-F238E27FC236}">
                <a16:creationId xmlns:a16="http://schemas.microsoft.com/office/drawing/2014/main" id="{87B2FA49-B32F-579E-FE5F-F7933852DFB9}"/>
              </a:ext>
            </a:extLst>
          </p:cNvPr>
          <p:cNvGrpSpPr/>
          <p:nvPr/>
        </p:nvGrpSpPr>
        <p:grpSpPr>
          <a:xfrm rot="10800000" flipH="1">
            <a:off x="3014229" y="5639650"/>
            <a:ext cx="261754" cy="280370"/>
            <a:chOff x="3657318" y="2960019"/>
            <a:chExt cx="428407" cy="506598"/>
          </a:xfrm>
        </p:grpSpPr>
        <p:grpSp>
          <p:nvGrpSpPr>
            <p:cNvPr id="45" name="Grupo 43">
              <a:extLst>
                <a:ext uri="{FF2B5EF4-FFF2-40B4-BE49-F238E27FC236}">
                  <a16:creationId xmlns:a16="http://schemas.microsoft.com/office/drawing/2014/main" id="{996A7546-80D9-9EE9-2DA0-088BB525C900}"/>
                </a:ext>
              </a:extLst>
            </p:cNvPr>
            <p:cNvGrpSpPr/>
            <p:nvPr/>
          </p:nvGrpSpPr>
          <p:grpSpPr>
            <a:xfrm>
              <a:off x="3828604" y="2960019"/>
              <a:ext cx="257121" cy="506598"/>
              <a:chOff x="2468880" y="3319199"/>
              <a:chExt cx="257121" cy="506598"/>
            </a:xfrm>
          </p:grpSpPr>
          <p:cxnSp>
            <p:nvCxnSpPr>
              <p:cNvPr id="50" name="Conector recto 45">
                <a:extLst>
                  <a:ext uri="{FF2B5EF4-FFF2-40B4-BE49-F238E27FC236}">
                    <a16:creationId xmlns:a16="http://schemas.microsoft.com/office/drawing/2014/main" id="{4AEF60E6-2066-815F-615F-C92253B33988}"/>
                  </a:ext>
                </a:extLst>
              </p:cNvPr>
              <p:cNvCxnSpPr/>
              <p:nvPr/>
            </p:nvCxnSpPr>
            <p:spPr>
              <a:xfrm>
                <a:off x="2468880" y="3319199"/>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cxnSp>
            <p:nvCxnSpPr>
              <p:cNvPr id="71" name="Conector recto 46">
                <a:extLst>
                  <a:ext uri="{FF2B5EF4-FFF2-40B4-BE49-F238E27FC236}">
                    <a16:creationId xmlns:a16="http://schemas.microsoft.com/office/drawing/2014/main" id="{67EF5355-D09A-8F39-4302-7D365D8DD3F5}"/>
                  </a:ext>
                </a:extLst>
              </p:cNvPr>
              <p:cNvCxnSpPr>
                <a:cxnSpLocks/>
              </p:cNvCxnSpPr>
              <p:nvPr/>
            </p:nvCxnSpPr>
            <p:spPr>
              <a:xfrm flipH="1">
                <a:off x="2468880" y="3568676"/>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cxnSp>
          <p:nvCxnSpPr>
            <p:cNvPr id="48" name="Conector recto 44">
              <a:extLst>
                <a:ext uri="{FF2B5EF4-FFF2-40B4-BE49-F238E27FC236}">
                  <a16:creationId xmlns:a16="http://schemas.microsoft.com/office/drawing/2014/main" id="{98D39359-4E2D-D14A-C5AD-89C2F2EE6D2F}"/>
                </a:ext>
              </a:extLst>
            </p:cNvPr>
            <p:cNvCxnSpPr>
              <a:cxnSpLocks/>
            </p:cNvCxnSpPr>
            <p:nvPr/>
          </p:nvCxnSpPr>
          <p:spPr>
            <a:xfrm>
              <a:off x="3657318" y="3213306"/>
              <a:ext cx="414810" cy="0"/>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EFA281A5-9ABD-71EA-BC4F-69D27B7E4511}"/>
              </a:ext>
            </a:extLst>
          </p:cNvPr>
          <p:cNvSpPr txBox="1"/>
          <p:nvPr/>
        </p:nvSpPr>
        <p:spPr>
          <a:xfrm>
            <a:off x="9333186" y="1386692"/>
            <a:ext cx="1784892" cy="307777"/>
          </a:xfrm>
          <a:prstGeom prst="rect">
            <a:avLst/>
          </a:prstGeom>
          <a:noFill/>
        </p:spPr>
        <p:txBody>
          <a:bodyPr wrap="square" lIns="0" tIns="0" rIns="0" bIns="0" rtlCol="0" anchor="b">
            <a:noAutofit/>
          </a:bodyPr>
          <a:lstStyle/>
          <a:p>
            <a:r>
              <a:rPr lang="en-US" b="1">
                <a:solidFill>
                  <a:srgbClr val="34717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ype</a:t>
            </a:r>
          </a:p>
        </p:txBody>
      </p:sp>
      <p:cxnSp>
        <p:nvCxnSpPr>
          <p:cNvPr id="10" name="Conector recto 9">
            <a:extLst>
              <a:ext uri="{FF2B5EF4-FFF2-40B4-BE49-F238E27FC236}">
                <a16:creationId xmlns:a16="http://schemas.microsoft.com/office/drawing/2014/main" id="{59DD2A0C-C820-66A8-7DDF-E923C32956AC}"/>
              </a:ext>
            </a:extLst>
          </p:cNvPr>
          <p:cNvCxnSpPr>
            <a:cxnSpLocks/>
          </p:cNvCxnSpPr>
          <p:nvPr/>
        </p:nvCxnSpPr>
        <p:spPr>
          <a:xfrm>
            <a:off x="9351102" y="1721893"/>
            <a:ext cx="178489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0" name="Grupo 42">
            <a:extLst>
              <a:ext uri="{FF2B5EF4-FFF2-40B4-BE49-F238E27FC236}">
                <a16:creationId xmlns:a16="http://schemas.microsoft.com/office/drawing/2014/main" id="{674B8FB3-6214-46B9-AEA2-7F9CA28E07AB}"/>
              </a:ext>
            </a:extLst>
          </p:cNvPr>
          <p:cNvGrpSpPr/>
          <p:nvPr/>
        </p:nvGrpSpPr>
        <p:grpSpPr>
          <a:xfrm rot="10800000" flipH="1">
            <a:off x="9220225" y="2121836"/>
            <a:ext cx="261753" cy="280370"/>
            <a:chOff x="3657318" y="2960019"/>
            <a:chExt cx="428407" cy="506598"/>
          </a:xfrm>
        </p:grpSpPr>
        <p:grpSp>
          <p:nvGrpSpPr>
            <p:cNvPr id="81" name="Grupo 43">
              <a:extLst>
                <a:ext uri="{FF2B5EF4-FFF2-40B4-BE49-F238E27FC236}">
                  <a16:creationId xmlns:a16="http://schemas.microsoft.com/office/drawing/2014/main" id="{C227C9B4-7F5B-5AE4-D7A6-35802B4C4EEE}"/>
                </a:ext>
              </a:extLst>
            </p:cNvPr>
            <p:cNvGrpSpPr/>
            <p:nvPr/>
          </p:nvGrpSpPr>
          <p:grpSpPr>
            <a:xfrm>
              <a:off x="3828604" y="2960019"/>
              <a:ext cx="257121" cy="506598"/>
              <a:chOff x="2468880" y="3319199"/>
              <a:chExt cx="257121" cy="506598"/>
            </a:xfrm>
          </p:grpSpPr>
          <p:cxnSp>
            <p:nvCxnSpPr>
              <p:cNvPr id="83" name="Conector recto 45">
                <a:extLst>
                  <a:ext uri="{FF2B5EF4-FFF2-40B4-BE49-F238E27FC236}">
                    <a16:creationId xmlns:a16="http://schemas.microsoft.com/office/drawing/2014/main" id="{9E82C803-F3DD-52EA-F599-02C9480B479F}"/>
                  </a:ext>
                </a:extLst>
              </p:cNvPr>
              <p:cNvCxnSpPr/>
              <p:nvPr/>
            </p:nvCxnSpPr>
            <p:spPr>
              <a:xfrm>
                <a:off x="2468880" y="3319199"/>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cxnSp>
            <p:nvCxnSpPr>
              <p:cNvPr id="84" name="Conector recto 46">
                <a:extLst>
                  <a:ext uri="{FF2B5EF4-FFF2-40B4-BE49-F238E27FC236}">
                    <a16:creationId xmlns:a16="http://schemas.microsoft.com/office/drawing/2014/main" id="{5B70506B-F17B-58CA-B1DD-65DF52777A8D}"/>
                  </a:ext>
                </a:extLst>
              </p:cNvPr>
              <p:cNvCxnSpPr>
                <a:cxnSpLocks/>
              </p:cNvCxnSpPr>
              <p:nvPr/>
            </p:nvCxnSpPr>
            <p:spPr>
              <a:xfrm flipH="1">
                <a:off x="2468880" y="3568676"/>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cxnSp>
          <p:nvCxnSpPr>
            <p:cNvPr id="82" name="Conector recto 44">
              <a:extLst>
                <a:ext uri="{FF2B5EF4-FFF2-40B4-BE49-F238E27FC236}">
                  <a16:creationId xmlns:a16="http://schemas.microsoft.com/office/drawing/2014/main" id="{BACD63B5-5E8A-FD85-DBF2-DF5A67BE1C73}"/>
                </a:ext>
              </a:extLst>
            </p:cNvPr>
            <p:cNvCxnSpPr>
              <a:cxnSpLocks/>
            </p:cNvCxnSpPr>
            <p:nvPr/>
          </p:nvCxnSpPr>
          <p:spPr>
            <a:xfrm>
              <a:off x="3657318" y="3213306"/>
              <a:ext cx="414810" cy="0"/>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grpSp>
        <p:nvGrpSpPr>
          <p:cNvPr id="85" name="Grupo 42">
            <a:extLst>
              <a:ext uri="{FF2B5EF4-FFF2-40B4-BE49-F238E27FC236}">
                <a16:creationId xmlns:a16="http://schemas.microsoft.com/office/drawing/2014/main" id="{7E797594-2D81-0996-D892-C8C90A4AB434}"/>
              </a:ext>
            </a:extLst>
          </p:cNvPr>
          <p:cNvGrpSpPr/>
          <p:nvPr/>
        </p:nvGrpSpPr>
        <p:grpSpPr>
          <a:xfrm rot="10800000" flipH="1">
            <a:off x="9220225" y="3029336"/>
            <a:ext cx="261753" cy="280370"/>
            <a:chOff x="3657318" y="2960019"/>
            <a:chExt cx="428407" cy="506598"/>
          </a:xfrm>
        </p:grpSpPr>
        <p:grpSp>
          <p:nvGrpSpPr>
            <p:cNvPr id="86" name="Grupo 43">
              <a:extLst>
                <a:ext uri="{FF2B5EF4-FFF2-40B4-BE49-F238E27FC236}">
                  <a16:creationId xmlns:a16="http://schemas.microsoft.com/office/drawing/2014/main" id="{F46DC9D7-DD23-51BF-3FC8-7322BA1254E7}"/>
                </a:ext>
              </a:extLst>
            </p:cNvPr>
            <p:cNvGrpSpPr/>
            <p:nvPr/>
          </p:nvGrpSpPr>
          <p:grpSpPr>
            <a:xfrm>
              <a:off x="3828604" y="2960019"/>
              <a:ext cx="257121" cy="506598"/>
              <a:chOff x="2468880" y="3319199"/>
              <a:chExt cx="257121" cy="506598"/>
            </a:xfrm>
          </p:grpSpPr>
          <p:cxnSp>
            <p:nvCxnSpPr>
              <p:cNvPr id="88" name="Conector recto 45">
                <a:extLst>
                  <a:ext uri="{FF2B5EF4-FFF2-40B4-BE49-F238E27FC236}">
                    <a16:creationId xmlns:a16="http://schemas.microsoft.com/office/drawing/2014/main" id="{49AAE58F-560C-C86F-E0B6-6C11B19C5104}"/>
                  </a:ext>
                </a:extLst>
              </p:cNvPr>
              <p:cNvCxnSpPr/>
              <p:nvPr/>
            </p:nvCxnSpPr>
            <p:spPr>
              <a:xfrm>
                <a:off x="2468880" y="3319199"/>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cxnSp>
            <p:nvCxnSpPr>
              <p:cNvPr id="89" name="Conector recto 46">
                <a:extLst>
                  <a:ext uri="{FF2B5EF4-FFF2-40B4-BE49-F238E27FC236}">
                    <a16:creationId xmlns:a16="http://schemas.microsoft.com/office/drawing/2014/main" id="{A123F536-5C75-6E88-B5AA-DF8E3BA236F9}"/>
                  </a:ext>
                </a:extLst>
              </p:cNvPr>
              <p:cNvCxnSpPr>
                <a:cxnSpLocks/>
              </p:cNvCxnSpPr>
              <p:nvPr/>
            </p:nvCxnSpPr>
            <p:spPr>
              <a:xfrm flipH="1">
                <a:off x="2468880" y="3568676"/>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cxnSp>
          <p:nvCxnSpPr>
            <p:cNvPr id="87" name="Conector recto 44">
              <a:extLst>
                <a:ext uri="{FF2B5EF4-FFF2-40B4-BE49-F238E27FC236}">
                  <a16:creationId xmlns:a16="http://schemas.microsoft.com/office/drawing/2014/main" id="{B5931337-97C7-38C2-DB00-9C499AEB19DF}"/>
                </a:ext>
              </a:extLst>
            </p:cNvPr>
            <p:cNvCxnSpPr>
              <a:cxnSpLocks/>
            </p:cNvCxnSpPr>
            <p:nvPr/>
          </p:nvCxnSpPr>
          <p:spPr>
            <a:xfrm>
              <a:off x="3657318" y="3213306"/>
              <a:ext cx="414810" cy="0"/>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grpSp>
        <p:nvGrpSpPr>
          <p:cNvPr id="90" name="Grupo 42">
            <a:extLst>
              <a:ext uri="{FF2B5EF4-FFF2-40B4-BE49-F238E27FC236}">
                <a16:creationId xmlns:a16="http://schemas.microsoft.com/office/drawing/2014/main" id="{CBC33AD9-74E8-F956-7D6A-39992E0C4E1E}"/>
              </a:ext>
            </a:extLst>
          </p:cNvPr>
          <p:cNvGrpSpPr/>
          <p:nvPr/>
        </p:nvGrpSpPr>
        <p:grpSpPr>
          <a:xfrm rot="10800000" flipH="1">
            <a:off x="9220225" y="3911172"/>
            <a:ext cx="261753" cy="280370"/>
            <a:chOff x="3657318" y="2960019"/>
            <a:chExt cx="428407" cy="506598"/>
          </a:xfrm>
        </p:grpSpPr>
        <p:grpSp>
          <p:nvGrpSpPr>
            <p:cNvPr id="91" name="Grupo 43">
              <a:extLst>
                <a:ext uri="{FF2B5EF4-FFF2-40B4-BE49-F238E27FC236}">
                  <a16:creationId xmlns:a16="http://schemas.microsoft.com/office/drawing/2014/main" id="{7420BB41-D318-5758-BE87-FB5558452FC3}"/>
                </a:ext>
              </a:extLst>
            </p:cNvPr>
            <p:cNvGrpSpPr/>
            <p:nvPr/>
          </p:nvGrpSpPr>
          <p:grpSpPr>
            <a:xfrm>
              <a:off x="3828604" y="2960019"/>
              <a:ext cx="257121" cy="506598"/>
              <a:chOff x="2468880" y="3319199"/>
              <a:chExt cx="257121" cy="506598"/>
            </a:xfrm>
          </p:grpSpPr>
          <p:cxnSp>
            <p:nvCxnSpPr>
              <p:cNvPr id="93" name="Conector recto 45">
                <a:extLst>
                  <a:ext uri="{FF2B5EF4-FFF2-40B4-BE49-F238E27FC236}">
                    <a16:creationId xmlns:a16="http://schemas.microsoft.com/office/drawing/2014/main" id="{FDA63DE5-120E-E18E-9AB5-E56DF9BA2916}"/>
                  </a:ext>
                </a:extLst>
              </p:cNvPr>
              <p:cNvCxnSpPr/>
              <p:nvPr/>
            </p:nvCxnSpPr>
            <p:spPr>
              <a:xfrm>
                <a:off x="2468880" y="3319199"/>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cxnSp>
            <p:nvCxnSpPr>
              <p:cNvPr id="94" name="Conector recto 46">
                <a:extLst>
                  <a:ext uri="{FF2B5EF4-FFF2-40B4-BE49-F238E27FC236}">
                    <a16:creationId xmlns:a16="http://schemas.microsoft.com/office/drawing/2014/main" id="{25BDC162-83D0-99CA-3F65-92025E533D80}"/>
                  </a:ext>
                </a:extLst>
              </p:cNvPr>
              <p:cNvCxnSpPr>
                <a:cxnSpLocks/>
              </p:cNvCxnSpPr>
              <p:nvPr/>
            </p:nvCxnSpPr>
            <p:spPr>
              <a:xfrm flipH="1">
                <a:off x="2468880" y="3568676"/>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cxnSp>
          <p:nvCxnSpPr>
            <p:cNvPr id="92" name="Conector recto 44">
              <a:extLst>
                <a:ext uri="{FF2B5EF4-FFF2-40B4-BE49-F238E27FC236}">
                  <a16:creationId xmlns:a16="http://schemas.microsoft.com/office/drawing/2014/main" id="{119B928A-AFC8-6B6E-6C2C-DFD3326513EF}"/>
                </a:ext>
              </a:extLst>
            </p:cNvPr>
            <p:cNvCxnSpPr>
              <a:cxnSpLocks/>
            </p:cNvCxnSpPr>
            <p:nvPr/>
          </p:nvCxnSpPr>
          <p:spPr>
            <a:xfrm>
              <a:off x="3657318" y="3213306"/>
              <a:ext cx="414810" cy="0"/>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grpSp>
        <p:nvGrpSpPr>
          <p:cNvPr id="95" name="Grupo 42">
            <a:extLst>
              <a:ext uri="{FF2B5EF4-FFF2-40B4-BE49-F238E27FC236}">
                <a16:creationId xmlns:a16="http://schemas.microsoft.com/office/drawing/2014/main" id="{E5B7E87C-0229-89A7-E14C-070B5087158C}"/>
              </a:ext>
            </a:extLst>
          </p:cNvPr>
          <p:cNvGrpSpPr/>
          <p:nvPr/>
        </p:nvGrpSpPr>
        <p:grpSpPr>
          <a:xfrm rot="10800000" flipH="1">
            <a:off x="9220225" y="4805688"/>
            <a:ext cx="261753" cy="280370"/>
            <a:chOff x="3657318" y="2960019"/>
            <a:chExt cx="428407" cy="506598"/>
          </a:xfrm>
        </p:grpSpPr>
        <p:grpSp>
          <p:nvGrpSpPr>
            <p:cNvPr id="96" name="Grupo 43">
              <a:extLst>
                <a:ext uri="{FF2B5EF4-FFF2-40B4-BE49-F238E27FC236}">
                  <a16:creationId xmlns:a16="http://schemas.microsoft.com/office/drawing/2014/main" id="{C687ECDC-1565-7F44-E774-FAA5E1404FB6}"/>
                </a:ext>
              </a:extLst>
            </p:cNvPr>
            <p:cNvGrpSpPr/>
            <p:nvPr/>
          </p:nvGrpSpPr>
          <p:grpSpPr>
            <a:xfrm>
              <a:off x="3828604" y="2960019"/>
              <a:ext cx="257121" cy="506598"/>
              <a:chOff x="2468880" y="3319199"/>
              <a:chExt cx="257121" cy="506598"/>
            </a:xfrm>
          </p:grpSpPr>
          <p:cxnSp>
            <p:nvCxnSpPr>
              <p:cNvPr id="98" name="Conector recto 45">
                <a:extLst>
                  <a:ext uri="{FF2B5EF4-FFF2-40B4-BE49-F238E27FC236}">
                    <a16:creationId xmlns:a16="http://schemas.microsoft.com/office/drawing/2014/main" id="{BB83B07D-943F-BF84-03B2-55B0A65328D4}"/>
                  </a:ext>
                </a:extLst>
              </p:cNvPr>
              <p:cNvCxnSpPr/>
              <p:nvPr/>
            </p:nvCxnSpPr>
            <p:spPr>
              <a:xfrm>
                <a:off x="2468880" y="3319199"/>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cxnSp>
            <p:nvCxnSpPr>
              <p:cNvPr id="99" name="Conector recto 46">
                <a:extLst>
                  <a:ext uri="{FF2B5EF4-FFF2-40B4-BE49-F238E27FC236}">
                    <a16:creationId xmlns:a16="http://schemas.microsoft.com/office/drawing/2014/main" id="{69F86ABD-46F0-287A-59AC-BAC3F3148C60}"/>
                  </a:ext>
                </a:extLst>
              </p:cNvPr>
              <p:cNvCxnSpPr>
                <a:cxnSpLocks/>
              </p:cNvCxnSpPr>
              <p:nvPr/>
            </p:nvCxnSpPr>
            <p:spPr>
              <a:xfrm flipH="1">
                <a:off x="2468880" y="3568676"/>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cxnSp>
          <p:nvCxnSpPr>
            <p:cNvPr id="97" name="Conector recto 44">
              <a:extLst>
                <a:ext uri="{FF2B5EF4-FFF2-40B4-BE49-F238E27FC236}">
                  <a16:creationId xmlns:a16="http://schemas.microsoft.com/office/drawing/2014/main" id="{662427DB-F502-D41B-7BD8-F95933EC17FD}"/>
                </a:ext>
              </a:extLst>
            </p:cNvPr>
            <p:cNvCxnSpPr>
              <a:cxnSpLocks/>
            </p:cNvCxnSpPr>
            <p:nvPr/>
          </p:nvCxnSpPr>
          <p:spPr>
            <a:xfrm>
              <a:off x="3657318" y="3213306"/>
              <a:ext cx="414810" cy="0"/>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grpSp>
        <p:nvGrpSpPr>
          <p:cNvPr id="100" name="Grupo 42">
            <a:extLst>
              <a:ext uri="{FF2B5EF4-FFF2-40B4-BE49-F238E27FC236}">
                <a16:creationId xmlns:a16="http://schemas.microsoft.com/office/drawing/2014/main" id="{76B50AAA-BE4F-7C9D-AC13-54C6927DB9AF}"/>
              </a:ext>
            </a:extLst>
          </p:cNvPr>
          <p:cNvGrpSpPr/>
          <p:nvPr/>
        </p:nvGrpSpPr>
        <p:grpSpPr>
          <a:xfrm rot="10800000" flipH="1">
            <a:off x="9220224" y="5675654"/>
            <a:ext cx="261753" cy="280370"/>
            <a:chOff x="3657318" y="2960019"/>
            <a:chExt cx="428407" cy="506598"/>
          </a:xfrm>
        </p:grpSpPr>
        <p:grpSp>
          <p:nvGrpSpPr>
            <p:cNvPr id="101" name="Grupo 43">
              <a:extLst>
                <a:ext uri="{FF2B5EF4-FFF2-40B4-BE49-F238E27FC236}">
                  <a16:creationId xmlns:a16="http://schemas.microsoft.com/office/drawing/2014/main" id="{03A3B866-5468-4D06-F566-1ACBE761D8AC}"/>
                </a:ext>
              </a:extLst>
            </p:cNvPr>
            <p:cNvGrpSpPr/>
            <p:nvPr/>
          </p:nvGrpSpPr>
          <p:grpSpPr>
            <a:xfrm>
              <a:off x="3828604" y="2960019"/>
              <a:ext cx="257121" cy="506598"/>
              <a:chOff x="2468880" y="3319199"/>
              <a:chExt cx="257121" cy="506598"/>
            </a:xfrm>
          </p:grpSpPr>
          <p:cxnSp>
            <p:nvCxnSpPr>
              <p:cNvPr id="103" name="Conector recto 45">
                <a:extLst>
                  <a:ext uri="{FF2B5EF4-FFF2-40B4-BE49-F238E27FC236}">
                    <a16:creationId xmlns:a16="http://schemas.microsoft.com/office/drawing/2014/main" id="{6887DC19-0EA9-E158-362A-E51F19C9776C}"/>
                  </a:ext>
                </a:extLst>
              </p:cNvPr>
              <p:cNvCxnSpPr/>
              <p:nvPr/>
            </p:nvCxnSpPr>
            <p:spPr>
              <a:xfrm>
                <a:off x="2468880" y="3319199"/>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cxnSp>
            <p:nvCxnSpPr>
              <p:cNvPr id="104" name="Conector recto 46">
                <a:extLst>
                  <a:ext uri="{FF2B5EF4-FFF2-40B4-BE49-F238E27FC236}">
                    <a16:creationId xmlns:a16="http://schemas.microsoft.com/office/drawing/2014/main" id="{401151E8-77BC-A6BE-1430-518E4227173B}"/>
                  </a:ext>
                </a:extLst>
              </p:cNvPr>
              <p:cNvCxnSpPr>
                <a:cxnSpLocks/>
              </p:cNvCxnSpPr>
              <p:nvPr/>
            </p:nvCxnSpPr>
            <p:spPr>
              <a:xfrm flipH="1">
                <a:off x="2468880" y="3568676"/>
                <a:ext cx="257121" cy="257121"/>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cxnSp>
          <p:nvCxnSpPr>
            <p:cNvPr id="102" name="Conector recto 44">
              <a:extLst>
                <a:ext uri="{FF2B5EF4-FFF2-40B4-BE49-F238E27FC236}">
                  <a16:creationId xmlns:a16="http://schemas.microsoft.com/office/drawing/2014/main" id="{64C4C493-35A3-4FAA-6583-58902634452D}"/>
                </a:ext>
              </a:extLst>
            </p:cNvPr>
            <p:cNvCxnSpPr>
              <a:cxnSpLocks/>
            </p:cNvCxnSpPr>
            <p:nvPr/>
          </p:nvCxnSpPr>
          <p:spPr>
            <a:xfrm>
              <a:off x="3657318" y="3213306"/>
              <a:ext cx="414810" cy="0"/>
            </a:xfrm>
            <a:prstGeom prst="line">
              <a:avLst/>
            </a:prstGeom>
            <a:ln w="28575">
              <a:solidFill>
                <a:srgbClr val="347170"/>
              </a:solidFill>
            </a:ln>
          </p:spPr>
          <p:style>
            <a:lnRef idx="1">
              <a:schemeClr val="accent1"/>
            </a:lnRef>
            <a:fillRef idx="0">
              <a:schemeClr val="accent1"/>
            </a:fillRef>
            <a:effectRef idx="0">
              <a:schemeClr val="accent1"/>
            </a:effectRef>
            <a:fontRef idx="minor">
              <a:schemeClr val="tx1"/>
            </a:fontRef>
          </p:style>
        </p:cxnSp>
      </p:grpSp>
      <p:sp>
        <p:nvSpPr>
          <p:cNvPr id="105" name="TextBox 54">
            <a:extLst>
              <a:ext uri="{FF2B5EF4-FFF2-40B4-BE49-F238E27FC236}">
                <a16:creationId xmlns:a16="http://schemas.microsoft.com/office/drawing/2014/main" id="{169C6D40-FC49-4987-8544-36E4C40E44C2}"/>
              </a:ext>
            </a:extLst>
          </p:cNvPr>
          <p:cNvSpPr txBox="1"/>
          <p:nvPr/>
        </p:nvSpPr>
        <p:spPr>
          <a:xfrm>
            <a:off x="9814872" y="2152308"/>
            <a:ext cx="1784892" cy="219426"/>
          </a:xfrm>
          <a:prstGeom prst="rect">
            <a:avLst/>
          </a:prstGeom>
          <a:noFill/>
          <a:ln w="6350">
            <a:noFill/>
            <a:prstDash val="dash"/>
          </a:ln>
        </p:spPr>
        <p:txBody>
          <a:bodyPr wrap="square" lIns="0" tIns="0" rIns="0" bIns="0" rtlCol="0" anchor="ctr">
            <a:noAutofit/>
          </a:bodyPr>
          <a:lstStyle/>
          <a:p>
            <a:r>
              <a:rPr lang="en-US" sz="1400" dirty="0">
                <a:solidFill>
                  <a:schemeClr val="tx2"/>
                </a:solidFill>
                <a:latin typeface="Verdana" panose="020B0604030504040204" pitchFamily="34" charset="0"/>
                <a:ea typeface="Verdana" panose="020B0604030504040204" pitchFamily="34" charset="0"/>
              </a:rPr>
              <a:t>Date String</a:t>
            </a:r>
          </a:p>
        </p:txBody>
      </p:sp>
      <p:sp>
        <p:nvSpPr>
          <p:cNvPr id="106" name="TextBox 54">
            <a:extLst>
              <a:ext uri="{FF2B5EF4-FFF2-40B4-BE49-F238E27FC236}">
                <a16:creationId xmlns:a16="http://schemas.microsoft.com/office/drawing/2014/main" id="{D07C3DFD-E2D0-8DE0-A647-3C496DF3DCF2}"/>
              </a:ext>
            </a:extLst>
          </p:cNvPr>
          <p:cNvSpPr txBox="1"/>
          <p:nvPr/>
        </p:nvSpPr>
        <p:spPr>
          <a:xfrm>
            <a:off x="9814872" y="3059808"/>
            <a:ext cx="1784892" cy="219426"/>
          </a:xfrm>
          <a:prstGeom prst="rect">
            <a:avLst/>
          </a:prstGeom>
          <a:noFill/>
          <a:ln w="6350">
            <a:noFill/>
            <a:prstDash val="dash"/>
          </a:ln>
        </p:spPr>
        <p:txBody>
          <a:bodyPr wrap="square" lIns="0" tIns="0" rIns="0" bIns="0" rtlCol="0" anchor="ctr">
            <a:noAutofit/>
          </a:bodyPr>
          <a:lstStyle/>
          <a:p>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loat</a:t>
            </a:r>
          </a:p>
        </p:txBody>
      </p:sp>
      <p:sp>
        <p:nvSpPr>
          <p:cNvPr id="107" name="TextBox 54">
            <a:extLst>
              <a:ext uri="{FF2B5EF4-FFF2-40B4-BE49-F238E27FC236}">
                <a16:creationId xmlns:a16="http://schemas.microsoft.com/office/drawing/2014/main" id="{0C61BE52-A220-55CD-FC4E-F6BD843A756C}"/>
              </a:ext>
            </a:extLst>
          </p:cNvPr>
          <p:cNvSpPr txBox="1"/>
          <p:nvPr/>
        </p:nvSpPr>
        <p:spPr>
          <a:xfrm>
            <a:off x="9814872" y="3941644"/>
            <a:ext cx="1784892" cy="219426"/>
          </a:xfrm>
          <a:prstGeom prst="rect">
            <a:avLst/>
          </a:prstGeom>
          <a:noFill/>
          <a:ln w="6350">
            <a:noFill/>
            <a:prstDash val="dash"/>
          </a:ln>
        </p:spPr>
        <p:txBody>
          <a:bodyPr wrap="square" lIns="0" tIns="0" rIns="0" bIns="0" rtlCol="0" anchor="ctr">
            <a:noAutofit/>
          </a:bodyPr>
          <a:lstStyle/>
          <a:p>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loat</a:t>
            </a:r>
          </a:p>
        </p:txBody>
      </p:sp>
      <p:sp>
        <p:nvSpPr>
          <p:cNvPr id="108" name="TextBox 54">
            <a:extLst>
              <a:ext uri="{FF2B5EF4-FFF2-40B4-BE49-F238E27FC236}">
                <a16:creationId xmlns:a16="http://schemas.microsoft.com/office/drawing/2014/main" id="{D28D0156-29A0-763F-637D-C289167CE244}"/>
              </a:ext>
            </a:extLst>
          </p:cNvPr>
          <p:cNvSpPr txBox="1"/>
          <p:nvPr/>
        </p:nvSpPr>
        <p:spPr>
          <a:xfrm>
            <a:off x="9814872" y="4836160"/>
            <a:ext cx="1784892" cy="219426"/>
          </a:xfrm>
          <a:prstGeom prst="rect">
            <a:avLst/>
          </a:prstGeom>
          <a:noFill/>
          <a:ln w="6350">
            <a:noFill/>
            <a:prstDash val="dash"/>
          </a:ln>
        </p:spPr>
        <p:txBody>
          <a:bodyPr wrap="square" lIns="0" tIns="0" rIns="0" bIns="0" rtlCol="0" anchor="ctr">
            <a:noAutofit/>
          </a:bodyPr>
          <a:lstStyle/>
          <a:p>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nteger</a:t>
            </a:r>
          </a:p>
        </p:txBody>
      </p:sp>
      <p:sp>
        <p:nvSpPr>
          <p:cNvPr id="109" name="TextBox 54">
            <a:extLst>
              <a:ext uri="{FF2B5EF4-FFF2-40B4-BE49-F238E27FC236}">
                <a16:creationId xmlns:a16="http://schemas.microsoft.com/office/drawing/2014/main" id="{8E7EB739-7A3E-E95C-F6CC-6542CBE98227}"/>
              </a:ext>
            </a:extLst>
          </p:cNvPr>
          <p:cNvSpPr txBox="1"/>
          <p:nvPr/>
        </p:nvSpPr>
        <p:spPr>
          <a:xfrm>
            <a:off x="9814872" y="5706126"/>
            <a:ext cx="1784892" cy="219426"/>
          </a:xfrm>
          <a:prstGeom prst="rect">
            <a:avLst/>
          </a:prstGeom>
          <a:noFill/>
          <a:ln w="6350">
            <a:noFill/>
            <a:prstDash val="dash"/>
          </a:ln>
        </p:spPr>
        <p:txBody>
          <a:bodyPr wrap="square" lIns="0" tIns="0" rIns="0" bIns="0" rtlCol="0" anchor="ctr">
            <a:noAutofit/>
          </a:bodyPr>
          <a:lstStyle/>
          <a:p>
            <a:r>
              <a:rPr lang="en-US" sz="14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loat</a:t>
            </a:r>
          </a:p>
        </p:txBody>
      </p:sp>
    </p:spTree>
    <p:extLst>
      <p:ext uri="{BB962C8B-B14F-4D97-AF65-F5344CB8AC3E}">
        <p14:creationId xmlns:p14="http://schemas.microsoft.com/office/powerpoint/2010/main" val="30523898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a:extLst>
              <a:ext uri="{FF2B5EF4-FFF2-40B4-BE49-F238E27FC236}">
                <a16:creationId xmlns:a16="http://schemas.microsoft.com/office/drawing/2014/main" id="{45A3632A-B9A3-D107-1C83-403AEA9340B4}"/>
              </a:ext>
            </a:extLst>
          </p:cNvPr>
          <p:cNvGraphicFramePr>
            <a:graphicFrameLocks noGrp="1"/>
          </p:cNvGraphicFramePr>
          <p:nvPr>
            <p:extLst>
              <p:ext uri="{D42A27DB-BD31-4B8C-83A1-F6EECF244321}">
                <p14:modId xmlns:p14="http://schemas.microsoft.com/office/powerpoint/2010/main" val="1653211510"/>
              </p:ext>
            </p:extLst>
          </p:nvPr>
        </p:nvGraphicFramePr>
        <p:xfrm>
          <a:off x="327467" y="5101111"/>
          <a:ext cx="11303004" cy="1730806"/>
        </p:xfrm>
        <a:graphic>
          <a:graphicData uri="http://schemas.openxmlformats.org/drawingml/2006/table">
            <a:tbl>
              <a:tblPr firstRow="1" bandRow="1">
                <a:tableStyleId>{5C22544A-7EE6-4342-B048-85BDC9FD1C3A}</a:tableStyleId>
              </a:tblPr>
              <a:tblGrid>
                <a:gridCol w="1883834">
                  <a:extLst>
                    <a:ext uri="{9D8B030D-6E8A-4147-A177-3AD203B41FA5}">
                      <a16:colId xmlns:a16="http://schemas.microsoft.com/office/drawing/2014/main" val="65155048"/>
                    </a:ext>
                  </a:extLst>
                </a:gridCol>
                <a:gridCol w="1837267">
                  <a:extLst>
                    <a:ext uri="{9D8B030D-6E8A-4147-A177-3AD203B41FA5}">
                      <a16:colId xmlns:a16="http://schemas.microsoft.com/office/drawing/2014/main" val="3890853406"/>
                    </a:ext>
                  </a:extLst>
                </a:gridCol>
                <a:gridCol w="1952625">
                  <a:extLst>
                    <a:ext uri="{9D8B030D-6E8A-4147-A177-3AD203B41FA5}">
                      <a16:colId xmlns:a16="http://schemas.microsoft.com/office/drawing/2014/main" val="4003472957"/>
                    </a:ext>
                  </a:extLst>
                </a:gridCol>
                <a:gridCol w="1861610">
                  <a:extLst>
                    <a:ext uri="{9D8B030D-6E8A-4147-A177-3AD203B41FA5}">
                      <a16:colId xmlns:a16="http://schemas.microsoft.com/office/drawing/2014/main" val="2625118322"/>
                    </a:ext>
                  </a:extLst>
                </a:gridCol>
                <a:gridCol w="1883834">
                  <a:extLst>
                    <a:ext uri="{9D8B030D-6E8A-4147-A177-3AD203B41FA5}">
                      <a16:colId xmlns:a16="http://schemas.microsoft.com/office/drawing/2014/main" val="1273002386"/>
                    </a:ext>
                  </a:extLst>
                </a:gridCol>
                <a:gridCol w="1883834">
                  <a:extLst>
                    <a:ext uri="{9D8B030D-6E8A-4147-A177-3AD203B41FA5}">
                      <a16:colId xmlns:a16="http://schemas.microsoft.com/office/drawing/2014/main" val="1888328203"/>
                    </a:ext>
                  </a:extLst>
                </a:gridCol>
              </a:tblGrid>
              <a:tr h="766647">
                <a:tc>
                  <a:txBody>
                    <a:bodyPr/>
                    <a:lstStyle/>
                    <a:p>
                      <a:endParaRPr lang="en-CA" sz="1600" dirty="0">
                        <a:latin typeface="Verdana" panose="020B0604030504040204" pitchFamily="34" charset="0"/>
                        <a:ea typeface="Verdana" panose="020B0604030504040204" pitchFamily="34" charset="0"/>
                      </a:endParaRPr>
                    </a:p>
                  </a:txBody>
                  <a:tcPr>
                    <a:lnR w="28575" cap="flat" cmpd="sng" algn="ctr">
                      <a:solidFill>
                        <a:schemeClr val="tx2"/>
                      </a:solidFill>
                      <a:prstDash val="solid"/>
                      <a:round/>
                      <a:headEnd type="none" w="med" len="med"/>
                      <a:tailEnd type="none" w="med" len="med"/>
                    </a:lnR>
                    <a:lnB w="28575" cap="flat" cmpd="sng" algn="ctr">
                      <a:solidFill>
                        <a:schemeClr val="tx2"/>
                      </a:solidFill>
                      <a:prstDash val="solid"/>
                      <a:round/>
                      <a:headEnd type="none" w="med" len="med"/>
                      <a:tailEnd type="none" w="med" len="med"/>
                    </a:lnB>
                    <a:noFill/>
                  </a:tcPr>
                </a:tc>
                <a:tc>
                  <a:txBody>
                    <a:bodyPr/>
                    <a:lstStyle/>
                    <a:p>
                      <a:endParaRPr lang="en-CA" sz="1600" dirty="0">
                        <a:latin typeface="Verdana" panose="020B0604030504040204" pitchFamily="34" charset="0"/>
                        <a:ea typeface="Verdana" panose="020B0604030504040204" pitchFamily="34" charset="0"/>
                      </a:endParaRPr>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B w="28575" cap="flat" cmpd="sng" algn="ctr">
                      <a:solidFill>
                        <a:schemeClr val="tx2"/>
                      </a:solidFill>
                      <a:prstDash val="solid"/>
                      <a:round/>
                      <a:headEnd type="none" w="med" len="med"/>
                      <a:tailEnd type="none" w="med" len="med"/>
                    </a:lnB>
                    <a:noFill/>
                  </a:tcPr>
                </a:tc>
                <a:tc>
                  <a:txBody>
                    <a:bodyPr/>
                    <a:lstStyle/>
                    <a:p>
                      <a:endParaRPr lang="en-CA" sz="1600" dirty="0">
                        <a:latin typeface="Verdana" panose="020B0604030504040204" pitchFamily="34" charset="0"/>
                        <a:ea typeface="Verdana" panose="020B0604030504040204" pitchFamily="34" charset="0"/>
                      </a:endParaRPr>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B w="28575" cap="flat" cmpd="sng" algn="ctr">
                      <a:solidFill>
                        <a:schemeClr val="tx2"/>
                      </a:solidFill>
                      <a:prstDash val="solid"/>
                      <a:round/>
                      <a:headEnd type="none" w="med" len="med"/>
                      <a:tailEnd type="none" w="med" len="med"/>
                    </a:lnB>
                    <a:noFill/>
                  </a:tcPr>
                </a:tc>
                <a:tc>
                  <a:txBody>
                    <a:bodyPr/>
                    <a:lstStyle/>
                    <a:p>
                      <a:endParaRPr lang="en-CA" sz="1600">
                        <a:latin typeface="Verdana" panose="020B0604030504040204" pitchFamily="34" charset="0"/>
                        <a:ea typeface="Verdana" panose="020B0604030504040204" pitchFamily="34" charset="0"/>
                      </a:endParaRPr>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B w="28575" cap="flat" cmpd="sng" algn="ctr">
                      <a:solidFill>
                        <a:schemeClr val="tx2"/>
                      </a:solidFill>
                      <a:prstDash val="solid"/>
                      <a:round/>
                      <a:headEnd type="none" w="med" len="med"/>
                      <a:tailEnd type="none" w="med" len="med"/>
                    </a:lnB>
                    <a:noFill/>
                  </a:tcPr>
                </a:tc>
                <a:tc>
                  <a:txBody>
                    <a:bodyPr/>
                    <a:lstStyle/>
                    <a:p>
                      <a:endParaRPr lang="en-CA" sz="1600">
                        <a:latin typeface="Verdana" panose="020B0604030504040204" pitchFamily="34" charset="0"/>
                        <a:ea typeface="Verdana" panose="020B0604030504040204" pitchFamily="34" charset="0"/>
                      </a:endParaRPr>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B w="28575" cap="flat" cmpd="sng" algn="ctr">
                      <a:solidFill>
                        <a:schemeClr val="tx2"/>
                      </a:solidFill>
                      <a:prstDash val="solid"/>
                      <a:round/>
                      <a:headEnd type="none" w="med" len="med"/>
                      <a:tailEnd type="none" w="med" len="med"/>
                    </a:lnB>
                    <a:noFill/>
                  </a:tcPr>
                </a:tc>
                <a:tc>
                  <a:txBody>
                    <a:bodyPr/>
                    <a:lstStyle/>
                    <a:p>
                      <a:endParaRPr lang="en-CA" sz="1600">
                        <a:latin typeface="Verdana" panose="020B0604030504040204" pitchFamily="34" charset="0"/>
                        <a:ea typeface="Verdana" panose="020B0604030504040204" pitchFamily="34" charset="0"/>
                      </a:endParaRPr>
                    </a:p>
                  </a:txBody>
                  <a:tcPr>
                    <a:lnL w="28575" cap="flat" cmpd="sng" algn="ctr">
                      <a:solidFill>
                        <a:schemeClr val="tx2"/>
                      </a:solidFill>
                      <a:prstDash val="solid"/>
                      <a:round/>
                      <a:headEnd type="none" w="med" len="med"/>
                      <a:tailEnd type="none" w="med" len="med"/>
                    </a:lnL>
                    <a:lnB w="2857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4051540"/>
                  </a:ext>
                </a:extLst>
              </a:tr>
              <a:tr h="964159">
                <a:tc>
                  <a:txBody>
                    <a:bodyPr/>
                    <a:lstStyle/>
                    <a:p>
                      <a:r>
                        <a:rPr lang="en-CA" sz="1600">
                          <a:latin typeface="Verdana" panose="020B0604030504040204" pitchFamily="34" charset="0"/>
                          <a:ea typeface="Verdana" panose="020B0604030504040204" pitchFamily="34" charset="0"/>
                        </a:rPr>
                        <a:t>Upward trend since beginning</a:t>
                      </a:r>
                      <a:endParaRPr lang="en-CA" sz="1600" dirty="0">
                        <a:latin typeface="Verdana" panose="020B0604030504040204" pitchFamily="34" charset="0"/>
                        <a:ea typeface="Verdana" panose="020B0604030504040204" pitchFamily="34" charset="0"/>
                      </a:endParaRPr>
                    </a:p>
                  </a:txBody>
                  <a:tcP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noFill/>
                  </a:tcPr>
                </a:tc>
                <a:tc>
                  <a:txBody>
                    <a:bodyPr/>
                    <a:lstStyle/>
                    <a:p>
                      <a:r>
                        <a:rPr lang="en-CA" sz="1600">
                          <a:latin typeface="Verdana" panose="020B0604030504040204" pitchFamily="34" charset="0"/>
                          <a:ea typeface="Verdana" panose="020B0604030504040204" pitchFamily="34" charset="0"/>
                        </a:rPr>
                        <a:t>Steady trend throughout</a:t>
                      </a:r>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noFill/>
                  </a:tcPr>
                </a:tc>
                <a:tc>
                  <a:txBody>
                    <a:bodyPr/>
                    <a:lstStyle/>
                    <a:p>
                      <a:r>
                        <a:rPr lang="en-CA" sz="1600">
                          <a:latin typeface="Verdana" panose="020B0604030504040204" pitchFamily="34" charset="0"/>
                          <a:ea typeface="Verdana" panose="020B0604030504040204" pitchFamily="34" charset="0"/>
                        </a:rPr>
                        <a:t>Positive trend since 2022</a:t>
                      </a:r>
                      <a:endParaRPr lang="en-CA" sz="1600" dirty="0">
                        <a:latin typeface="Verdana" panose="020B0604030504040204" pitchFamily="34" charset="0"/>
                        <a:ea typeface="Verdana" panose="020B0604030504040204" pitchFamily="34" charset="0"/>
                      </a:endParaRPr>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noFill/>
                  </a:tcPr>
                </a:tc>
                <a:tc>
                  <a:txBody>
                    <a:bodyPr/>
                    <a:lstStyle/>
                    <a:p>
                      <a:r>
                        <a:rPr lang="en-CA" sz="1600">
                          <a:latin typeface="Verdana" panose="020B0604030504040204" pitchFamily="34" charset="0"/>
                          <a:ea typeface="Verdana" panose="020B0604030504040204" pitchFamily="34" charset="0"/>
                        </a:rPr>
                        <a:t>Large negative trend since 2022</a:t>
                      </a:r>
                      <a:endParaRPr lang="en-CA" sz="1600" dirty="0">
                        <a:latin typeface="Verdana" panose="020B0604030504040204" pitchFamily="34" charset="0"/>
                        <a:ea typeface="Verdana" panose="020B0604030504040204" pitchFamily="34" charset="0"/>
                      </a:endParaRPr>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noFill/>
                  </a:tcPr>
                </a:tc>
                <a:tc>
                  <a:txBody>
                    <a:bodyPr/>
                    <a:lstStyle/>
                    <a:p>
                      <a:r>
                        <a:rPr lang="en-CA" sz="1600">
                          <a:latin typeface="Verdana" panose="020B0604030504040204" pitchFamily="34" charset="0"/>
                          <a:ea typeface="Verdana" panose="020B0604030504040204" pitchFamily="34" charset="0"/>
                        </a:rPr>
                        <a:t>Negative since 2022 but bouncing back</a:t>
                      </a:r>
                      <a:endParaRPr lang="en-CA" sz="1600" dirty="0">
                        <a:latin typeface="Verdana" panose="020B0604030504040204" pitchFamily="34" charset="0"/>
                        <a:ea typeface="Verdana" panose="020B0604030504040204" pitchFamily="34" charset="0"/>
                      </a:endParaRPr>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noFill/>
                  </a:tcPr>
                </a:tc>
                <a:tc>
                  <a:txBody>
                    <a:bodyPr/>
                    <a:lstStyle/>
                    <a:p>
                      <a:r>
                        <a:rPr lang="en-CA" sz="1600" dirty="0">
                          <a:latin typeface="Verdana" panose="020B0604030504040204" pitchFamily="34" charset="0"/>
                          <a:ea typeface="Verdana" panose="020B0604030504040204" pitchFamily="34" charset="0"/>
                        </a:rPr>
                        <a:t>Negative since 2022 but bouncing back</a:t>
                      </a:r>
                    </a:p>
                  </a:txBody>
                  <a:tcP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noFill/>
                  </a:tcPr>
                </a:tc>
                <a:extLst>
                  <a:ext uri="{0D108BD9-81ED-4DB2-BD59-A6C34878D82A}">
                    <a16:rowId xmlns:a16="http://schemas.microsoft.com/office/drawing/2014/main" val="4092757245"/>
                  </a:ext>
                </a:extLst>
              </a:tr>
            </a:tbl>
          </a:graphicData>
        </a:graphic>
      </p:graphicFrame>
      <p:graphicFrame>
        <p:nvGraphicFramePr>
          <p:cNvPr id="3084" name="Objeto 3083" hidden="1">
            <a:extLst>
              <a:ext uri="{FF2B5EF4-FFF2-40B4-BE49-F238E27FC236}">
                <a16:creationId xmlns:a16="http://schemas.microsoft.com/office/drawing/2014/main" id="{F2BFB47D-CE56-BC40-1CFC-173F799A89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084" name="Objeto 3083" hidden="1">
                        <a:extLst>
                          <a:ext uri="{FF2B5EF4-FFF2-40B4-BE49-F238E27FC236}">
                            <a16:creationId xmlns:a16="http://schemas.microsoft.com/office/drawing/2014/main" id="{F2BFB47D-CE56-BC40-1CFC-173F799A89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F5A6160-BB28-4B8E-C4A6-E0EDB41C8FF2}"/>
              </a:ext>
            </a:extLst>
          </p:cNvPr>
          <p:cNvSpPr>
            <a:spLocks noGrp="1"/>
          </p:cNvSpPr>
          <p:nvPr>
            <p:ph type="title"/>
          </p:nvPr>
        </p:nvSpPr>
        <p:spPr/>
        <p:txBody>
          <a:bodyPr vert="horz"/>
          <a:lstStyle/>
          <a:p>
            <a:r>
              <a:rPr lang="en-US" dirty="0"/>
              <a:t>Trends of Target Companies</a:t>
            </a:r>
          </a:p>
        </p:txBody>
      </p:sp>
      <p:pic>
        <p:nvPicPr>
          <p:cNvPr id="4" name="Picture 3">
            <a:extLst>
              <a:ext uri="{FF2B5EF4-FFF2-40B4-BE49-F238E27FC236}">
                <a16:creationId xmlns:a16="http://schemas.microsoft.com/office/drawing/2014/main" id="{16E216D5-4F92-4911-1C54-B6107A2576AC}"/>
              </a:ext>
            </a:extLst>
          </p:cNvPr>
          <p:cNvPicPr>
            <a:picLocks noChangeAspect="1"/>
          </p:cNvPicPr>
          <p:nvPr/>
        </p:nvPicPr>
        <p:blipFill>
          <a:blip r:embed="rId5"/>
          <a:stretch>
            <a:fillRect/>
          </a:stretch>
        </p:blipFill>
        <p:spPr>
          <a:xfrm>
            <a:off x="1898448" y="891486"/>
            <a:ext cx="7855152" cy="4288000"/>
          </a:xfrm>
          <a:prstGeom prst="rect">
            <a:avLst/>
          </a:prstGeom>
        </p:spPr>
      </p:pic>
      <p:pic>
        <p:nvPicPr>
          <p:cNvPr id="6" name="Picture 2" descr="Chipotle Mexican Grill Logo PNG ...">
            <a:extLst>
              <a:ext uri="{FF2B5EF4-FFF2-40B4-BE49-F238E27FC236}">
                <a16:creationId xmlns:a16="http://schemas.microsoft.com/office/drawing/2014/main" id="{B9287D6A-2A0F-E392-3C83-65458B8249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5822" y="5168325"/>
            <a:ext cx="638471" cy="638471"/>
          </a:xfrm>
          <a:prstGeom prst="ellipse">
            <a:avLst/>
          </a:prstGeom>
          <a:noFill/>
          <a:extLst>
            <a:ext uri="{909E8E84-426E-40DD-AFC4-6F175D3DCCD1}">
              <a14:hiddenFill xmlns:a14="http://schemas.microsoft.com/office/drawing/2010/main">
                <a:solidFill>
                  <a:srgbClr val="FFFFFF"/>
                </a:solidFill>
              </a14:hiddenFill>
            </a:ext>
          </a:extLst>
        </p:spPr>
      </p:pic>
      <p:pic>
        <p:nvPicPr>
          <p:cNvPr id="7" name="Picture 14">
            <a:extLst>
              <a:ext uri="{FF2B5EF4-FFF2-40B4-BE49-F238E27FC236}">
                <a16:creationId xmlns:a16="http://schemas.microsoft.com/office/drawing/2014/main" id="{3C955FC7-7A30-9F06-5465-8C70C1C6AFF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94245" y="5319795"/>
            <a:ext cx="1662891" cy="33553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Salesforce Logo and symbol, meaning, history, PNG, brand">
            <a:extLst>
              <a:ext uri="{FF2B5EF4-FFF2-40B4-BE49-F238E27FC236}">
                <a16:creationId xmlns:a16="http://schemas.microsoft.com/office/drawing/2014/main" id="{70CFE5DB-3CC9-63C5-79A5-B28C412C366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67039" y="5200655"/>
            <a:ext cx="873201" cy="57381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6">
            <a:extLst>
              <a:ext uri="{FF2B5EF4-FFF2-40B4-BE49-F238E27FC236}">
                <a16:creationId xmlns:a16="http://schemas.microsoft.com/office/drawing/2014/main" id="{F4673D80-37C3-E90A-3CAE-F639F15B366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12415" y="5264153"/>
            <a:ext cx="1532461" cy="44681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8" descr="Uber - Social media &amp; Logos Icons">
            <a:extLst>
              <a:ext uri="{FF2B5EF4-FFF2-40B4-BE49-F238E27FC236}">
                <a16:creationId xmlns:a16="http://schemas.microsoft.com/office/drawing/2014/main" id="{67442510-E69A-E47E-97C2-032EB3BA7BD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79299" y="5168325"/>
            <a:ext cx="638471" cy="63847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8">
            <a:extLst>
              <a:ext uri="{FF2B5EF4-FFF2-40B4-BE49-F238E27FC236}">
                <a16:creationId xmlns:a16="http://schemas.microsoft.com/office/drawing/2014/main" id="{D049DE99-85C2-7AE0-0AF1-59FEEE799C69}"/>
              </a:ext>
            </a:extLst>
          </p:cNvPr>
          <p:cNvPicPr>
            <a:picLocks noChangeAspect="1" noChangeArrowheads="1"/>
          </p:cNvPicPr>
          <p:nvPr/>
        </p:nvPicPr>
        <p:blipFill rotWithShape="1">
          <a:blip r:embed="rId11">
            <a:extLst>
              <a:ext uri="{837473B0-CC2E-450A-ABE3-18F120FF3D39}">
                <a1611:picAttrSrcUrl xmlns:a1611="http://schemas.microsoft.com/office/drawing/2016/11/main" r:id="rId12"/>
              </a:ext>
            </a:extLst>
          </a:blip>
          <a:srcRect l="-632" t="-1" r="2186" b="-300"/>
          <a:stretch/>
        </p:blipFill>
        <p:spPr bwMode="auto">
          <a:xfrm>
            <a:off x="6367389" y="5168324"/>
            <a:ext cx="1114072" cy="638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6193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lumMod val="95000"/>
          </a:schemeClr>
        </a:solidFill>
      </a:spPr>
      <a:bodyPr vert="horz" wrap="square" lIns="72000" tIns="36000" rIns="36000" bIns="36000" rtlCol="0" anchor="ctr">
        <a:noAutofit/>
      </a:bodyPr>
      <a:lstStyle>
        <a:defPPr marL="0" marR="0" indent="0" algn="ctr" defTabSz="228554" rtl="0" eaLnBrk="1" fontAlgn="auto" latinLnBrk="0" hangingPunct="1">
          <a:lnSpc>
            <a:spcPct val="100000"/>
          </a:lnSpc>
          <a:spcBef>
            <a:spcPts val="300"/>
          </a:spcBef>
          <a:spcAft>
            <a:spcPts val="0"/>
          </a:spcAft>
          <a:buClrTx/>
          <a:buSzTx/>
          <a:buFont typeface="Arial" panose="020B0604020202020204" pitchFamily="34" charset="0"/>
          <a:buNone/>
          <a:tabLst/>
          <a:defRPr kumimoji="0" sz="1400" i="0" u="none" strike="noStrike" kern="1200" cap="none" spc="0" normalizeH="0" baseline="0" noProof="0" dirty="0" smtClean="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noFill/>
        </a:ln>
      </a:spPr>
      <a:bodyPr lIns="0" tIns="0" rIns="0" bIns="0" rtlCol="0" anchor="ctr">
        <a:noAutofit/>
      </a:bodyPr>
      <a:lstStyle>
        <a:defPPr algn="ctr">
          <a:defRPr sz="14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noFill/>
        </a:ln>
      </a:spPr>
      <a:bodyPr lIns="0" tIns="0" rIns="0" bIns="0" rtlCol="0" anchor="ctr">
        <a:noAutofit/>
      </a:bodyPr>
      <a:lstStyle>
        <a:defPPr algn="ctr">
          <a:defRPr sz="14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AE6F2518-B084-4896-AF52-66CC2144AA2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37C6C0B81616847BA0BEF6AF9FD8D5E" ma:contentTypeVersion="14" ma:contentTypeDescription="Create a new document." ma:contentTypeScope="" ma:versionID="8f477840bf1b15ebcd7dea7e26e8de05">
  <xsd:schema xmlns:xsd="http://www.w3.org/2001/XMLSchema" xmlns:xs="http://www.w3.org/2001/XMLSchema" xmlns:p="http://schemas.microsoft.com/office/2006/metadata/properties" xmlns:ns3="2d175f5e-96b3-4161-9498-4ed8bb1684ef" xmlns:ns4="8cc5281a-0e22-4a5d-9b94-71566d8ffb39" targetNamespace="http://schemas.microsoft.com/office/2006/metadata/properties" ma:root="true" ma:fieldsID="626ffd4b232ece131a0e6b8ce18d05e9" ns3:_="" ns4:_="">
    <xsd:import namespace="2d175f5e-96b3-4161-9498-4ed8bb1684ef"/>
    <xsd:import namespace="8cc5281a-0e22-4a5d-9b94-71566d8ffb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75f5e-96b3-4161-9498-4ed8bb1684e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c5281a-0e22-4a5d-9b94-71566d8ffb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21C9605-34E7-4B36-9570-2016EA898C8E}">
  <ds:schemaRefs>
    <ds:schemaRef ds:uri="http://schemas.microsoft.com/sharepoint/v3/contenttype/forms"/>
  </ds:schemaRefs>
</ds:datastoreItem>
</file>

<file path=customXml/itemProps2.xml><?xml version="1.0" encoding="utf-8"?>
<ds:datastoreItem xmlns:ds="http://schemas.openxmlformats.org/officeDocument/2006/customXml" ds:itemID="{6FD9BADE-FB3C-4DFF-ABE8-CDDBBB754F2D}">
  <ds:schemaRefs>
    <ds:schemaRef ds:uri="2d175f5e-96b3-4161-9498-4ed8bb1684ef"/>
    <ds:schemaRef ds:uri="8cc5281a-0e22-4a5d-9b94-71566d8ffb3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EFDBD43-137A-4241-BB3D-DE2C80A7631B}">
  <ds:schemaRefs>
    <ds:schemaRef ds:uri="2d175f5e-96b3-4161-9498-4ed8bb1684ef"/>
    <ds:schemaRef ds:uri="8cc5281a-0e22-4a5d-9b94-71566d8ffb3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723a5a87-f39a-4a22-9247-3fc240c01396}" enabled="0" method="" siteId="{723a5a87-f39a-4a22-9247-3fc240c01396}" removed="1"/>
</clbl:labelList>
</file>

<file path=docProps/app.xml><?xml version="1.0" encoding="utf-8"?>
<Properties xmlns="http://schemas.openxmlformats.org/officeDocument/2006/extended-properties" xmlns:vt="http://schemas.openxmlformats.org/officeDocument/2006/docPropsVTypes">
  <TotalTime>0</TotalTime>
  <Words>3856</Words>
  <Application>Microsoft Office PowerPoint</Application>
  <PresentationFormat>Widescreen</PresentationFormat>
  <Paragraphs>637</Paragraphs>
  <Slides>37</Slides>
  <Notes>21</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2</vt:i4>
      </vt:variant>
      <vt:variant>
        <vt:lpstr>Slide Titles</vt:lpstr>
      </vt:variant>
      <vt:variant>
        <vt:i4>37</vt:i4>
      </vt:variant>
    </vt:vector>
  </HeadingPairs>
  <TitlesOfParts>
    <vt:vector size="55" baseType="lpstr">
      <vt:lpstr>Arial</vt:lpstr>
      <vt:lpstr>Calibri</vt:lpstr>
      <vt:lpstr>Calibri Light</vt:lpstr>
      <vt:lpstr>Cambria Math</vt:lpstr>
      <vt:lpstr>Franklin Gothic Medium</vt:lpstr>
      <vt:lpstr>Graphik</vt:lpstr>
      <vt:lpstr>Poppins</vt:lpstr>
      <vt:lpstr>Verdana</vt:lpstr>
      <vt:lpstr>BIC TEMPLATE OK</vt:lpstr>
      <vt:lpstr>1_BIC TEMPLATE OK</vt:lpstr>
      <vt:lpstr>2_BIC TEMPLATE OK</vt:lpstr>
      <vt:lpstr>3_BIC TEMPLATE OK</vt:lpstr>
      <vt:lpstr>4_BIC TEMPLATE OK</vt:lpstr>
      <vt:lpstr>5_BIC TEMPLATE OK</vt:lpstr>
      <vt:lpstr>6_BIC TEMPLATE OK</vt:lpstr>
      <vt:lpstr>Office 2013 - 2022 Theme</vt:lpstr>
      <vt:lpstr>think-cell Slide</vt:lpstr>
      <vt:lpstr>Diapositiva de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itial Variable Analysis</vt:lpstr>
      <vt:lpstr>Trends of Target Companies</vt:lpstr>
      <vt:lpstr>Average Monthly Return for Target Companies</vt:lpstr>
      <vt:lpstr>Rolling Statistics for Target Companies</vt:lpstr>
      <vt:lpstr>Historic Performance Week of July 22</vt:lpstr>
      <vt:lpstr>PowerPoint Presentation</vt:lpstr>
      <vt:lpstr>Categories of Variables: Trend Indicators</vt:lpstr>
      <vt:lpstr>Categories of Variables: Seasonal Components</vt:lpstr>
      <vt:lpstr>Categories of Variables: Lagged Moving Averages </vt:lpstr>
      <vt:lpstr>Categories of Variables: Fourier Transform</vt:lpstr>
      <vt:lpstr>Categories of Variables: Technical Indicators</vt:lpstr>
      <vt:lpstr>Categories of Variables: Interaction Features</vt:lpstr>
      <vt:lpstr>Categories of Variables: Volume-Based Features</vt:lpstr>
      <vt:lpstr>PowerPoint Presentation</vt:lpstr>
      <vt:lpstr>Historical Model Building</vt:lpstr>
      <vt:lpstr>Historical Model Building</vt:lpstr>
      <vt:lpstr>Historical Model Performance</vt:lpstr>
      <vt:lpstr>Forward Predictive Model Building</vt:lpstr>
      <vt:lpstr>Forward Predictive Model Performance</vt:lpstr>
      <vt:lpstr>Five Day Rolling Window Model Building</vt:lpstr>
      <vt:lpstr>Five Day Rolling Window Implementation </vt:lpstr>
      <vt:lpstr>PowerPoint Presentation</vt:lpstr>
      <vt:lpstr>Evaluation + Deployment</vt:lpstr>
      <vt:lpstr>Fund Allocation – Combined Models</vt:lpstr>
      <vt:lpstr>Fund Allocation – Chipotle Mexican Grill and Estée Lauder</vt:lpstr>
      <vt:lpstr>Allocation Projection</vt:lpstr>
      <vt:lpstr>Monitoring</vt:lpstr>
      <vt:lpstr>What Happened?</vt:lpstr>
      <vt:lpstr>Allocation Reality</vt:lpstr>
      <vt:lpstr>PowerPoint Presentation</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Nathan</cp:lastModifiedBy>
  <cp:revision>1</cp:revision>
  <dcterms:created xsi:type="dcterms:W3CDTF">2020-07-31T20:30:33Z</dcterms:created>
  <dcterms:modified xsi:type="dcterms:W3CDTF">2024-07-25T19:52:3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C6C0B81616847BA0BEF6AF9FD8D5E</vt:lpwstr>
  </property>
  <property fmtid="{D5CDD505-2E9C-101B-9397-08002B2CF9AE}" pid="3" name="MediaServiceImageTags">
    <vt:lpwstr/>
  </property>
</Properties>
</file>